
<file path=[Content_Types].xml><?xml version="1.0" encoding="utf-8"?>
<Types xmlns="http://schemas.openxmlformats.org/package/2006/content-types">
  <Default Extension="png" ContentType="image/png"/>
  <Default Extension="svg" ContentType="image/svg+xml"/>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heme/theme2.xml" ContentType="application/vnd.openxmlformats-officedocument.theme+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heme/theme3.xml" ContentType="application/vnd.openxmlformats-officedocument.theme+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notesSlides/notesSlide1.xml" ContentType="application/vnd.openxmlformats-officedocument.presentationml.notesSlide+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notesSlides/notesSlide2.xml" ContentType="application/vnd.openxmlformats-officedocument.presentationml.notesSlide+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notesSlides/notesSlide3.xml" ContentType="application/vnd.openxmlformats-officedocument.presentationml.notesSlide+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notesSlides/notesSlide4.xml" ContentType="application/vnd.openxmlformats-officedocument.presentationml.notesSlide+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notesSlides/notesSlide5.xml" ContentType="application/vnd.openxmlformats-officedocument.presentationml.notesSlide+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notesSlides/notesSlide6.xml" ContentType="application/vnd.openxmlformats-officedocument.presentationml.notesSlide+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notesSlides/notesSlide7.xml" ContentType="application/vnd.openxmlformats-officedocument.presentationml.notesSlide+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notesSlides/notesSlide8.xml" ContentType="application/vnd.openxmlformats-officedocument.presentationml.notesSlide+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notesSlides/notesSlide9.xml" ContentType="application/vnd.openxmlformats-officedocument.presentationml.notesSlide+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notesSlides/notesSlide10.xml" ContentType="application/vnd.openxmlformats-officedocument.presentationml.notesSlide+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notesSlides/notesSlide11.xml" ContentType="application/vnd.openxmlformats-officedocument.presentationml.notesSlide+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notesSlides/notesSlide12.xml" ContentType="application/vnd.openxmlformats-officedocument.presentationml.notesSlide+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notesSlides/notesSlide13.xml" ContentType="application/vnd.openxmlformats-officedocument.presentationml.notesSlide+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notesSlides/notesSlide14.xml" ContentType="application/vnd.openxmlformats-officedocument.presentationml.notesSlide+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notesSlides/notesSlide15.xml" ContentType="application/vnd.openxmlformats-officedocument.presentationml.notesSlide+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notesSlides/notesSlide16.xml" ContentType="application/vnd.openxmlformats-officedocument.presentationml.notesSlide+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notesSlides/notesSlide17.xml" ContentType="application/vnd.openxmlformats-officedocument.presentationml.notesSlide+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notesSlides/notesSlide18.xml" ContentType="application/vnd.openxmlformats-officedocument.presentationml.notesSlide+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notesSlides/notesSlide19.xml" ContentType="application/vnd.openxmlformats-officedocument.presentationml.notesSlide+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2" r:id="rId1"/>
  </p:sldMasterIdLst>
  <p:notesMasterIdLst>
    <p:notesMasterId r:id="rId21"/>
  </p:notesMasterIdLst>
  <p:handoutMasterIdLst>
    <p:handoutMasterId r:id="rId22"/>
  </p:handoutMasterIdLst>
  <p:sldIdLst>
    <p:sldId id="365" r:id="rId2"/>
    <p:sldId id="341" r:id="rId3"/>
    <p:sldId id="346" r:id="rId4"/>
    <p:sldId id="332" r:id="rId5"/>
    <p:sldId id="485" r:id="rId6"/>
    <p:sldId id="480" r:id="rId7"/>
    <p:sldId id="303" r:id="rId8"/>
    <p:sldId id="414" r:id="rId9"/>
    <p:sldId id="484" r:id="rId10"/>
    <p:sldId id="276" r:id="rId11"/>
    <p:sldId id="456" r:id="rId12"/>
    <p:sldId id="384" r:id="rId13"/>
    <p:sldId id="483" r:id="rId14"/>
    <p:sldId id="301" r:id="rId15"/>
    <p:sldId id="481" r:id="rId16"/>
    <p:sldId id="482" r:id="rId17"/>
    <p:sldId id="409" r:id="rId18"/>
    <p:sldId id="455" r:id="rId19"/>
    <p:sldId id="467" r:id="rId20"/>
  </p:sldIdLst>
  <p:sldSz cx="12192000" cy="6858000"/>
  <p:notesSz cx="6858000" cy="9144000"/>
  <p:custDataLst>
    <p:tags r:id="rId2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a Kamińska" initials="MK" lastIdx="1" clrIdx="0">
    <p:extLst>
      <p:ext uri="{19B8F6BF-5375-455C-9EA6-DF929625EA0E}">
        <p15:presenceInfo xmlns:p15="http://schemas.microsoft.com/office/powerpoint/2012/main" userId="Marta Kamińsk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001A"/>
    <a:srgbClr val="FFFFFF"/>
    <a:srgbClr val="CCCCCC"/>
    <a:srgbClr val="FFF7CF"/>
    <a:srgbClr val="FEE45F"/>
    <a:srgbClr val="FBD6D7"/>
    <a:srgbClr val="F0767A"/>
    <a:srgbClr val="E5EFF7"/>
    <a:srgbClr val="F3F9F1"/>
    <a:srgbClr val="EDF5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7D86BA5-4E0A-43F1-BCCE-C89FEEC39226}" styleName="DKMS 1.0">
    <a:wholeTbl>
      <a:tcTxStyle>
        <a:fontRef idx="minor">
          <a:prstClr val="black"/>
        </a:fontRef>
        <a:schemeClr val="dk1"/>
      </a:tcTxStyle>
      <a:tcStyle>
        <a:tcBdr>
          <a:left>
            <a:ln w="0" cmpd="sng">
              <a:solidFill>
                <a:schemeClr val="lt1"/>
              </a:solidFill>
            </a:ln>
          </a:left>
          <a:right>
            <a:ln w="0" cmpd="sng">
              <a:solidFill>
                <a:schemeClr val="lt1"/>
              </a:solidFill>
            </a:ln>
          </a:right>
          <a:top>
            <a:ln w="6350" cmpd="sng">
              <a:solidFill>
                <a:schemeClr val="dk2"/>
              </a:solidFill>
            </a:ln>
          </a:top>
          <a:bottom>
            <a:ln w="6350" cmpd="sng">
              <a:solidFill>
                <a:schemeClr val="dk2"/>
              </a:solidFill>
            </a:ln>
          </a:bottom>
          <a:insideH>
            <a:ln w="6350" cmpd="sng">
              <a:solidFill>
                <a:schemeClr val="dk2"/>
              </a:solidFill>
            </a:ln>
          </a:insideH>
          <a:insideV>
            <a:ln w="0" cmpd="sng">
              <a:solidFill>
                <a:schemeClr val="lt1"/>
              </a:solidFill>
            </a:ln>
          </a:insideV>
        </a:tcBdr>
        <a:fill>
          <a:solidFill>
            <a:schemeClr val="lt1"/>
          </a:solidFill>
        </a:fill>
      </a:tcStyle>
    </a:wholeTbl>
    <a:lastCol>
      <a:tcTxStyle b="off">
        <a:fontRef idx="minor">
          <a:prstClr val="black"/>
        </a:fontRef>
        <a:schemeClr val="dk1"/>
      </a:tcTxStyle>
      <a:tcStyle>
        <a:tcBdr/>
        <a:fill>
          <a:solidFill>
            <a:schemeClr val="lt1"/>
          </a:solidFill>
        </a:fill>
      </a:tcStyle>
    </a:lastCol>
    <a:firstCol>
      <a:tcTxStyle b="off">
        <a:fontRef idx="minor">
          <a:prstClr val="black"/>
        </a:fontRef>
        <a:schemeClr val="dk1"/>
      </a:tcTxStyle>
      <a:tcStyle>
        <a:tcBdr/>
        <a:fill>
          <a:solidFill>
            <a:schemeClr val="lt1"/>
          </a:solidFill>
        </a:fill>
      </a:tcStyle>
    </a:firstCol>
    <a:lastRow>
      <a:tcTxStyle b="on">
        <a:fontRef idx="minor">
          <a:prstClr val="black"/>
        </a:fontRef>
        <a:schemeClr val="lt1"/>
      </a:tcTxStyle>
      <a:tcStyle>
        <a:tcBdr>
          <a:top>
            <a:ln w="0" cmpd="sng">
              <a:solidFill>
                <a:schemeClr val="dk2"/>
              </a:solidFill>
            </a:ln>
          </a:top>
        </a:tcBdr>
        <a:fill>
          <a:solidFill>
            <a:schemeClr val="dk2"/>
          </a:solidFill>
        </a:fill>
      </a:tcStyle>
    </a:lastRow>
    <a:firstRow>
      <a:tcTxStyle b="on">
        <a:fontRef idx="minor">
          <a:prstClr val="black"/>
        </a:fontRef>
        <a:schemeClr val="dk2"/>
      </a:tcTxStyle>
      <a:tcStyle>
        <a:tcBdr>
          <a:bottom>
            <a:ln w="12700" cmpd="sng">
              <a:solidFill>
                <a:schemeClr val="dk1"/>
              </a:solidFill>
            </a:ln>
          </a:bottom>
        </a:tcBdr>
        <a:fill>
          <a:solidFill>
            <a:schemeClr val="lt1"/>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88438" autoAdjust="0"/>
  </p:normalViewPr>
  <p:slideViewPr>
    <p:cSldViewPr snapToGrid="0">
      <p:cViewPr varScale="1">
        <p:scale>
          <a:sx n="68" d="100"/>
          <a:sy n="68" d="100"/>
        </p:scale>
        <p:origin x="616" y="48"/>
      </p:cViewPr>
      <p:guideLst/>
    </p:cSldViewPr>
  </p:slideViewPr>
  <p:outlineViewPr>
    <p:cViewPr>
      <p:scale>
        <a:sx n="33" d="100"/>
        <a:sy n="33" d="100"/>
      </p:scale>
      <p:origin x="0" y="-49860"/>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3" Type="http://schemas.openxmlformats.org/officeDocument/2006/relationships/tags" Target="../tags/tag360.xml"/><Relationship Id="rId2" Type="http://schemas.openxmlformats.org/officeDocument/2006/relationships/tags" Target="../tags/tag359.xml"/><Relationship Id="rId1" Type="http://schemas.openxmlformats.org/officeDocument/2006/relationships/theme" Target="../theme/theme3.xml"/><Relationship Id="rId5" Type="http://schemas.openxmlformats.org/officeDocument/2006/relationships/tags" Target="../tags/tag362.xml"/><Relationship Id="rId4" Type="http://schemas.openxmlformats.org/officeDocument/2006/relationships/tags" Target="../tags/tag36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771398D4-C05F-E5D4-303E-B4987DD85B6C}"/>
              </a:ext>
            </a:extLst>
          </p:cNvPr>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sz="1200"/>
            </a:lvl1pPr>
          </a:lstStyle>
          <a:p>
            <a:endParaRPr lang="pl-PL" dirty="0"/>
          </a:p>
        </p:txBody>
      </p:sp>
      <p:sp>
        <p:nvSpPr>
          <p:cNvPr id="3" name="Datumsplatzhalter 2">
            <a:extLst>
              <a:ext uri="{FF2B5EF4-FFF2-40B4-BE49-F238E27FC236}">
                <a16:creationId xmlns:a16="http://schemas.microsoft.com/office/drawing/2014/main" id="{EFA3BB85-1F3A-E987-4E2F-54DFCA22720F}"/>
              </a:ext>
            </a:extLst>
          </p:cNvPr>
          <p:cNvSpPr>
            <a:spLocks noGrp="1"/>
          </p:cNvSpPr>
          <p:nvPr>
            <p:ph type="dt" sz="quarter"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0911841A-B2C1-406E-916E-972D7ACCDDD8}" type="datetimeFigureOut">
              <a:rPr lang="pl-PL" smtClean="0"/>
              <a:t>24.07.2024</a:t>
            </a:fld>
            <a:endParaRPr lang="pl-PL" dirty="0"/>
          </a:p>
        </p:txBody>
      </p:sp>
      <p:sp>
        <p:nvSpPr>
          <p:cNvPr id="4" name="Fußzeilenplatzhalter 3">
            <a:extLst>
              <a:ext uri="{FF2B5EF4-FFF2-40B4-BE49-F238E27FC236}">
                <a16:creationId xmlns:a16="http://schemas.microsoft.com/office/drawing/2014/main" id="{BB9F552E-AA1F-056E-70FB-337887B7A13F}"/>
              </a:ext>
            </a:extLst>
          </p:cNvPr>
          <p:cNvSpPr>
            <a:spLocks noGrp="1"/>
          </p:cNvSpPr>
          <p:nvPr>
            <p:ph type="ftr" sz="quarter" idx="2"/>
            <p:custDataLst>
              <p:tags r:id="rId4"/>
            </p:custDataLst>
          </p:nvPr>
        </p:nvSpPr>
        <p:spPr>
          <a:xfrm>
            <a:off x="0" y="8685213"/>
            <a:ext cx="2971800" cy="458787"/>
          </a:xfrm>
          <a:prstGeom prst="rect">
            <a:avLst/>
          </a:prstGeom>
        </p:spPr>
        <p:txBody>
          <a:bodyPr vert="horz" lIns="91440" tIns="45720" rIns="91440" bIns="45720" rtlCol="0" anchor="b"/>
          <a:lstStyle>
            <a:lvl1pPr algn="l">
              <a:defRPr sz="1200"/>
            </a:lvl1pPr>
          </a:lstStyle>
          <a:p>
            <a:endParaRPr lang="pl-PL" dirty="0"/>
          </a:p>
        </p:txBody>
      </p:sp>
      <p:sp>
        <p:nvSpPr>
          <p:cNvPr id="5" name="Foliennummernplatzhalter 4">
            <a:extLst>
              <a:ext uri="{FF2B5EF4-FFF2-40B4-BE49-F238E27FC236}">
                <a16:creationId xmlns:a16="http://schemas.microsoft.com/office/drawing/2014/main" id="{AC7A2A82-A71E-4890-170C-63888D7DD398}"/>
              </a:ext>
            </a:extLst>
          </p:cNvPr>
          <p:cNvSpPr>
            <a:spLocks noGrp="1"/>
          </p:cNvSpPr>
          <p:nvPr>
            <p:ph type="sldNum" sz="quarter" idx="3"/>
            <p:custDataLst>
              <p:tags r:id="rId5"/>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811DCA08-6C0F-4968-BBF2-8BE43A31E784}" type="slidenum">
              <a:rPr lang="pl-PL" smtClean="0"/>
              <a:t>‹#›</a:t>
            </a:fld>
            <a:endParaRPr lang="pl-PL" dirty="0"/>
          </a:p>
        </p:txBody>
      </p:sp>
    </p:spTree>
    <p:extLst>
      <p:ext uri="{BB962C8B-B14F-4D97-AF65-F5344CB8AC3E}">
        <p14:creationId xmlns:p14="http://schemas.microsoft.com/office/powerpoint/2010/main" val="14302803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354.xml"/><Relationship Id="rId7" Type="http://schemas.openxmlformats.org/officeDocument/2006/relationships/tags" Target="../tags/tag358.xml"/><Relationship Id="rId2" Type="http://schemas.openxmlformats.org/officeDocument/2006/relationships/tags" Target="../tags/tag353.xml"/><Relationship Id="rId1" Type="http://schemas.openxmlformats.org/officeDocument/2006/relationships/theme" Target="../theme/theme2.xml"/><Relationship Id="rId6" Type="http://schemas.openxmlformats.org/officeDocument/2006/relationships/tags" Target="../tags/tag357.xml"/><Relationship Id="rId5" Type="http://schemas.openxmlformats.org/officeDocument/2006/relationships/tags" Target="../tags/tag356.xml"/><Relationship Id="rId4" Type="http://schemas.openxmlformats.org/officeDocument/2006/relationships/tags" Target="../tags/tag35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lang="pl-PL" dirty="0"/>
            </a:lvl1pPr>
          </a:lstStyle>
          <a:p>
            <a:endParaRPr lang="de-DE"/>
          </a:p>
        </p:txBody>
      </p:sp>
      <p:sp>
        <p:nvSpPr>
          <p:cNvPr id="3" name="Datumsplatzhalter 2"/>
          <p:cNvSpPr>
            <a:spLocks noGrp="1"/>
          </p:cNvSpPr>
          <p:nvPr>
            <p:ph type="dt"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9E7760A3-1A21-440F-992B-C86E04CB6487}" type="datetimeFigureOut">
              <a:rPr lang="pl-PL" smtClean="0"/>
              <a:t>24.07.2024</a:t>
            </a:fld>
            <a:endParaRPr lang="pl-PL" dirty="0"/>
          </a:p>
        </p:txBody>
      </p:sp>
      <p:sp>
        <p:nvSpPr>
          <p:cNvPr id="4" name="Folienbildplatzhalter 3"/>
          <p:cNvSpPr>
            <a:spLocks noGrp="1" noRot="1" noChangeAspect="1"/>
          </p:cNvSpPr>
          <p:nvPr>
            <p:ph type="sldImg" idx="2"/>
            <p:custDataLst>
              <p:tags r:id="rId4"/>
            </p:custDataLst>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custDataLst>
              <p:tags r:id="rId5"/>
            </p:custDataLst>
          </p:nvPr>
        </p:nvSpPr>
        <p:spPr>
          <a:xfrm>
            <a:off x="685800" y="4400550"/>
            <a:ext cx="5486400" cy="3600450"/>
          </a:xfrm>
          <a:prstGeom prst="rect">
            <a:avLst/>
          </a:prstGeom>
        </p:spPr>
        <p:txBody>
          <a:bodyPr vert="horz" lIns="91440" tIns="45720" rIns="91440" bIns="45720" rtlCol="0"/>
          <a:lstStyle/>
          <a:p>
            <a:pPr lvl="0"/>
            <a:r>
              <a:rPr lang="pl-PL"/>
              <a:t>Mastertextformat bearbeite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Fußzeilenplatzhalter 5"/>
          <p:cNvSpPr>
            <a:spLocks noGrp="1"/>
          </p:cNvSpPr>
          <p:nvPr>
            <p:ph type="ftr" sz="quarter" idx="4"/>
            <p:custDataLst>
              <p:tags r:id="rId6"/>
            </p:custDataLst>
          </p:nvPr>
        </p:nvSpPr>
        <p:spPr>
          <a:xfrm>
            <a:off x="0" y="8685213"/>
            <a:ext cx="2971800" cy="458787"/>
          </a:xfrm>
          <a:prstGeom prst="rect">
            <a:avLst/>
          </a:prstGeom>
        </p:spPr>
        <p:txBody>
          <a:bodyPr vert="horz" lIns="91440" tIns="45720" rIns="91440" bIns="45720" rtlCol="0" anchor="b"/>
          <a:lstStyle>
            <a:lvl1pPr algn="l">
              <a:defRPr lang="pl-PL" dirty="0"/>
            </a:lvl1pPr>
          </a:lstStyle>
          <a:p>
            <a:endParaRPr lang="de-DE"/>
          </a:p>
        </p:txBody>
      </p:sp>
      <p:sp>
        <p:nvSpPr>
          <p:cNvPr id="7" name="Foliennummernplatzhalter 6"/>
          <p:cNvSpPr>
            <a:spLocks noGrp="1"/>
          </p:cNvSpPr>
          <p:nvPr>
            <p:ph type="sldNum" sz="quarter" idx="5"/>
            <p:custDataLst>
              <p:tags r:id="rId7"/>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F1FE4246-9748-471E-A5EF-FCA480645936}" type="slidenum">
              <a:rPr lang="pl-PL" smtClean="0"/>
              <a:t>‹#›</a:t>
            </a:fld>
            <a:endParaRPr lang="pl-PL" dirty="0"/>
          </a:p>
        </p:txBody>
      </p:sp>
    </p:spTree>
    <p:extLst>
      <p:ext uri="{BB962C8B-B14F-4D97-AF65-F5344CB8AC3E}">
        <p14:creationId xmlns:p14="http://schemas.microsoft.com/office/powerpoint/2010/main" val="32620278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tags" Target="../tags/tag370.xml"/><Relationship Id="rId2" Type="http://schemas.openxmlformats.org/officeDocument/2006/relationships/tags" Target="../tags/tag369.xml"/><Relationship Id="rId1" Type="http://schemas.openxmlformats.org/officeDocument/2006/relationships/tags" Target="../tags/tag368.xml"/><Relationship Id="rId5" Type="http://schemas.openxmlformats.org/officeDocument/2006/relationships/slide" Target="../slides/slide1.xml"/><Relationship Id="rId4"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tags" Target="../tags/tag679.xml"/><Relationship Id="rId5" Type="http://schemas.openxmlformats.org/officeDocument/2006/relationships/slide" Target="../slides/slide10.xml"/><Relationship Id="rId4"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tags" Target="../tags/tag695.xml"/><Relationship Id="rId2" Type="http://schemas.openxmlformats.org/officeDocument/2006/relationships/tags" Target="../tags/tag694.xml"/><Relationship Id="rId1" Type="http://schemas.openxmlformats.org/officeDocument/2006/relationships/tags" Target="../tags/tag693.xml"/><Relationship Id="rId5" Type="http://schemas.openxmlformats.org/officeDocument/2006/relationships/slide" Target="../slides/slide11.xml"/><Relationship Id="rId4"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tags" Target="../tags/tag718.xml"/><Relationship Id="rId2" Type="http://schemas.openxmlformats.org/officeDocument/2006/relationships/tags" Target="../tags/tag717.xml"/><Relationship Id="rId1" Type="http://schemas.openxmlformats.org/officeDocument/2006/relationships/tags" Target="../tags/tag716.xml"/><Relationship Id="rId5" Type="http://schemas.openxmlformats.org/officeDocument/2006/relationships/slide" Target="../slides/slide12.xml"/><Relationship Id="rId4"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tags" Target="../tags/tag723.xml"/><Relationship Id="rId2" Type="http://schemas.openxmlformats.org/officeDocument/2006/relationships/tags" Target="../tags/tag722.xml"/><Relationship Id="rId1" Type="http://schemas.openxmlformats.org/officeDocument/2006/relationships/tags" Target="../tags/tag721.xml"/><Relationship Id="rId5" Type="http://schemas.openxmlformats.org/officeDocument/2006/relationships/slide" Target="../slides/slide13.xml"/><Relationship Id="rId4"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tags" Target="../tags/tag739.xml"/><Relationship Id="rId2" Type="http://schemas.openxmlformats.org/officeDocument/2006/relationships/tags" Target="../tags/tag738.xml"/><Relationship Id="rId1" Type="http://schemas.openxmlformats.org/officeDocument/2006/relationships/tags" Target="../tags/tag737.xml"/><Relationship Id="rId5" Type="http://schemas.openxmlformats.org/officeDocument/2006/relationships/slide" Target="../slides/slide14.xml"/><Relationship Id="rId4"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tags" Target="../tags/tag755.xml"/><Relationship Id="rId2" Type="http://schemas.openxmlformats.org/officeDocument/2006/relationships/tags" Target="../tags/tag754.xml"/><Relationship Id="rId1" Type="http://schemas.openxmlformats.org/officeDocument/2006/relationships/tags" Target="../tags/tag753.xml"/><Relationship Id="rId5" Type="http://schemas.openxmlformats.org/officeDocument/2006/relationships/slide" Target="../slides/slide15.xml"/><Relationship Id="rId4"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tags" Target="../tags/tag760.xml"/><Relationship Id="rId2" Type="http://schemas.openxmlformats.org/officeDocument/2006/relationships/tags" Target="../tags/tag759.xml"/><Relationship Id="rId1" Type="http://schemas.openxmlformats.org/officeDocument/2006/relationships/tags" Target="../tags/tag758.xml"/><Relationship Id="rId5" Type="http://schemas.openxmlformats.org/officeDocument/2006/relationships/slide" Target="../slides/slide16.xml"/><Relationship Id="rId4"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tags" Target="../tags/tag768.xml"/><Relationship Id="rId2" Type="http://schemas.openxmlformats.org/officeDocument/2006/relationships/tags" Target="../tags/tag767.xml"/><Relationship Id="rId1" Type="http://schemas.openxmlformats.org/officeDocument/2006/relationships/tags" Target="../tags/tag766.xml"/><Relationship Id="rId5" Type="http://schemas.openxmlformats.org/officeDocument/2006/relationships/slide" Target="../slides/slide17.xml"/><Relationship Id="rId4"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tags" Target="../tags/tag783.xml"/><Relationship Id="rId2" Type="http://schemas.openxmlformats.org/officeDocument/2006/relationships/tags" Target="../tags/tag782.xml"/><Relationship Id="rId1" Type="http://schemas.openxmlformats.org/officeDocument/2006/relationships/tags" Target="../tags/tag781.xml"/><Relationship Id="rId5" Type="http://schemas.openxmlformats.org/officeDocument/2006/relationships/slide" Target="../slides/slide18.xml"/><Relationship Id="rId4"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tags" Target="../tags/tag787.xml"/><Relationship Id="rId2" Type="http://schemas.openxmlformats.org/officeDocument/2006/relationships/tags" Target="../tags/tag786.xml"/><Relationship Id="rId1" Type="http://schemas.openxmlformats.org/officeDocument/2006/relationships/tags" Target="../tags/tag785.xml"/><Relationship Id="rId5" Type="http://schemas.openxmlformats.org/officeDocument/2006/relationships/slide" Target="../slides/slide19.xml"/><Relationship Id="rId4"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tags" Target="../tags/tag387.xml"/><Relationship Id="rId2" Type="http://schemas.openxmlformats.org/officeDocument/2006/relationships/tags" Target="../tags/tag386.xml"/><Relationship Id="rId1" Type="http://schemas.openxmlformats.org/officeDocument/2006/relationships/tags" Target="../tags/tag385.xml"/><Relationship Id="rId5" Type="http://schemas.openxmlformats.org/officeDocument/2006/relationships/slide" Target="../slides/slide2.xml"/><Relationship Id="rId4"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tags" Target="../tags/tag392.xml"/><Relationship Id="rId2" Type="http://schemas.openxmlformats.org/officeDocument/2006/relationships/tags" Target="../tags/tag391.xml"/><Relationship Id="rId1" Type="http://schemas.openxmlformats.org/officeDocument/2006/relationships/tags" Target="../tags/tag390.xml"/><Relationship Id="rId5" Type="http://schemas.openxmlformats.org/officeDocument/2006/relationships/slide" Target="../slides/slide3.xml"/><Relationship Id="rId4"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tags" Target="../tags/tag402.xml"/><Relationship Id="rId2" Type="http://schemas.openxmlformats.org/officeDocument/2006/relationships/tags" Target="../tags/tag401.xml"/><Relationship Id="rId1" Type="http://schemas.openxmlformats.org/officeDocument/2006/relationships/tags" Target="../tags/tag400.xml"/><Relationship Id="rId5" Type="http://schemas.openxmlformats.org/officeDocument/2006/relationships/slide" Target="../slides/slide4.xml"/><Relationship Id="rId4"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tags" Target="../tags/tag413.xml"/><Relationship Id="rId2" Type="http://schemas.openxmlformats.org/officeDocument/2006/relationships/tags" Target="../tags/tag412.xml"/><Relationship Id="rId1" Type="http://schemas.openxmlformats.org/officeDocument/2006/relationships/tags" Target="../tags/tag411.xml"/><Relationship Id="rId5" Type="http://schemas.openxmlformats.org/officeDocument/2006/relationships/slide" Target="../slides/slide5.xml"/><Relationship Id="rId4"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tags" Target="../tags/tag418.xml"/><Relationship Id="rId2" Type="http://schemas.openxmlformats.org/officeDocument/2006/relationships/tags" Target="../tags/tag417.xml"/><Relationship Id="rId1" Type="http://schemas.openxmlformats.org/officeDocument/2006/relationships/tags" Target="../tags/tag416.xml"/><Relationship Id="rId5" Type="http://schemas.openxmlformats.org/officeDocument/2006/relationships/slide" Target="../slides/slide6.xml"/><Relationship Id="rId4"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tags" Target="../tags/tag604.xml"/><Relationship Id="rId2" Type="http://schemas.openxmlformats.org/officeDocument/2006/relationships/tags" Target="../tags/tag603.xml"/><Relationship Id="rId1" Type="http://schemas.openxmlformats.org/officeDocument/2006/relationships/tags" Target="../tags/tag602.xml"/><Relationship Id="rId5" Type="http://schemas.openxmlformats.org/officeDocument/2006/relationships/slide" Target="../slides/slide7.xml"/><Relationship Id="rId4"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tags" Target="../tags/tag668.xml"/><Relationship Id="rId2" Type="http://schemas.openxmlformats.org/officeDocument/2006/relationships/tags" Target="../tags/tag667.xml"/><Relationship Id="rId1" Type="http://schemas.openxmlformats.org/officeDocument/2006/relationships/tags" Target="../tags/tag666.xml"/><Relationship Id="rId5" Type="http://schemas.openxmlformats.org/officeDocument/2006/relationships/slide" Target="../slides/slide8.xml"/><Relationship Id="rId4"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tags" Target="../tags/tag673.xml"/><Relationship Id="rId2" Type="http://schemas.openxmlformats.org/officeDocument/2006/relationships/tags" Target="../tags/tag672.xml"/><Relationship Id="rId1" Type="http://schemas.openxmlformats.org/officeDocument/2006/relationships/tags" Target="../tags/tag671.xml"/><Relationship Id="rId5" Type="http://schemas.openxmlformats.org/officeDocument/2006/relationships/slide" Target="../slides/slide9.xml"/><Relationship Id="rId4"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a:t>
            </a:fld>
            <a:endParaRPr lang="pl-PL" dirty="0"/>
          </a:p>
        </p:txBody>
      </p:sp>
    </p:spTree>
    <p:extLst>
      <p:ext uri="{BB962C8B-B14F-4D97-AF65-F5344CB8AC3E}">
        <p14:creationId xmlns:p14="http://schemas.microsoft.com/office/powerpoint/2010/main" val="8073408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0</a:t>
            </a:fld>
            <a:endParaRPr lang="pl-PL" dirty="0"/>
          </a:p>
        </p:txBody>
      </p:sp>
    </p:spTree>
    <p:extLst>
      <p:ext uri="{BB962C8B-B14F-4D97-AF65-F5344CB8AC3E}">
        <p14:creationId xmlns:p14="http://schemas.microsoft.com/office/powerpoint/2010/main" val="27256077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1</a:t>
            </a:fld>
            <a:endParaRPr lang="pl-PL" dirty="0"/>
          </a:p>
        </p:txBody>
      </p:sp>
    </p:spTree>
    <p:extLst>
      <p:ext uri="{BB962C8B-B14F-4D97-AF65-F5344CB8AC3E}">
        <p14:creationId xmlns:p14="http://schemas.microsoft.com/office/powerpoint/2010/main" val="23500955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2</a:t>
            </a:fld>
            <a:endParaRPr lang="pl-PL" dirty="0"/>
          </a:p>
        </p:txBody>
      </p:sp>
    </p:spTree>
    <p:extLst>
      <p:ext uri="{BB962C8B-B14F-4D97-AF65-F5344CB8AC3E}">
        <p14:creationId xmlns:p14="http://schemas.microsoft.com/office/powerpoint/2010/main" val="2381679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3</a:t>
            </a:fld>
            <a:endParaRPr lang="pl-PL" dirty="0"/>
          </a:p>
        </p:txBody>
      </p:sp>
    </p:spTree>
    <p:extLst>
      <p:ext uri="{BB962C8B-B14F-4D97-AF65-F5344CB8AC3E}">
        <p14:creationId xmlns:p14="http://schemas.microsoft.com/office/powerpoint/2010/main" val="26228723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4</a:t>
            </a:fld>
            <a:endParaRPr lang="pl-PL" dirty="0"/>
          </a:p>
        </p:txBody>
      </p:sp>
    </p:spTree>
    <p:extLst>
      <p:ext uri="{BB962C8B-B14F-4D97-AF65-F5344CB8AC3E}">
        <p14:creationId xmlns:p14="http://schemas.microsoft.com/office/powerpoint/2010/main" val="13870789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5</a:t>
            </a:fld>
            <a:endParaRPr lang="pl-PL" dirty="0"/>
          </a:p>
        </p:txBody>
      </p:sp>
    </p:spTree>
    <p:extLst>
      <p:ext uri="{BB962C8B-B14F-4D97-AF65-F5344CB8AC3E}">
        <p14:creationId xmlns:p14="http://schemas.microsoft.com/office/powerpoint/2010/main" val="17172447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6</a:t>
            </a:fld>
            <a:endParaRPr lang="pl-PL" dirty="0"/>
          </a:p>
        </p:txBody>
      </p:sp>
    </p:spTree>
    <p:extLst>
      <p:ext uri="{BB962C8B-B14F-4D97-AF65-F5344CB8AC3E}">
        <p14:creationId xmlns:p14="http://schemas.microsoft.com/office/powerpoint/2010/main" val="8331675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7</a:t>
            </a:fld>
            <a:endParaRPr lang="pl-PL" dirty="0"/>
          </a:p>
        </p:txBody>
      </p:sp>
    </p:spTree>
    <p:extLst>
      <p:ext uri="{BB962C8B-B14F-4D97-AF65-F5344CB8AC3E}">
        <p14:creationId xmlns:p14="http://schemas.microsoft.com/office/powerpoint/2010/main" val="38580623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8</a:t>
            </a:fld>
            <a:endParaRPr lang="pl-PL" dirty="0"/>
          </a:p>
        </p:txBody>
      </p:sp>
    </p:spTree>
    <p:extLst>
      <p:ext uri="{BB962C8B-B14F-4D97-AF65-F5344CB8AC3E}">
        <p14:creationId xmlns:p14="http://schemas.microsoft.com/office/powerpoint/2010/main" val="8795604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9</a:t>
            </a:fld>
            <a:endParaRPr lang="pl-PL" dirty="0"/>
          </a:p>
        </p:txBody>
      </p:sp>
    </p:spTree>
    <p:extLst>
      <p:ext uri="{BB962C8B-B14F-4D97-AF65-F5344CB8AC3E}">
        <p14:creationId xmlns:p14="http://schemas.microsoft.com/office/powerpoint/2010/main" val="614767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2</a:t>
            </a:fld>
            <a:endParaRPr lang="pl-PL" dirty="0"/>
          </a:p>
        </p:txBody>
      </p:sp>
    </p:spTree>
    <p:extLst>
      <p:ext uri="{BB962C8B-B14F-4D97-AF65-F5344CB8AC3E}">
        <p14:creationId xmlns:p14="http://schemas.microsoft.com/office/powerpoint/2010/main" val="3384390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3</a:t>
            </a:fld>
            <a:endParaRPr lang="pl-PL" dirty="0"/>
          </a:p>
        </p:txBody>
      </p:sp>
    </p:spTree>
    <p:extLst>
      <p:ext uri="{BB962C8B-B14F-4D97-AF65-F5344CB8AC3E}">
        <p14:creationId xmlns:p14="http://schemas.microsoft.com/office/powerpoint/2010/main" val="3123356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4</a:t>
            </a:fld>
            <a:endParaRPr lang="pl-PL" dirty="0"/>
          </a:p>
        </p:txBody>
      </p:sp>
    </p:spTree>
    <p:extLst>
      <p:ext uri="{BB962C8B-B14F-4D97-AF65-F5344CB8AC3E}">
        <p14:creationId xmlns:p14="http://schemas.microsoft.com/office/powerpoint/2010/main" val="1715967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5</a:t>
            </a:fld>
            <a:endParaRPr lang="pl-PL" dirty="0"/>
          </a:p>
        </p:txBody>
      </p:sp>
    </p:spTree>
    <p:extLst>
      <p:ext uri="{BB962C8B-B14F-4D97-AF65-F5344CB8AC3E}">
        <p14:creationId xmlns:p14="http://schemas.microsoft.com/office/powerpoint/2010/main" val="8795604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6</a:t>
            </a:fld>
            <a:endParaRPr lang="pl-PL" dirty="0"/>
          </a:p>
        </p:txBody>
      </p:sp>
    </p:spTree>
    <p:extLst>
      <p:ext uri="{BB962C8B-B14F-4D97-AF65-F5344CB8AC3E}">
        <p14:creationId xmlns:p14="http://schemas.microsoft.com/office/powerpoint/2010/main" val="280886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7</a:t>
            </a:fld>
            <a:endParaRPr lang="pl-PL" dirty="0"/>
          </a:p>
        </p:txBody>
      </p:sp>
    </p:spTree>
    <p:extLst>
      <p:ext uri="{BB962C8B-B14F-4D97-AF65-F5344CB8AC3E}">
        <p14:creationId xmlns:p14="http://schemas.microsoft.com/office/powerpoint/2010/main" val="31262320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8</a:t>
            </a:fld>
            <a:endParaRPr lang="pl-PL" dirty="0"/>
          </a:p>
        </p:txBody>
      </p:sp>
    </p:spTree>
    <p:extLst>
      <p:ext uri="{BB962C8B-B14F-4D97-AF65-F5344CB8AC3E}">
        <p14:creationId xmlns:p14="http://schemas.microsoft.com/office/powerpoint/2010/main" val="13036049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9</a:t>
            </a:fld>
            <a:endParaRPr lang="pl-PL" dirty="0"/>
          </a:p>
        </p:txBody>
      </p:sp>
    </p:spTree>
    <p:extLst>
      <p:ext uri="{BB962C8B-B14F-4D97-AF65-F5344CB8AC3E}">
        <p14:creationId xmlns:p14="http://schemas.microsoft.com/office/powerpoint/2010/main" val="2326607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5" Type="http://schemas.openxmlformats.org/officeDocument/2006/relationships/tags" Target="../tags/tag66.xml"/><Relationship Id="rId4" Type="http://schemas.openxmlformats.org/officeDocument/2006/relationships/tags" Target="../tags/tag65.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slideMaster" Target="../slideMasters/slideMaster1.xml"/><Relationship Id="rId5" Type="http://schemas.openxmlformats.org/officeDocument/2006/relationships/tags" Target="../tags/tag72.xml"/><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4"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5" Type="http://schemas.openxmlformats.org/officeDocument/2006/relationships/tags" Target="../tags/tag88.xml"/><Relationship Id="rId4" Type="http://schemas.openxmlformats.org/officeDocument/2006/relationships/tags" Target="../tags/tag87.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5" Type="http://schemas.openxmlformats.org/officeDocument/2006/relationships/tags" Target="../tags/tag94.xml"/><Relationship Id="rId4" Type="http://schemas.openxmlformats.org/officeDocument/2006/relationships/tags" Target="../tags/tag9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5" Type="http://schemas.openxmlformats.org/officeDocument/2006/relationships/tags" Target="../tags/tag101.xml"/><Relationship Id="rId4" Type="http://schemas.openxmlformats.org/officeDocument/2006/relationships/tags" Target="../tags/tag100.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slideMaster" Target="../slideMasters/slideMaster1.xml"/><Relationship Id="rId5" Type="http://schemas.openxmlformats.org/officeDocument/2006/relationships/tags" Target="../tags/tag107.xml"/><Relationship Id="rId4" Type="http://schemas.openxmlformats.org/officeDocument/2006/relationships/tags" Target="../tags/tag10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slideMaster" Target="../slideMasters/slideMaster1.xml"/><Relationship Id="rId4" Type="http://schemas.openxmlformats.org/officeDocument/2006/relationships/tags" Target="../tags/tag11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slideMaster" Target="../slideMasters/slideMaster1.xml"/><Relationship Id="rId5" Type="http://schemas.openxmlformats.org/officeDocument/2006/relationships/tags" Target="../tags/tag117.xml"/><Relationship Id="rId4" Type="http://schemas.openxmlformats.org/officeDocument/2006/relationships/tags" Target="../tags/tag116.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1.jpg"/></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5" Type="http://schemas.openxmlformats.org/officeDocument/2006/relationships/tags" Target="../tags/tag122.xml"/><Relationship Id="rId4" Type="http://schemas.openxmlformats.org/officeDocument/2006/relationships/tags" Target="../tags/tag121.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7.xml"/><Relationship Id="rId7" Type="http://schemas.openxmlformats.org/officeDocument/2006/relationships/tags" Target="../tags/tag131.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tags" Target="../tags/tag130.xml"/><Relationship Id="rId5" Type="http://schemas.openxmlformats.org/officeDocument/2006/relationships/tags" Target="../tags/tag129.xml"/><Relationship Id="rId4" Type="http://schemas.openxmlformats.org/officeDocument/2006/relationships/tags" Target="../tags/tag128.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39.xml"/><Relationship Id="rId3" Type="http://schemas.openxmlformats.org/officeDocument/2006/relationships/tags" Target="../tags/tag134.xml"/><Relationship Id="rId7" Type="http://schemas.openxmlformats.org/officeDocument/2006/relationships/tags" Target="../tags/tag138.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5" Type="http://schemas.openxmlformats.org/officeDocument/2006/relationships/tags" Target="../tags/tag136.xml"/><Relationship Id="rId4" Type="http://schemas.openxmlformats.org/officeDocument/2006/relationships/tags" Target="../tags/tag135.xml"/><Relationship Id="rId9"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47.xml"/><Relationship Id="rId3" Type="http://schemas.openxmlformats.org/officeDocument/2006/relationships/tags" Target="../tags/tag142.xml"/><Relationship Id="rId7" Type="http://schemas.openxmlformats.org/officeDocument/2006/relationships/tags" Target="../tags/tag146.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slideMaster" Target="../slideMasters/slideMaster1.xml"/><Relationship Id="rId5" Type="http://schemas.openxmlformats.org/officeDocument/2006/relationships/tags" Target="../tags/tag144.xml"/><Relationship Id="rId10" Type="http://schemas.openxmlformats.org/officeDocument/2006/relationships/tags" Target="../tags/tag149.xml"/><Relationship Id="rId4" Type="http://schemas.openxmlformats.org/officeDocument/2006/relationships/tags" Target="../tags/tag143.xml"/><Relationship Id="rId9" Type="http://schemas.openxmlformats.org/officeDocument/2006/relationships/tags" Target="../tags/tag148.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57.xml"/><Relationship Id="rId3" Type="http://schemas.openxmlformats.org/officeDocument/2006/relationships/tags" Target="../tags/tag152.xml"/><Relationship Id="rId7" Type="http://schemas.openxmlformats.org/officeDocument/2006/relationships/tags" Target="../tags/tag156.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slideMaster" Target="../slideMasters/slideMaster1.xml"/><Relationship Id="rId5" Type="http://schemas.openxmlformats.org/officeDocument/2006/relationships/tags" Target="../tags/tag154.xml"/><Relationship Id="rId10" Type="http://schemas.openxmlformats.org/officeDocument/2006/relationships/tags" Target="../tags/tag159.xml"/><Relationship Id="rId4" Type="http://schemas.openxmlformats.org/officeDocument/2006/relationships/tags" Target="../tags/tag153.xml"/><Relationship Id="rId9" Type="http://schemas.openxmlformats.org/officeDocument/2006/relationships/tags" Target="../tags/tag158.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67.xml"/><Relationship Id="rId3" Type="http://schemas.openxmlformats.org/officeDocument/2006/relationships/tags" Target="../tags/tag162.xml"/><Relationship Id="rId7" Type="http://schemas.openxmlformats.org/officeDocument/2006/relationships/tags" Target="../tags/tag166.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slideMaster" Target="../slideMasters/slideMaster1.xml"/><Relationship Id="rId5" Type="http://schemas.openxmlformats.org/officeDocument/2006/relationships/tags" Target="../tags/tag164.xml"/><Relationship Id="rId10" Type="http://schemas.openxmlformats.org/officeDocument/2006/relationships/tags" Target="../tags/tag169.xml"/><Relationship Id="rId4" Type="http://schemas.openxmlformats.org/officeDocument/2006/relationships/tags" Target="../tags/tag163.xml"/><Relationship Id="rId9" Type="http://schemas.openxmlformats.org/officeDocument/2006/relationships/tags" Target="../tags/tag168.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tags" Target="../tags/tag182.xml"/><Relationship Id="rId3" Type="http://schemas.openxmlformats.org/officeDocument/2006/relationships/tags" Target="../tags/tag172.xml"/><Relationship Id="rId7" Type="http://schemas.openxmlformats.org/officeDocument/2006/relationships/tags" Target="../tags/tag176.xml"/><Relationship Id="rId12" Type="http://schemas.openxmlformats.org/officeDocument/2006/relationships/tags" Target="../tags/tag181.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11" Type="http://schemas.openxmlformats.org/officeDocument/2006/relationships/tags" Target="../tags/tag180.xml"/><Relationship Id="rId5" Type="http://schemas.openxmlformats.org/officeDocument/2006/relationships/tags" Target="../tags/tag174.xml"/><Relationship Id="rId10" Type="http://schemas.openxmlformats.org/officeDocument/2006/relationships/tags" Target="../tags/tag179.xml"/><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3.xml"/></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86.xml"/><Relationship Id="rId7" Type="http://schemas.openxmlformats.org/officeDocument/2006/relationships/tags" Target="../tags/tag190.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93.xml"/><Relationship Id="rId7" Type="http://schemas.openxmlformats.org/officeDocument/2006/relationships/tags" Target="../tags/tag197.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tags" Target="../tags/tag196.xml"/><Relationship Id="rId5" Type="http://schemas.openxmlformats.org/officeDocument/2006/relationships/tags" Target="../tags/tag195.xml"/><Relationship Id="rId4" Type="http://schemas.openxmlformats.org/officeDocument/2006/relationships/tags" Target="../tags/tag194.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jpg"/><Relationship Id="rId4" Type="http://schemas.openxmlformats.org/officeDocument/2006/relationships/tags" Target="../tags/tag21.xml"/><Relationship Id="rId9"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slideMaster" Target="../slideMasters/slideMaster1.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tags" Target="../tags/tag203.xml"/><Relationship Id="rId5" Type="http://schemas.openxmlformats.org/officeDocument/2006/relationships/tags" Target="../tags/tag202.xml"/><Relationship Id="rId4" Type="http://schemas.openxmlformats.org/officeDocument/2006/relationships/tags" Target="../tags/tag20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4.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tags" Target="../tags/tag216.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slideMaster" Target="../slideMasters/slideMaster1.xml"/><Relationship Id="rId10" Type="http://schemas.openxmlformats.org/officeDocument/2006/relationships/tags" Target="../tags/tag2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tags" Target="../tags/tag231.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tags" Target="../tags/tag230.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5" Type="http://schemas.openxmlformats.org/officeDocument/2006/relationships/slideMaster" Target="../slideMasters/slideMaster1.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40.xml"/><Relationship Id="rId3" Type="http://schemas.openxmlformats.org/officeDocument/2006/relationships/tags" Target="../tags/tag235.xml"/><Relationship Id="rId7" Type="http://schemas.openxmlformats.org/officeDocument/2006/relationships/tags" Target="../tags/tag239.xml"/><Relationship Id="rId12" Type="http://schemas.openxmlformats.org/officeDocument/2006/relationships/slideMaster" Target="../slideMasters/slideMaster1.xml"/><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tags" Target="../tags/tag238.xml"/><Relationship Id="rId11" Type="http://schemas.openxmlformats.org/officeDocument/2006/relationships/tags" Target="../tags/tag243.xml"/><Relationship Id="rId5" Type="http://schemas.openxmlformats.org/officeDocument/2006/relationships/tags" Target="../tags/tag237.xml"/><Relationship Id="rId10" Type="http://schemas.openxmlformats.org/officeDocument/2006/relationships/tags" Target="../tags/tag242.xml"/><Relationship Id="rId4" Type="http://schemas.openxmlformats.org/officeDocument/2006/relationships/tags" Target="../tags/tag236.xml"/><Relationship Id="rId9" Type="http://schemas.openxmlformats.org/officeDocument/2006/relationships/tags" Target="../tags/tag241.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51.xml"/><Relationship Id="rId3" Type="http://schemas.openxmlformats.org/officeDocument/2006/relationships/tags" Target="../tags/tag246.xml"/><Relationship Id="rId7" Type="http://schemas.openxmlformats.org/officeDocument/2006/relationships/tags" Target="../tags/tag250.xml"/><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tags" Target="../tags/tag249.xml"/><Relationship Id="rId5" Type="http://schemas.openxmlformats.org/officeDocument/2006/relationships/tags" Target="../tags/tag248.xml"/><Relationship Id="rId10" Type="http://schemas.openxmlformats.org/officeDocument/2006/relationships/slideMaster" Target="../slideMasters/slideMaster1.xml"/><Relationship Id="rId4" Type="http://schemas.openxmlformats.org/officeDocument/2006/relationships/tags" Target="../tags/tag247.xml"/><Relationship Id="rId9" Type="http://schemas.openxmlformats.org/officeDocument/2006/relationships/tags" Target="../tags/tag252.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260.xml"/><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slideMaster" Target="../slideMasters/slideMaster1.xml"/><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tags" Target="../tags/tag263.xml"/><Relationship Id="rId5" Type="http://schemas.openxmlformats.org/officeDocument/2006/relationships/tags" Target="../tags/tag257.xml"/><Relationship Id="rId10" Type="http://schemas.openxmlformats.org/officeDocument/2006/relationships/tags" Target="../tags/tag262.xml"/><Relationship Id="rId4" Type="http://schemas.openxmlformats.org/officeDocument/2006/relationships/tags" Target="../tags/tag256.xml"/><Relationship Id="rId9" Type="http://schemas.openxmlformats.org/officeDocument/2006/relationships/tags" Target="../tags/tag261.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4.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272.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slideMaster" Target="../slideMasters/slideMaster1.xml"/><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283.xml"/><Relationship Id="rId13" Type="http://schemas.openxmlformats.org/officeDocument/2006/relationships/tags" Target="../tags/tag288.xml"/><Relationship Id="rId3" Type="http://schemas.openxmlformats.org/officeDocument/2006/relationships/tags" Target="../tags/tag278.xml"/><Relationship Id="rId7" Type="http://schemas.openxmlformats.org/officeDocument/2006/relationships/tags" Target="../tags/tag282.xml"/><Relationship Id="rId12" Type="http://schemas.openxmlformats.org/officeDocument/2006/relationships/tags" Target="../tags/tag287.xml"/><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tags" Target="../tags/tag281.xml"/><Relationship Id="rId11" Type="http://schemas.openxmlformats.org/officeDocument/2006/relationships/tags" Target="../tags/tag286.xml"/><Relationship Id="rId5" Type="http://schemas.openxmlformats.org/officeDocument/2006/relationships/tags" Target="../tags/tag280.xml"/><Relationship Id="rId15" Type="http://schemas.openxmlformats.org/officeDocument/2006/relationships/slideMaster" Target="../slideMasters/slideMaster1.xml"/><Relationship Id="rId10" Type="http://schemas.openxmlformats.org/officeDocument/2006/relationships/tags" Target="../tags/tag285.xml"/><Relationship Id="rId4" Type="http://schemas.openxmlformats.org/officeDocument/2006/relationships/tags" Target="../tags/tag279.xml"/><Relationship Id="rId9" Type="http://schemas.openxmlformats.org/officeDocument/2006/relationships/tags" Target="../tags/tag284.xml"/><Relationship Id="rId14" Type="http://schemas.openxmlformats.org/officeDocument/2006/relationships/tags" Target="../tags/tag289.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297.xml"/><Relationship Id="rId13" Type="http://schemas.openxmlformats.org/officeDocument/2006/relationships/tags" Target="../tags/tag302.xml"/><Relationship Id="rId3" Type="http://schemas.openxmlformats.org/officeDocument/2006/relationships/tags" Target="../tags/tag292.xml"/><Relationship Id="rId7" Type="http://schemas.openxmlformats.org/officeDocument/2006/relationships/tags" Target="../tags/tag296.xml"/><Relationship Id="rId12" Type="http://schemas.openxmlformats.org/officeDocument/2006/relationships/tags" Target="../tags/tag301.xml"/><Relationship Id="rId17" Type="http://schemas.openxmlformats.org/officeDocument/2006/relationships/slideMaster" Target="../slideMasters/slideMaster1.xml"/><Relationship Id="rId2" Type="http://schemas.openxmlformats.org/officeDocument/2006/relationships/tags" Target="../tags/tag291.xml"/><Relationship Id="rId16" Type="http://schemas.openxmlformats.org/officeDocument/2006/relationships/tags" Target="../tags/tag305.xml"/><Relationship Id="rId1" Type="http://schemas.openxmlformats.org/officeDocument/2006/relationships/tags" Target="../tags/tag290.xml"/><Relationship Id="rId6" Type="http://schemas.openxmlformats.org/officeDocument/2006/relationships/tags" Target="../tags/tag295.xml"/><Relationship Id="rId11" Type="http://schemas.openxmlformats.org/officeDocument/2006/relationships/tags" Target="../tags/tag300.xml"/><Relationship Id="rId5" Type="http://schemas.openxmlformats.org/officeDocument/2006/relationships/tags" Target="../tags/tag294.xml"/><Relationship Id="rId15" Type="http://schemas.openxmlformats.org/officeDocument/2006/relationships/tags" Target="../tags/tag304.xml"/><Relationship Id="rId10" Type="http://schemas.openxmlformats.org/officeDocument/2006/relationships/tags" Target="../tags/tag299.xml"/><Relationship Id="rId4" Type="http://schemas.openxmlformats.org/officeDocument/2006/relationships/tags" Target="../tags/tag293.xml"/><Relationship Id="rId9" Type="http://schemas.openxmlformats.org/officeDocument/2006/relationships/tags" Target="../tags/tag298.xml"/><Relationship Id="rId14" Type="http://schemas.openxmlformats.org/officeDocument/2006/relationships/tags" Target="../tags/tag30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6.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314.xml"/><Relationship Id="rId13" Type="http://schemas.openxmlformats.org/officeDocument/2006/relationships/tags" Target="../tags/tag319.xml"/><Relationship Id="rId3" Type="http://schemas.openxmlformats.org/officeDocument/2006/relationships/tags" Target="../tags/tag309.xml"/><Relationship Id="rId7" Type="http://schemas.openxmlformats.org/officeDocument/2006/relationships/tags" Target="../tags/tag313.xml"/><Relationship Id="rId12" Type="http://schemas.openxmlformats.org/officeDocument/2006/relationships/tags" Target="../tags/tag318.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tags" Target="../tags/tag312.xml"/><Relationship Id="rId11" Type="http://schemas.openxmlformats.org/officeDocument/2006/relationships/tags" Target="../tags/tag317.xml"/><Relationship Id="rId5" Type="http://schemas.openxmlformats.org/officeDocument/2006/relationships/tags" Target="../tags/tag311.xml"/><Relationship Id="rId15" Type="http://schemas.openxmlformats.org/officeDocument/2006/relationships/slideMaster" Target="../slideMasters/slideMaster1.xml"/><Relationship Id="rId10" Type="http://schemas.openxmlformats.org/officeDocument/2006/relationships/tags" Target="../tags/tag316.xml"/><Relationship Id="rId4" Type="http://schemas.openxmlformats.org/officeDocument/2006/relationships/tags" Target="../tags/tag310.xml"/><Relationship Id="rId9" Type="http://schemas.openxmlformats.org/officeDocument/2006/relationships/tags" Target="../tags/tag315.xml"/><Relationship Id="rId14" Type="http://schemas.openxmlformats.org/officeDocument/2006/relationships/tags" Target="../tags/tag320.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324.xml"/><Relationship Id="rId7" Type="http://schemas.openxmlformats.org/officeDocument/2006/relationships/slideMaster" Target="../slideMasters/slideMaster1.xml"/><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tags" Target="../tags/tag327.xml"/><Relationship Id="rId5" Type="http://schemas.openxmlformats.org/officeDocument/2006/relationships/tags" Target="../tags/tag326.xml"/><Relationship Id="rId4" Type="http://schemas.openxmlformats.org/officeDocument/2006/relationships/tags" Target="../tags/tag325.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30.xml"/><Relationship Id="rId2" Type="http://schemas.openxmlformats.org/officeDocument/2006/relationships/tags" Target="../tags/tag329.xml"/><Relationship Id="rId1" Type="http://schemas.openxmlformats.org/officeDocument/2006/relationships/tags" Target="../tags/tag328.xml"/><Relationship Id="rId5" Type="http://schemas.openxmlformats.org/officeDocument/2006/relationships/slideMaster" Target="../slideMasters/slideMaster1.xml"/><Relationship Id="rId4" Type="http://schemas.openxmlformats.org/officeDocument/2006/relationships/tags" Target="../tags/tag33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slideMaster" Target="../slideMasters/slideMaster1.xml"/><Relationship Id="rId5" Type="http://schemas.openxmlformats.org/officeDocument/2006/relationships/tags" Target="../tags/tag336.xml"/><Relationship Id="rId4" Type="http://schemas.openxmlformats.org/officeDocument/2006/relationships/tags" Target="../tags/tag335.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slideMaster" Target="../slideMasters/slideMaster1.xml"/><Relationship Id="rId5" Type="http://schemas.openxmlformats.org/officeDocument/2006/relationships/tags" Target="../tags/tag341.xml"/><Relationship Id="rId4" Type="http://schemas.openxmlformats.org/officeDocument/2006/relationships/tags" Target="../tags/tag340.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345.xml"/><Relationship Id="rId2" Type="http://schemas.openxmlformats.org/officeDocument/2006/relationships/tags" Target="../tags/tag344.xml"/><Relationship Id="rId1" Type="http://schemas.openxmlformats.org/officeDocument/2006/relationships/tags" Target="../tags/tag343.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slideMaster" Target="../slideMasters/slideMaster1.xml"/><Relationship Id="rId2" Type="http://schemas.openxmlformats.org/officeDocument/2006/relationships/tags" Target="../tags/tag28.xml"/><Relationship Id="rId16" Type="http://schemas.openxmlformats.org/officeDocument/2006/relationships/tags" Target="../tags/tag42.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tags" Target="../tags/tag41.xml"/><Relationship Id="rId10" Type="http://schemas.openxmlformats.org/officeDocument/2006/relationships/tags" Target="../tags/tag36.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348.xml"/><Relationship Id="rId2" Type="http://schemas.openxmlformats.org/officeDocument/2006/relationships/tags" Target="../tags/tag347.xml"/><Relationship Id="rId1" Type="http://schemas.openxmlformats.org/officeDocument/2006/relationships/tags" Target="../tags/tag346.xml"/><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9.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352.xml"/><Relationship Id="rId2" Type="http://schemas.openxmlformats.org/officeDocument/2006/relationships/tags" Target="../tags/tag351.xml"/><Relationship Id="rId1" Type="http://schemas.openxmlformats.org/officeDocument/2006/relationships/tags" Target="../tags/tag350.xml"/><Relationship Id="rId5" Type="http://schemas.openxmlformats.org/officeDocument/2006/relationships/image" Target="../media/image1.jp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slideMaster" Target="../slideMasters/slideMaster1.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tags" Target="../tags/tag54.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slideMaster" Target="../slideMasters/slideMaster1.xml"/><Relationship Id="rId5" Type="http://schemas.openxmlformats.org/officeDocument/2006/relationships/tags" Target="../tags/tag60.xml"/><Relationship Id="rId4" Type="http://schemas.openxmlformats.org/officeDocument/2006/relationships/tags" Target="../tags/tag59.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layou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noProof="0">
                <a:solidFill>
                  <a:schemeClr val="bg1"/>
                </a:solidFill>
              </a:rPr>
              <a:t>Title layouts</a:t>
            </a:r>
            <a:endParaRPr lang="pl-PL" sz="12000" noProof="0" dirty="0">
              <a:solidFill>
                <a:schemeClr val="bg1"/>
              </a:solidFill>
            </a:endParaRPr>
          </a:p>
        </p:txBody>
      </p:sp>
    </p:spTree>
    <p:extLst>
      <p:ext uri="{BB962C8B-B14F-4D97-AF65-F5344CB8AC3E}">
        <p14:creationId xmlns:p14="http://schemas.microsoft.com/office/powerpoint/2010/main" val="746623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5" y="1548000"/>
            <a:ext cx="95281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2" name="Datumsplatzhalter 1">
            <a:extLst>
              <a:ext uri="{FF2B5EF4-FFF2-40B4-BE49-F238E27FC236}">
                <a16:creationId xmlns:a16="http://schemas.microsoft.com/office/drawing/2014/main" id="{BB9FC835-CF5F-D3BE-A21F-217CF0074F16}"/>
              </a:ext>
            </a:extLst>
          </p:cNvPr>
          <p:cNvSpPr>
            <a:spLocks noGrp="1"/>
          </p:cNvSpPr>
          <p:nvPr>
            <p:ph type="dt" sz="half" idx="18"/>
            <p:custDataLst>
              <p:tags r:id="rId4"/>
            </p:custDataLst>
          </p:nvPr>
        </p:nvSpPr>
        <p:spPr/>
        <p:txBody>
          <a:bodyPr/>
          <a:lstStyle/>
          <a:p>
            <a:r>
              <a:rPr lang="en-US"/>
              <a:t>01.08.2023</a:t>
            </a:r>
            <a:endParaRPr lang="pl-PL" dirty="0"/>
          </a:p>
        </p:txBody>
      </p:sp>
      <p:sp>
        <p:nvSpPr>
          <p:cNvPr id="7" name="Fußzeilenplatzhalter 6">
            <a:extLst>
              <a:ext uri="{FF2B5EF4-FFF2-40B4-BE49-F238E27FC236}">
                <a16:creationId xmlns:a16="http://schemas.microsoft.com/office/drawing/2014/main" id="{BF06B2D9-B967-29E4-FA1A-006D1161B708}"/>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F8E7DF84-E9B8-FC61-7C01-65AB6A89FC27}"/>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7799618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 + 20 % X">
    <p:bg>
      <p:bgPr>
        <a:solidFill>
          <a:schemeClr val="tx2"/>
        </a:solidFill>
        <a:effectLst/>
      </p:bgPr>
    </p:bg>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78600919-13F4-6DC6-A2C5-C181B01667E7}"/>
              </a:ext>
            </a:extLst>
          </p:cNvPr>
          <p:cNvSpPr/>
          <p:nvPr userDrawn="1">
            <p:custDataLst>
              <p:tags r:id="rId1"/>
            </p:custDataLst>
          </p:nvPr>
        </p:nvSpPr>
        <p:spPr>
          <a:xfrm>
            <a:off x="538798" y="0"/>
            <a:ext cx="11653201" cy="685800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Freihandform: Form 8">
            <a:extLst>
              <a:ext uri="{FF2B5EF4-FFF2-40B4-BE49-F238E27FC236}">
                <a16:creationId xmlns:a16="http://schemas.microsoft.com/office/drawing/2014/main" id="{5F00AFF7-0142-C5BB-0F49-A9400DE07C8D}"/>
              </a:ext>
            </a:extLst>
          </p:cNvPr>
          <p:cNvSpPr/>
          <p:nvPr userDrawn="1">
            <p:custDataLst>
              <p:tags r:id="rId2"/>
            </p:custDataLst>
          </p:nvPr>
        </p:nvSpPr>
        <p:spPr>
          <a:xfrm>
            <a:off x="538800" y="0"/>
            <a:ext cx="11653200" cy="6858000"/>
          </a:xfrm>
          <a:custGeom>
            <a:avLst/>
            <a:gdLst>
              <a:gd name="connsiteX0" fmla="*/ 8962954 w 11653200"/>
              <a:gd name="connsiteY0" fmla="*/ 5902032 h 6858000"/>
              <a:gd name="connsiteX1" fmla="*/ 9558209 w 11653200"/>
              <a:gd name="connsiteY1" fmla="*/ 6677066 h 6858000"/>
              <a:gd name="connsiteX2" fmla="*/ 9697212 w 11653200"/>
              <a:gd name="connsiteY2" fmla="*/ 6858000 h 6858000"/>
              <a:gd name="connsiteX3" fmla="*/ 8228972 w 11653200"/>
              <a:gd name="connsiteY3" fmla="*/ 6858000 h 6858000"/>
              <a:gd name="connsiteX4" fmla="*/ 8367932 w 11653200"/>
              <a:gd name="connsiteY4" fmla="*/ 6677066 h 6858000"/>
              <a:gd name="connsiteX5" fmla="*/ 8962954 w 11653200"/>
              <a:gd name="connsiteY5" fmla="*/ 5902032 h 6858000"/>
              <a:gd name="connsiteX6" fmla="*/ 11653200 w 11653200"/>
              <a:gd name="connsiteY6" fmla="*/ 2397407 h 6858000"/>
              <a:gd name="connsiteX7" fmla="*/ 11653200 w 11653200"/>
              <a:gd name="connsiteY7" fmla="*/ 4454973 h 6858000"/>
              <a:gd name="connsiteX8" fmla="*/ 11484514 w 11653200"/>
              <a:gd name="connsiteY8" fmla="*/ 4235131 h 6858000"/>
              <a:gd name="connsiteX9" fmla="*/ 10863789 w 11653200"/>
              <a:gd name="connsiteY9" fmla="*/ 3426358 h 6858000"/>
              <a:gd name="connsiteX10" fmla="*/ 11484514 w 11653200"/>
              <a:gd name="connsiteY10" fmla="*/ 2617281 h 6858000"/>
              <a:gd name="connsiteX11" fmla="*/ 8232718 w 11653200"/>
              <a:gd name="connsiteY11" fmla="*/ 0 h 6858000"/>
              <a:gd name="connsiteX12" fmla="*/ 9693465 w 11653200"/>
              <a:gd name="connsiteY12" fmla="*/ 0 h 6858000"/>
              <a:gd name="connsiteX13" fmla="*/ 9558209 w 11653200"/>
              <a:gd name="connsiteY13" fmla="*/ 176004 h 6858000"/>
              <a:gd name="connsiteX14" fmla="*/ 8962954 w 11653200"/>
              <a:gd name="connsiteY14" fmla="*/ 950582 h 6858000"/>
              <a:gd name="connsiteX15" fmla="*/ 8367932 w 11653200"/>
              <a:gd name="connsiteY15" fmla="*/ 176004 h 6858000"/>
              <a:gd name="connsiteX16" fmla="*/ 0 w 11653200"/>
              <a:gd name="connsiteY16" fmla="*/ 0 h 6858000"/>
              <a:gd name="connsiteX17" fmla="*/ 4434358 w 11653200"/>
              <a:gd name="connsiteY17" fmla="*/ 0 h 6858000"/>
              <a:gd name="connsiteX18" fmla="*/ 4473888 w 11653200"/>
              <a:gd name="connsiteY18" fmla="*/ 51575 h 6858000"/>
              <a:gd name="connsiteX19" fmla="*/ 7062621 w 11653200"/>
              <a:gd name="connsiteY19" fmla="*/ 3426358 h 6858000"/>
              <a:gd name="connsiteX20" fmla="*/ 4473888 w 11653200"/>
              <a:gd name="connsiteY20" fmla="*/ 6801008 h 6858000"/>
              <a:gd name="connsiteX21" fmla="*/ 4430208 w 11653200"/>
              <a:gd name="connsiteY21" fmla="*/ 6858000 h 6858000"/>
              <a:gd name="connsiteX22" fmla="*/ 0 w 11653200"/>
              <a:gd name="connsiteY2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653200" h="6858000">
                <a:moveTo>
                  <a:pt x="8962954" y="5902032"/>
                </a:moveTo>
                <a:cubicBezTo>
                  <a:pt x="9171408" y="6173496"/>
                  <a:pt x="9371050" y="6433432"/>
                  <a:pt x="9558209" y="6677066"/>
                </a:cubicBezTo>
                <a:lnTo>
                  <a:pt x="9697212" y="6858000"/>
                </a:lnTo>
                <a:lnTo>
                  <a:pt x="8228972" y="6858000"/>
                </a:lnTo>
                <a:lnTo>
                  <a:pt x="8367932" y="6677066"/>
                </a:lnTo>
                <a:cubicBezTo>
                  <a:pt x="8555029" y="6433432"/>
                  <a:pt x="8754594" y="6173496"/>
                  <a:pt x="8962954" y="5902032"/>
                </a:cubicBezTo>
                <a:close/>
                <a:moveTo>
                  <a:pt x="11653200" y="2397407"/>
                </a:moveTo>
                <a:lnTo>
                  <a:pt x="11653200" y="4454973"/>
                </a:lnTo>
                <a:lnTo>
                  <a:pt x="11484514" y="4235131"/>
                </a:lnTo>
                <a:cubicBezTo>
                  <a:pt x="11280824" y="3969692"/>
                  <a:pt x="11072979" y="3698878"/>
                  <a:pt x="10863789" y="3426358"/>
                </a:cubicBezTo>
                <a:cubicBezTo>
                  <a:pt x="11072979" y="3153687"/>
                  <a:pt x="11280824" y="2882777"/>
                  <a:pt x="11484514" y="2617281"/>
                </a:cubicBezTo>
                <a:close/>
                <a:moveTo>
                  <a:pt x="8232718" y="0"/>
                </a:moveTo>
                <a:lnTo>
                  <a:pt x="9693465" y="0"/>
                </a:lnTo>
                <a:lnTo>
                  <a:pt x="9558209" y="176004"/>
                </a:lnTo>
                <a:cubicBezTo>
                  <a:pt x="9371050" y="419551"/>
                  <a:pt x="9171408" y="679345"/>
                  <a:pt x="8962954" y="950582"/>
                </a:cubicBezTo>
                <a:cubicBezTo>
                  <a:pt x="8754594" y="679345"/>
                  <a:pt x="8555029" y="419551"/>
                  <a:pt x="8367932" y="176004"/>
                </a:cubicBezTo>
                <a:close/>
                <a:moveTo>
                  <a:pt x="0" y="0"/>
                </a:moveTo>
                <a:lnTo>
                  <a:pt x="4434358" y="0"/>
                </a:lnTo>
                <a:lnTo>
                  <a:pt x="4473888" y="51575"/>
                </a:lnTo>
                <a:cubicBezTo>
                  <a:pt x="5105603" y="875701"/>
                  <a:pt x="6068971" y="2131172"/>
                  <a:pt x="7062621" y="3426358"/>
                </a:cubicBezTo>
                <a:cubicBezTo>
                  <a:pt x="6068971" y="4720827"/>
                  <a:pt x="5105603" y="5976822"/>
                  <a:pt x="4473888" y="6801008"/>
                </a:cubicBezTo>
                <a:lnTo>
                  <a:pt x="443020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3"/>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4"/>
            </p:custDataLst>
          </p:nvPr>
        </p:nvSpPr>
        <p:spPr>
          <a:xfrm>
            <a:off x="898525" y="1548000"/>
            <a:ext cx="95281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5"/>
            </p:custDataLst>
          </p:nvPr>
        </p:nvSpPr>
        <p:spPr/>
        <p:txBody>
          <a:bodyPr/>
          <a:lstStyle>
            <a:lvl1pPr>
              <a:defRPr/>
            </a:lvl1pPr>
          </a:lstStyle>
          <a:p>
            <a:r>
              <a:rPr lang="pl-PL"/>
              <a:t>Headline</a:t>
            </a:r>
            <a:endParaRPr lang="pl-PL" dirty="0"/>
          </a:p>
        </p:txBody>
      </p:sp>
      <p:sp>
        <p:nvSpPr>
          <p:cNvPr id="2" name="Datumsplatzhalter 1">
            <a:extLst>
              <a:ext uri="{FF2B5EF4-FFF2-40B4-BE49-F238E27FC236}">
                <a16:creationId xmlns:a16="http://schemas.microsoft.com/office/drawing/2014/main" id="{BB9FC835-CF5F-D3BE-A21F-217CF0074F16}"/>
              </a:ext>
            </a:extLst>
          </p:cNvPr>
          <p:cNvSpPr>
            <a:spLocks noGrp="1"/>
          </p:cNvSpPr>
          <p:nvPr>
            <p:ph type="dt" sz="half" idx="18"/>
            <p:custDataLst>
              <p:tags r:id="rId6"/>
            </p:custDataLst>
          </p:nvPr>
        </p:nvSpPr>
        <p:spPr/>
        <p:txBody>
          <a:bodyPr/>
          <a:lstStyle/>
          <a:p>
            <a:r>
              <a:rPr lang="en-US"/>
              <a:t>01.08.2023</a:t>
            </a:r>
            <a:endParaRPr lang="pl-PL" dirty="0"/>
          </a:p>
        </p:txBody>
      </p:sp>
      <p:sp>
        <p:nvSpPr>
          <p:cNvPr id="7" name="Fußzeilenplatzhalter 6">
            <a:extLst>
              <a:ext uri="{FF2B5EF4-FFF2-40B4-BE49-F238E27FC236}">
                <a16:creationId xmlns:a16="http://schemas.microsoft.com/office/drawing/2014/main" id="{BF06B2D9-B967-29E4-FA1A-006D1161B708}"/>
              </a:ext>
            </a:extLst>
          </p:cNvPr>
          <p:cNvSpPr>
            <a:spLocks noGrp="1"/>
          </p:cNvSpPr>
          <p:nvPr>
            <p:ph type="ftr" sz="quarter" idx="19"/>
            <p:custDataLst>
              <p:tags r:id="rId7"/>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F8E7DF84-E9B8-FC61-7C01-65AB6A89FC27}"/>
              </a:ext>
            </a:extLst>
          </p:cNvPr>
          <p:cNvSpPr>
            <a:spLocks noGrp="1"/>
          </p:cNvSpPr>
          <p:nvPr>
            <p:ph type="sldNum" sz="quarter" idx="20"/>
            <p:custDataLst>
              <p:tags r:id="rId8"/>
            </p:custDataLst>
          </p:nvPr>
        </p:nvSpPr>
        <p:spPr/>
        <p:txBody>
          <a:bodyPr/>
          <a:lstStyle/>
          <a:p>
            <a:fld id="{92DB0D90-6264-4E90-9724-ABC670DBF4FB}" type="slidenum">
              <a:rPr lang="pl-PL" smtClean="0"/>
              <a:pPr/>
              <a:t>‹#›</a:t>
            </a:fld>
            <a:endParaRPr lang="pl-PL" dirty="0"/>
          </a:p>
        </p:txBody>
      </p:sp>
      <p:sp>
        <p:nvSpPr>
          <p:cNvPr id="3" name="Rechteck 2">
            <a:extLst>
              <a:ext uri="{FF2B5EF4-FFF2-40B4-BE49-F238E27FC236}">
                <a16:creationId xmlns:a16="http://schemas.microsoft.com/office/drawing/2014/main" id="{E496BA2E-1480-0685-59EA-10967269F16F}"/>
              </a:ext>
            </a:extLst>
          </p:cNvPr>
          <p:cNvSpPr/>
          <p:nvPr userDrawn="1">
            <p:custDataLst>
              <p:tags r:id="rId9"/>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4" name="Rechteck 3">
            <a:extLst>
              <a:ext uri="{FF2B5EF4-FFF2-40B4-BE49-F238E27FC236}">
                <a16:creationId xmlns:a16="http://schemas.microsoft.com/office/drawing/2014/main" id="{1F9CF062-E67F-69B9-3ADB-F5E5A538C0ED}"/>
              </a:ext>
            </a:extLst>
          </p:cNvPr>
          <p:cNvSpPr>
            <a:spLocks/>
          </p:cNvSpPr>
          <p:nvPr userDrawn="1">
            <p:custDataLst>
              <p:tags r:id="rId10"/>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40650061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Inhaltsplatzhalter 2">
            <a:extLst>
              <a:ext uri="{FF2B5EF4-FFF2-40B4-BE49-F238E27FC236}">
                <a16:creationId xmlns:a16="http://schemas.microsoft.com/office/drawing/2014/main" id="{439C0895-1734-BA09-0AE8-E0C4B5B7D345}"/>
              </a:ext>
            </a:extLst>
          </p:cNvPr>
          <p:cNvSpPr>
            <a:spLocks noGrp="1"/>
          </p:cNvSpPr>
          <p:nvPr>
            <p:ph idx="1" hasCustomPrompt="1"/>
            <p:custDataLst>
              <p:tags r:id="rId2"/>
            </p:custDataLst>
          </p:nvPr>
        </p:nvSpPr>
        <p:spPr>
          <a:xfrm>
            <a:off x="898525" y="1548000"/>
            <a:ext cx="9528176" cy="4586400"/>
          </a:xfrm>
        </p:spPr>
        <p:txBody>
          <a:bodyPr/>
          <a:lstStyle/>
          <a:p>
            <a:pPr lvl="0"/>
            <a:r>
              <a:rPr lang="pl-PL" dirty="0" err="1"/>
              <a:t>Please</a:t>
            </a:r>
            <a:r>
              <a:rPr lang="pl-PL" dirty="0"/>
              <a:t> format the </a:t>
            </a:r>
            <a:r>
              <a:rPr lang="pl-PL" dirty="0" err="1"/>
              <a:t>text</a:t>
            </a:r>
            <a:r>
              <a:rPr lang="pl-PL" dirty="0"/>
              <a:t> via the List Level </a:t>
            </a:r>
            <a:r>
              <a:rPr lang="pl-PL" dirty="0" err="1"/>
              <a:t>button</a:t>
            </a:r>
            <a:endParaRPr lang="pl-PL" dirty="0"/>
          </a:p>
          <a:p>
            <a:pPr lvl="1"/>
            <a:r>
              <a:rPr lang="pl-PL" dirty="0" err="1"/>
              <a:t>Zweite</a:t>
            </a:r>
            <a:r>
              <a:rPr lang="pl-PL" dirty="0"/>
              <a:t> </a:t>
            </a:r>
            <a:r>
              <a:rPr lang="pl-PL" dirty="0" err="1"/>
              <a:t>Ebene</a:t>
            </a:r>
            <a:endParaRPr lang="pl-PL" dirty="0"/>
          </a:p>
          <a:p>
            <a:pPr lvl="2"/>
            <a:r>
              <a:rPr lang="pl-PL" dirty="0" err="1"/>
              <a:t>Dritte</a:t>
            </a:r>
            <a:r>
              <a:rPr lang="pl-PL" dirty="0"/>
              <a:t> </a:t>
            </a:r>
            <a:r>
              <a:rPr lang="pl-PL" dirty="0" err="1"/>
              <a:t>Ebene</a:t>
            </a:r>
            <a:endParaRPr lang="pl-PL" dirty="0"/>
          </a:p>
          <a:p>
            <a:pPr lvl="3"/>
            <a:r>
              <a:rPr lang="pl-PL" dirty="0" err="1"/>
              <a:t>Vierte</a:t>
            </a:r>
            <a:r>
              <a:rPr lang="pl-PL" dirty="0"/>
              <a:t> </a:t>
            </a:r>
            <a:r>
              <a:rPr lang="pl-PL" dirty="0" err="1"/>
              <a:t>Ebene</a:t>
            </a:r>
            <a:endParaRPr lang="pl-PL" dirty="0"/>
          </a:p>
          <a:p>
            <a:pPr lvl="4"/>
            <a:r>
              <a:rPr lang="pl-PL" dirty="0" err="1"/>
              <a:t>Fünfte</a:t>
            </a:r>
            <a:r>
              <a:rPr lang="pl-PL" dirty="0"/>
              <a:t> </a:t>
            </a:r>
            <a:r>
              <a:rPr lang="pl-PL" dirty="0" err="1"/>
              <a:t>Ebene</a:t>
            </a:r>
            <a:endParaRPr lang="pl-PL" dirty="0"/>
          </a:p>
        </p:txBody>
      </p:sp>
      <p:sp>
        <p:nvSpPr>
          <p:cNvPr id="5" name="Titel 4">
            <a:extLst>
              <a:ext uri="{FF2B5EF4-FFF2-40B4-BE49-F238E27FC236}">
                <a16:creationId xmlns:a16="http://schemas.microsoft.com/office/drawing/2014/main" id="{E762ECD7-B588-9D31-F397-7435DF42DF2C}"/>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6" name="Datumsplatzhalter 5">
            <a:extLst>
              <a:ext uri="{FF2B5EF4-FFF2-40B4-BE49-F238E27FC236}">
                <a16:creationId xmlns:a16="http://schemas.microsoft.com/office/drawing/2014/main" id="{F65EE91B-E413-FBA1-851B-B5E21653450C}"/>
              </a:ext>
            </a:extLst>
          </p:cNvPr>
          <p:cNvSpPr>
            <a:spLocks noGrp="1"/>
          </p:cNvSpPr>
          <p:nvPr>
            <p:ph type="dt" sz="half" idx="15"/>
            <p:custDataLst>
              <p:tags r:id="rId4"/>
            </p:custDataLst>
          </p:nvPr>
        </p:nvSpPr>
        <p:spPr/>
        <p:txBody>
          <a:bodyPr/>
          <a:lstStyle/>
          <a:p>
            <a:r>
              <a:rPr lang="en-US"/>
              <a:t>01.08.2023</a:t>
            </a:r>
            <a:endParaRPr lang="pl-PL" dirty="0"/>
          </a:p>
        </p:txBody>
      </p:sp>
      <p:sp>
        <p:nvSpPr>
          <p:cNvPr id="7" name="Fußzeilenplatzhalter 6">
            <a:extLst>
              <a:ext uri="{FF2B5EF4-FFF2-40B4-BE49-F238E27FC236}">
                <a16:creationId xmlns:a16="http://schemas.microsoft.com/office/drawing/2014/main" id="{3981CF2A-9397-021B-ED84-E09550FFA8B3}"/>
              </a:ext>
            </a:extLst>
          </p:cNvPr>
          <p:cNvSpPr>
            <a:spLocks noGrp="1"/>
          </p:cNvSpPr>
          <p:nvPr>
            <p:ph type="ftr" sz="quarter" idx="16"/>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3A97FDEB-BB52-F8C8-EAAF-F91A15687AE1}"/>
              </a:ext>
            </a:extLst>
          </p:cNvPr>
          <p:cNvSpPr>
            <a:spLocks noGrp="1"/>
          </p:cNvSpPr>
          <p:nvPr>
            <p:ph type="sldNum" sz="quarter" idx="17"/>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2664013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5791385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1/2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
        <p:nvSpPr>
          <p:cNvPr id="2" name="Textplatzhalter 4">
            <a:extLst>
              <a:ext uri="{FF2B5EF4-FFF2-40B4-BE49-F238E27FC236}">
                <a16:creationId xmlns:a16="http://schemas.microsoft.com/office/drawing/2014/main" id="{C0944364-B53D-1198-F1CA-032D070525E2}"/>
              </a:ext>
            </a:extLst>
          </p:cNvPr>
          <p:cNvSpPr>
            <a:spLocks noGrp="1"/>
          </p:cNvSpPr>
          <p:nvPr>
            <p:ph type="body" sz="quarter" idx="21" hasCustomPrompt="1"/>
            <p:custDataLst>
              <p:tags r:id="rId7"/>
            </p:custDataLst>
          </p:nvPr>
        </p:nvSpPr>
        <p:spPr>
          <a:xfrm>
            <a:off x="6545263"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Tree>
    <p:extLst>
      <p:ext uri="{BB962C8B-B14F-4D97-AF65-F5344CB8AC3E}">
        <p14:creationId xmlns:p14="http://schemas.microsoft.com/office/powerpoint/2010/main" val="30780756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8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38766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8866510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Headlin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Datumsplatzhalter 2">
            <a:extLst>
              <a:ext uri="{FF2B5EF4-FFF2-40B4-BE49-F238E27FC236}">
                <a16:creationId xmlns:a16="http://schemas.microsoft.com/office/drawing/2014/main" id="{D07DB473-962D-AD57-9196-D5A180E4ABF1}"/>
              </a:ext>
            </a:extLst>
          </p:cNvPr>
          <p:cNvSpPr>
            <a:spLocks noGrp="1"/>
          </p:cNvSpPr>
          <p:nvPr>
            <p:ph type="dt" sz="half" idx="15"/>
            <p:custDataLst>
              <p:tags r:id="rId2"/>
            </p:custDataLst>
          </p:nvPr>
        </p:nvSpPr>
        <p:spPr/>
        <p:txBody>
          <a:bodyPr/>
          <a:lstStyle/>
          <a:p>
            <a:r>
              <a:rPr lang="en-US"/>
              <a:t>01.08.2023</a:t>
            </a:r>
            <a:endParaRPr lang="pl-PL" dirty="0"/>
          </a:p>
        </p:txBody>
      </p:sp>
      <p:sp>
        <p:nvSpPr>
          <p:cNvPr id="8" name="Fußzeilenplatzhalter 7">
            <a:extLst>
              <a:ext uri="{FF2B5EF4-FFF2-40B4-BE49-F238E27FC236}">
                <a16:creationId xmlns:a16="http://schemas.microsoft.com/office/drawing/2014/main" id="{476C8BE4-5DDD-0B65-47D8-3F7B1F7B2592}"/>
              </a:ext>
            </a:extLst>
          </p:cNvPr>
          <p:cNvSpPr>
            <a:spLocks noGrp="1"/>
          </p:cNvSpPr>
          <p:nvPr>
            <p:ph type="ftr" sz="quarter" idx="16"/>
            <p:custDataLst>
              <p:tags r:id="rId3"/>
            </p:custDataLst>
          </p:nvPr>
        </p:nvSpPr>
        <p:spPr/>
        <p:txBody>
          <a:bodyPr/>
          <a:lstStyle/>
          <a:p>
            <a:r>
              <a:rPr lang="pl-PL"/>
              <a:t>Najważniejsze informacje o dawstwie szpiku - Prezentacja w ramach projektu #KOMÓRKOMANIA | C1 - publiczna</a:t>
            </a:r>
            <a:endParaRPr lang="pl-PL" dirty="0"/>
          </a:p>
        </p:txBody>
      </p:sp>
      <p:sp>
        <p:nvSpPr>
          <p:cNvPr id="9" name="Foliennummernplatzhalter 8">
            <a:extLst>
              <a:ext uri="{FF2B5EF4-FFF2-40B4-BE49-F238E27FC236}">
                <a16:creationId xmlns:a16="http://schemas.microsoft.com/office/drawing/2014/main" id="{25F6BD41-6F25-DDC7-01AD-FD1B37FBE89F}"/>
              </a:ext>
            </a:extLst>
          </p:cNvPr>
          <p:cNvSpPr>
            <a:spLocks noGrp="1"/>
          </p:cNvSpPr>
          <p:nvPr>
            <p:ph type="sldNum" sz="quarter" idx="17"/>
            <p:custDataLst>
              <p:tags r:id="rId4"/>
            </p:custDataLst>
          </p:nvPr>
        </p:nvSpPr>
        <p:spPr/>
        <p:txBody>
          <a:bodyPr/>
          <a:lstStyle/>
          <a:p>
            <a:fld id="{92DB0D90-6264-4E90-9724-ABC670DBF4FB}" type="slidenum">
              <a:rPr lang="pl-PL" smtClean="0"/>
              <a:pPr/>
              <a:t>‹#›</a:t>
            </a:fld>
            <a:endParaRPr lang="pl-PL" dirty="0"/>
          </a:p>
        </p:txBody>
      </p:sp>
      <p:sp>
        <p:nvSpPr>
          <p:cNvPr id="10" name="Titel 9">
            <a:extLst>
              <a:ext uri="{FF2B5EF4-FFF2-40B4-BE49-F238E27FC236}">
                <a16:creationId xmlns:a16="http://schemas.microsoft.com/office/drawing/2014/main" id="{A7009BFE-C474-5719-70CC-7E16EC314E9B}"/>
              </a:ext>
            </a:extLst>
          </p:cNvPr>
          <p:cNvSpPr>
            <a:spLocks noGrp="1"/>
          </p:cNvSpPr>
          <p:nvPr>
            <p:ph type="title" hasCustomPrompt="1"/>
            <p:custDataLst>
              <p:tags r:id="rId5"/>
            </p:custDataLst>
          </p:nvPr>
        </p:nvSpPr>
        <p:spPr/>
        <p:txBody>
          <a:bodyPr/>
          <a:lstStyle>
            <a:lvl1pPr>
              <a:defRPr/>
            </a:lvl1pPr>
          </a:lstStyle>
          <a:p>
            <a:r>
              <a:rPr lang="pl-PL"/>
              <a:t>Headline</a:t>
            </a:r>
            <a:endParaRPr lang="pl-PL" dirty="0"/>
          </a:p>
        </p:txBody>
      </p:sp>
    </p:spTree>
    <p:extLst>
      <p:ext uri="{BB962C8B-B14F-4D97-AF65-F5344CB8AC3E}">
        <p14:creationId xmlns:p14="http://schemas.microsoft.com/office/powerpoint/2010/main" val="36300465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c">
    <p:bg>
      <p:bgPr>
        <a:solidFill>
          <a:schemeClr val="tx2"/>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891AE8F-062D-6295-CA3F-35725C666124}"/>
              </a:ext>
            </a:extLst>
          </p:cNvPr>
          <p:cNvSpPr/>
          <p:nvPr userDrawn="1">
            <p:custDataLst>
              <p:tags r:id="rId1"/>
            </p:custDataLst>
          </p:nvPr>
        </p:nvSpPr>
        <p:spPr>
          <a:xfrm>
            <a:off x="729672" y="387927"/>
            <a:ext cx="1219200" cy="3694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3" name="Datumsplatzhalter 2">
            <a:extLst>
              <a:ext uri="{FF2B5EF4-FFF2-40B4-BE49-F238E27FC236}">
                <a16:creationId xmlns:a16="http://schemas.microsoft.com/office/drawing/2014/main" id="{1B632C87-A27A-7229-D788-51616F43D34C}"/>
              </a:ext>
            </a:extLst>
          </p:cNvPr>
          <p:cNvSpPr>
            <a:spLocks noGrp="1"/>
          </p:cNvSpPr>
          <p:nvPr>
            <p:ph type="dt" sz="half" idx="10"/>
            <p:custDataLst>
              <p:tags r:id="rId2"/>
            </p:custDataLst>
          </p:nvPr>
        </p:nvSpPr>
        <p:spPr/>
        <p:txBody>
          <a:bodyPr/>
          <a:lstStyle/>
          <a:p>
            <a:r>
              <a:rPr lang="en-US"/>
              <a:t>01.08.2023</a:t>
            </a:r>
            <a:endParaRPr lang="pl-PL" dirty="0"/>
          </a:p>
        </p:txBody>
      </p:sp>
      <p:sp>
        <p:nvSpPr>
          <p:cNvPr id="4" name="Fußzeilenplatzhalter 3">
            <a:extLst>
              <a:ext uri="{FF2B5EF4-FFF2-40B4-BE49-F238E27FC236}">
                <a16:creationId xmlns:a16="http://schemas.microsoft.com/office/drawing/2014/main" id="{7A33577A-E104-2170-D56B-621A46F28E12}"/>
              </a:ext>
            </a:extLst>
          </p:cNvPr>
          <p:cNvSpPr>
            <a:spLocks noGrp="1"/>
          </p:cNvSpPr>
          <p:nvPr>
            <p:ph type="ftr" sz="quarter" idx="11"/>
            <p:custDataLst>
              <p:tags r:id="rId3"/>
            </p:custDataLst>
          </p:nvPr>
        </p:nvSpPr>
        <p:spPr/>
        <p:txBody>
          <a:bodyPr/>
          <a:lstStyle/>
          <a:p>
            <a:r>
              <a:rPr lang="pl-PL"/>
              <a:t>Najważniejsze informacje o dawstwie szpiku - Prezentacja w ramach projektu #KOMÓRKOMANIA | C1 - publiczna</a:t>
            </a:r>
            <a:endParaRPr lang="pl-PL" dirty="0"/>
          </a:p>
        </p:txBody>
      </p:sp>
      <p:sp>
        <p:nvSpPr>
          <p:cNvPr id="5" name="Foliennummernplatzhalter 4">
            <a:extLst>
              <a:ext uri="{FF2B5EF4-FFF2-40B4-BE49-F238E27FC236}">
                <a16:creationId xmlns:a16="http://schemas.microsoft.com/office/drawing/2014/main" id="{B02D7620-6BD3-0124-6C9B-7D0E79826CF9}"/>
              </a:ext>
            </a:extLst>
          </p:cNvPr>
          <p:cNvSpPr>
            <a:spLocks noGrp="1"/>
          </p:cNvSpPr>
          <p:nvPr>
            <p:ph type="sldNum" sz="quarter" idx="12"/>
            <p:custDataLst>
              <p:tags r:id="rId4"/>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0166466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Image text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Image text layouts  </a:t>
            </a:r>
            <a:endParaRPr lang="pl-PL" sz="12000" dirty="0">
              <a:solidFill>
                <a:schemeClr val="bg1"/>
              </a:solidFill>
            </a:endParaRPr>
          </a:p>
        </p:txBody>
      </p:sp>
    </p:spTree>
    <p:extLst>
      <p:ext uri="{BB962C8B-B14F-4D97-AF65-F5344CB8AC3E}">
        <p14:creationId xmlns:p14="http://schemas.microsoft.com/office/powerpoint/2010/main" val="34006356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2 text + imag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5"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Bildplatzhalter 3">
            <a:extLst>
              <a:ext uri="{FF2B5EF4-FFF2-40B4-BE49-F238E27FC236}">
                <a16:creationId xmlns:a16="http://schemas.microsoft.com/office/drawing/2014/main" id="{EB7C6611-1997-1E05-1D82-0E98671BA6C1}"/>
              </a:ext>
            </a:extLst>
          </p:cNvPr>
          <p:cNvSpPr>
            <a:spLocks noGrp="1"/>
          </p:cNvSpPr>
          <p:nvPr>
            <p:ph type="pic" sz="quarter" idx="19" hasCustomPrompt="1"/>
            <p:custDataLst>
              <p:tags r:id="rId3"/>
            </p:custDataLst>
          </p:nvPr>
        </p:nvSpPr>
        <p:spPr>
          <a:xfrm>
            <a:off x="7962899" y="0"/>
            <a:ext cx="4229099"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endParaRPr lang="pl-PL" dirty="0"/>
          </a:p>
        </p:txBody>
      </p:sp>
      <p:sp>
        <p:nvSpPr>
          <p:cNvPr id="12" name="Titel 11">
            <a:extLst>
              <a:ext uri="{FF2B5EF4-FFF2-40B4-BE49-F238E27FC236}">
                <a16:creationId xmlns:a16="http://schemas.microsoft.com/office/drawing/2014/main" id="{230A5D0A-A03C-2A34-B1E1-C81F0317F54F}"/>
              </a:ext>
            </a:extLst>
          </p:cNvPr>
          <p:cNvSpPr>
            <a:spLocks noGrp="1"/>
          </p:cNvSpPr>
          <p:nvPr>
            <p:ph type="title" hasCustomPrompt="1"/>
            <p:custDataLst>
              <p:tags r:id="rId4"/>
            </p:custDataLst>
          </p:nvPr>
        </p:nvSpPr>
        <p:spPr>
          <a:xfrm>
            <a:off x="898525" y="683999"/>
            <a:ext cx="5286375" cy="759600"/>
          </a:xfrm>
        </p:spPr>
        <p:txBody>
          <a:bodyPr/>
          <a:lstStyle>
            <a:lvl1pPr>
              <a:defRPr/>
            </a:lvl1pPr>
          </a:lstStyle>
          <a:p>
            <a:r>
              <a:rPr lang="pl-PL"/>
              <a:t>Headline</a:t>
            </a:r>
            <a:endParaRPr lang="pl-PL" dirty="0"/>
          </a:p>
        </p:txBody>
      </p:sp>
      <p:sp>
        <p:nvSpPr>
          <p:cNvPr id="14" name="Fußzeilenplatzhalter 13">
            <a:extLst>
              <a:ext uri="{FF2B5EF4-FFF2-40B4-BE49-F238E27FC236}">
                <a16:creationId xmlns:a16="http://schemas.microsoft.com/office/drawing/2014/main" id="{ADCF5EB0-9B83-68B8-9C92-39A62F7E3B1D}"/>
              </a:ext>
            </a:extLst>
          </p:cNvPr>
          <p:cNvSpPr>
            <a:spLocks noGrp="1"/>
          </p:cNvSpPr>
          <p:nvPr>
            <p:ph type="ftr" sz="quarter" idx="21"/>
            <p:custDataLst>
              <p:tags r:id="rId5"/>
            </p:custDataLst>
          </p:nvPr>
        </p:nvSpPr>
        <p:spPr>
          <a:xfrm>
            <a:off x="1878676" y="6470705"/>
            <a:ext cx="5715925" cy="281691"/>
          </a:xfrm>
        </p:spPr>
        <p:txBody>
          <a:bodyPr/>
          <a:lstStyle>
            <a:lvl1pPr algn="r">
              <a:defRPr/>
            </a:lvl1pPr>
          </a:lstStyle>
          <a:p>
            <a:r>
              <a:rPr lang="pl-PL"/>
              <a:t>Najważniejsze informacje o dawstwie szpiku - Prezentacja w ramach projektu #KOMÓRKOMANIA | C1 - publiczna</a:t>
            </a:r>
            <a:endParaRPr lang="pl-PL" dirty="0"/>
          </a:p>
        </p:txBody>
      </p:sp>
    </p:spTree>
    <p:extLst>
      <p:ext uri="{BB962C8B-B14F-4D97-AF65-F5344CB8AC3E}">
        <p14:creationId xmlns:p14="http://schemas.microsoft.com/office/powerpoint/2010/main" val="30618260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chemeClr val="tx2"/>
        </a:solidFill>
        <a:effectLst/>
      </p:bgPr>
    </p:bg>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8031A212-EFA4-1FC0-A634-A5484954E738}"/>
              </a:ext>
            </a:extLst>
          </p:cNvPr>
          <p:cNvSpPr/>
          <p:nvPr userDrawn="1">
            <p:custDataLst>
              <p:tags r:id="rId1"/>
            </p:custData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1" name="Bildplatzhalter">
            <a:extLst>
              <a:ext uri="{FF2B5EF4-FFF2-40B4-BE49-F238E27FC236}">
                <a16:creationId xmlns:a16="http://schemas.microsoft.com/office/drawing/2014/main" id="{EF5AEA91-2AC7-F0F0-9782-C62498B58821}"/>
              </a:ext>
            </a:extLst>
          </p:cNvPr>
          <p:cNvSpPr>
            <a:spLocks noGrp="1"/>
          </p:cNvSpPr>
          <p:nvPr>
            <p:ph type="pic" sz="quarter" idx="11" hasCustomPrompt="1"/>
            <p:custDataLst>
              <p:tags r:id="rId2"/>
            </p:custDataLst>
          </p:nvPr>
        </p:nvSpPr>
        <p:spPr>
          <a:xfrm>
            <a:off x="4902228" y="-1"/>
            <a:ext cx="7289772" cy="6858000"/>
          </a:xfrm>
          <a:custGeom>
            <a:avLst/>
            <a:gdLst>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5263199 w 7289772"/>
              <a:gd name="connsiteY5" fmla="*/ 0 h 6858000"/>
              <a:gd name="connsiteX6" fmla="*/ 7289772 w 7289772"/>
              <a:gd name="connsiteY6" fmla="*/ 0 h 6858000"/>
              <a:gd name="connsiteX7" fmla="*/ 7289772 w 7289772"/>
              <a:gd name="connsiteY7" fmla="*/ 3038958 h 6858000"/>
              <a:gd name="connsiteX8" fmla="*/ 6992481 w 7289772"/>
              <a:gd name="connsiteY8" fmla="*/ 3426461 h 6858000"/>
              <a:gd name="connsiteX9" fmla="*/ 7289772 w 7289772"/>
              <a:gd name="connsiteY9" fmla="*/ 3813786 h 6858000"/>
              <a:gd name="connsiteX10" fmla="*/ 7289772 w 7289772"/>
              <a:gd name="connsiteY10" fmla="*/ 6858000 h 6858000"/>
              <a:gd name="connsiteX11" fmla="*/ 5266888 w 7289772"/>
              <a:gd name="connsiteY11" fmla="*/ 6858000 h 6858000"/>
              <a:gd name="connsiteX12" fmla="*/ 5047823 w 7289772"/>
              <a:gd name="connsiteY12" fmla="*/ 6572773 h 6858000"/>
              <a:gd name="connsiteX13" fmla="*/ 4812255 w 7289772"/>
              <a:gd name="connsiteY13" fmla="*/ 6266019 h 6858000"/>
              <a:gd name="connsiteX14" fmla="*/ 4576788 w 7289772"/>
              <a:gd name="connsiteY14" fmla="*/ 6572773 h 6858000"/>
              <a:gd name="connsiteX15" fmla="*/ 4357808 w 7289772"/>
              <a:gd name="connsiteY15" fmla="*/ 6858000 h 6858000"/>
              <a:gd name="connsiteX16" fmla="*/ 0 w 7289772"/>
              <a:gd name="connsiteY16" fmla="*/ 6858000 h 6858000"/>
              <a:gd name="connsiteX17" fmla="*/ 33676 w 7289772"/>
              <a:gd name="connsiteY17" fmla="*/ 6814076 h 6858000"/>
              <a:gd name="connsiteX18" fmla="*/ 2632603 w 7289772"/>
              <a:gd name="connsiteY18" fmla="*/ 3426461 h 6858000"/>
              <a:gd name="connsiteX19" fmla="*/ 33676 w 7289772"/>
              <a:gd name="connsiteY19" fmla="*/ 386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89772" h="6858000">
                <a:moveTo>
                  <a:pt x="4054" y="0"/>
                </a:moveTo>
                <a:lnTo>
                  <a:pt x="4361495" y="0"/>
                </a:lnTo>
                <a:lnTo>
                  <a:pt x="4576788" y="280262"/>
                </a:lnTo>
                <a:cubicBezTo>
                  <a:pt x="4654052" y="380843"/>
                  <a:pt x="4732593" y="483087"/>
                  <a:pt x="4812255" y="586788"/>
                </a:cubicBezTo>
                <a:cubicBezTo>
                  <a:pt x="4891953" y="483087"/>
                  <a:pt x="4970527" y="380843"/>
                  <a:pt x="5047823" y="280262"/>
                </a:cubicBezTo>
                <a:lnTo>
                  <a:pt x="5263199" y="0"/>
                </a:lnTo>
                <a:lnTo>
                  <a:pt x="7289772" y="0"/>
                </a:lnTo>
                <a:lnTo>
                  <a:pt x="7289772" y="3038958"/>
                </a:lnTo>
                <a:lnTo>
                  <a:pt x="6992481" y="3426461"/>
                </a:lnTo>
                <a:lnTo>
                  <a:pt x="7289772" y="3813786"/>
                </a:lnTo>
                <a:lnTo>
                  <a:pt x="7289772" y="6858000"/>
                </a:lnTo>
                <a:lnTo>
                  <a:pt x="5266888" y="6858000"/>
                </a:lnTo>
                <a:lnTo>
                  <a:pt x="5047823" y="6572773"/>
                </a:lnTo>
                <a:cubicBezTo>
                  <a:pt x="4970527" y="6472126"/>
                  <a:pt x="4891953" y="6369807"/>
                  <a:pt x="4812255" y="6266019"/>
                </a:cubicBezTo>
                <a:cubicBezTo>
                  <a:pt x="4732593" y="6369807"/>
                  <a:pt x="4654052" y="6472126"/>
                  <a:pt x="4576788" y="6572773"/>
                </a:cubicBezTo>
                <a:lnTo>
                  <a:pt x="4357808" y="6858000"/>
                </a:lnTo>
                <a:lnTo>
                  <a:pt x="0" y="6858000"/>
                </a:lnTo>
                <a:lnTo>
                  <a:pt x="33676" y="6814076"/>
                </a:lnTo>
                <a:cubicBezTo>
                  <a:pt x="737739" y="5895774"/>
                  <a:pt x="1672856" y="4676764"/>
                  <a:pt x="2632603" y="3426461"/>
                </a:cubicBezTo>
                <a:cubicBezTo>
                  <a:pt x="1672856" y="2175466"/>
                  <a:pt x="737739" y="956774"/>
                  <a:pt x="33676" y="38631"/>
                </a:cubicBezTo>
                <a:close/>
              </a:path>
            </a:pathLst>
          </a:custGeom>
          <a:solidFill>
            <a:schemeClr val="accent6"/>
          </a:solidFill>
        </p:spPr>
        <p:txBody>
          <a:bodyPr wrap="square" lIns="720000" tIns="720000" rIns="3600000" bIns="0">
            <a:noAutofit/>
          </a:bodyPr>
          <a:lstStyle>
            <a:lvl1pPr>
              <a:defRPr sz="800"/>
            </a:lvl1pPr>
            <a:lvl2pPr marL="0" indent="0" algn="l">
              <a:buNone/>
              <a:defRPr sz="800"/>
            </a:lvl2pPr>
          </a:lstStyle>
          <a:p>
            <a:pPr lvl="1"/>
            <a:r>
              <a:rPr lang="pl-PL" noProof="0"/>
              <a:t>Do not use copy-and-paste to load the picture, </a:t>
            </a:r>
            <a:br>
              <a:rPr lang="pl-PL" noProof="0"/>
            </a:br>
            <a:r>
              <a:rPr lang="pl-PL" noProof="0"/>
              <a:t>copy-and-paste does not work with the X special picture placeholders.</a:t>
            </a:r>
            <a:br>
              <a:rPr lang="pl-PL" noProof="0"/>
            </a:br>
            <a:br>
              <a:rPr lang="pl-PL" noProof="0"/>
            </a:br>
            <a:r>
              <a:rPr lang="pl-PL" noProof="0"/>
              <a:t>To load a picture into the X picture placeholder, activate the picture placeholder by clicking on it. </a:t>
            </a:r>
            <a:br>
              <a:rPr lang="pl-PL" noProof="0"/>
            </a:br>
            <a:r>
              <a:rPr lang="pl-PL" noProof="0"/>
              <a:t>Then load the picture via Menu → Insert → Pictures → Insert Picture From …</a:t>
            </a:r>
            <a:br>
              <a:rPr lang="pl-PL" noProof="0"/>
            </a:br>
            <a:br>
              <a:rPr lang="pl-PL" noProof="0"/>
            </a:br>
            <a:r>
              <a:rPr lang="pl-PL" noProof="0"/>
              <a:t>If the red X element is in the way, place it in the background. </a:t>
            </a:r>
            <a:br>
              <a:rPr lang="pl-PL" noProof="0"/>
            </a:br>
            <a:r>
              <a:rPr lang="pl-PL" noProof="0"/>
              <a:t>After the picture is loaded into the picture placeholder, </a:t>
            </a:r>
            <a:br>
              <a:rPr lang="pl-PL" noProof="0"/>
            </a:br>
            <a:r>
              <a:rPr lang="pl-PL" noProof="0"/>
              <a:t>place the picture in the background</a:t>
            </a:r>
            <a:endParaRPr lang="pl-PL" noProof="0" dirty="0"/>
          </a:p>
        </p:txBody>
      </p:sp>
      <p:sp>
        <p:nvSpPr>
          <p:cNvPr id="2" name="Titel 1">
            <a:extLst>
              <a:ext uri="{FF2B5EF4-FFF2-40B4-BE49-F238E27FC236}">
                <a16:creationId xmlns:a16="http://schemas.microsoft.com/office/drawing/2014/main" id="{DB7F294D-7B35-1C7D-E5E7-739B01725BD9}"/>
              </a:ext>
            </a:extLst>
          </p:cNvPr>
          <p:cNvSpPr>
            <a:spLocks noGrp="1"/>
          </p:cNvSpPr>
          <p:nvPr>
            <p:ph type="ctrTitle" hasCustomPrompt="1"/>
            <p:custDataLst>
              <p:tags r:id="rId3"/>
            </p:custDataLst>
          </p:nvPr>
        </p:nvSpPr>
        <p:spPr>
          <a:xfrm>
            <a:off x="540000" y="1925926"/>
            <a:ext cx="4876800" cy="2474623"/>
          </a:xfrm>
        </p:spPr>
        <p:txBody>
          <a:bodyPr anchor="b"/>
          <a:lstStyle>
            <a:lvl1pPr algn="l">
              <a:lnSpc>
                <a:spcPct val="90000"/>
              </a:lnSpc>
              <a:defRPr sz="4000"/>
            </a:lvl1pPr>
          </a:lstStyle>
          <a:p>
            <a:r>
              <a:rPr lang="pl-PL" noProof="0"/>
              <a:t>Headline</a:t>
            </a:r>
            <a:endParaRPr lang="pl-PL" noProof="0" dirty="0"/>
          </a:p>
        </p:txBody>
      </p:sp>
      <p:sp>
        <p:nvSpPr>
          <p:cNvPr id="3" name="Untertitel 2">
            <a:extLst>
              <a:ext uri="{FF2B5EF4-FFF2-40B4-BE49-F238E27FC236}">
                <a16:creationId xmlns:a16="http://schemas.microsoft.com/office/drawing/2014/main" id="{F2D7F861-AF88-AD7D-FBAB-47B0BC489DFF}"/>
              </a:ext>
            </a:extLst>
          </p:cNvPr>
          <p:cNvSpPr>
            <a:spLocks noGrp="1"/>
          </p:cNvSpPr>
          <p:nvPr>
            <p:ph type="subTitle" idx="1" hasCustomPrompt="1"/>
            <p:custDataLst>
              <p:tags r:id="rId4"/>
            </p:custDataLst>
          </p:nvPr>
        </p:nvSpPr>
        <p:spPr>
          <a:xfrm>
            <a:off x="540000" y="4572000"/>
            <a:ext cx="4129200"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noProof="0"/>
              <a:t>Subline</a:t>
            </a:r>
            <a:endParaRPr lang="pl-PL" noProof="0" dirty="0"/>
          </a:p>
        </p:txBody>
      </p:sp>
      <p:sp>
        <p:nvSpPr>
          <p:cNvPr id="4" name="Rechteck 3">
            <a:extLst>
              <a:ext uri="{FF2B5EF4-FFF2-40B4-BE49-F238E27FC236}">
                <a16:creationId xmlns:a16="http://schemas.microsoft.com/office/drawing/2014/main" id="{A8E8F15F-711D-D86D-20ED-6F292DA5876B}"/>
              </a:ext>
            </a:extLst>
          </p:cNvPr>
          <p:cNvSpPr/>
          <p:nvPr userDrawn="1">
            <p:custDataLst>
              <p:tags r:id="rId5"/>
            </p:custDataLst>
          </p:nvPr>
        </p:nvSpPr>
        <p:spPr>
          <a:xfrm>
            <a:off x="720436" y="387927"/>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2" name="roter Balken 21 % Transparenz">
            <a:extLst>
              <a:ext uri="{FF2B5EF4-FFF2-40B4-BE49-F238E27FC236}">
                <a16:creationId xmlns:a16="http://schemas.microsoft.com/office/drawing/2014/main" id="{76EC34EF-2CF1-FC63-29DC-C6AC09592D57}"/>
              </a:ext>
            </a:extLst>
          </p:cNvPr>
          <p:cNvSpPr>
            <a:spLocks noGrp="1"/>
          </p:cNvSpPr>
          <p:nvPr>
            <p:ph type="body" sz="quarter" idx="13"/>
            <p:custDataLst>
              <p:tags r:id="rId6"/>
            </p:custDataLst>
          </p:nvPr>
        </p:nvSpPr>
        <p:spPr>
          <a:xfrm>
            <a:off x="4903968" y="0"/>
            <a:ext cx="7288033" cy="6858000"/>
          </a:xfrm>
          <a:custGeom>
            <a:avLst/>
            <a:gdLst>
              <a:gd name="connsiteX0" fmla="*/ 5264141 w 7288033"/>
              <a:gd name="connsiteY0" fmla="*/ 0 h 6858000"/>
              <a:gd name="connsiteX1" fmla="*/ 7288033 w 7288033"/>
              <a:gd name="connsiteY1" fmla="*/ 0 h 6858000"/>
              <a:gd name="connsiteX2" fmla="*/ 7288033 w 7288033"/>
              <a:gd name="connsiteY2" fmla="*/ 3035642 h 6858000"/>
              <a:gd name="connsiteX3" fmla="*/ 7026984 w 7288033"/>
              <a:gd name="connsiteY3" fmla="*/ 3375779 h 6858000"/>
              <a:gd name="connsiteX4" fmla="*/ 4428304 w 7288033"/>
              <a:gd name="connsiteY4" fmla="*/ 6761143 h 6858000"/>
              <a:gd name="connsiteX5" fmla="*/ 4353940 w 7288033"/>
              <a:gd name="connsiteY5" fmla="*/ 6858000 h 6858000"/>
              <a:gd name="connsiteX6" fmla="*/ 0 w 7288033"/>
              <a:gd name="connsiteY6" fmla="*/ 6858000 h 6858000"/>
              <a:gd name="connsiteX7" fmla="*/ 139962 w 7288033"/>
              <a:gd name="connsiteY7" fmla="*/ 6675604 h 6858000"/>
              <a:gd name="connsiteX8" fmla="*/ 5193258 w 7288033"/>
              <a:gd name="connsiteY8" fmla="*/ 923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8033" h="6858000">
                <a:moveTo>
                  <a:pt x="5264141" y="0"/>
                </a:moveTo>
                <a:lnTo>
                  <a:pt x="7288033" y="0"/>
                </a:lnTo>
                <a:lnTo>
                  <a:pt x="7288033" y="3035642"/>
                </a:lnTo>
                <a:lnTo>
                  <a:pt x="7026984" y="3375779"/>
                </a:lnTo>
                <a:cubicBezTo>
                  <a:pt x="6128175" y="4546865"/>
                  <a:pt x="5205306" y="5749093"/>
                  <a:pt x="4428304" y="6761143"/>
                </a:cubicBezTo>
                <a:lnTo>
                  <a:pt x="4353940" y="6858000"/>
                </a:lnTo>
                <a:lnTo>
                  <a:pt x="0" y="6858000"/>
                </a:lnTo>
                <a:lnTo>
                  <a:pt x="139962" y="6675604"/>
                </a:lnTo>
                <a:cubicBezTo>
                  <a:pt x="1501647" y="4901104"/>
                  <a:pt x="3639207" y="2116299"/>
                  <a:pt x="5193258" y="92314"/>
                </a:cubicBezTo>
                <a:close/>
              </a:path>
            </a:pathLst>
          </a:custGeom>
          <a:solidFill>
            <a:schemeClr val="tx2">
              <a:alpha val="30000"/>
            </a:schemeClr>
          </a:solidFill>
        </p:spPr>
        <p:txBody>
          <a:bodyPr wrap="square">
            <a:noAutofit/>
          </a:bodyPr>
          <a:lstStyle>
            <a:lvl1pPr>
              <a:defRPr sz="800">
                <a:no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z="1600" noProof="0"/>
              <a:t>Edit Master text styles</a:t>
            </a:r>
          </a:p>
        </p:txBody>
      </p:sp>
      <p:sp>
        <p:nvSpPr>
          <p:cNvPr id="7" name="Datumsplatzhalter 6">
            <a:extLst>
              <a:ext uri="{FF2B5EF4-FFF2-40B4-BE49-F238E27FC236}">
                <a16:creationId xmlns:a16="http://schemas.microsoft.com/office/drawing/2014/main" id="{318BB9F8-D41F-4BC0-3637-28F4778722B1}"/>
              </a:ext>
            </a:extLst>
          </p:cNvPr>
          <p:cNvSpPr>
            <a:spLocks noGrp="1"/>
          </p:cNvSpPr>
          <p:nvPr>
            <p:ph type="dt" sz="half" idx="14"/>
            <p:custDataLst>
              <p:tags r:id="rId7"/>
            </p:custDataLst>
          </p:nvPr>
        </p:nvSpPr>
        <p:spPr>
          <a:xfrm>
            <a:off x="540000" y="6470705"/>
            <a:ext cx="3044827" cy="281691"/>
          </a:xfrm>
        </p:spPr>
        <p:txBody>
          <a:bodyPr/>
          <a:lstStyle>
            <a:lvl1pPr algn="l">
              <a:defRPr/>
            </a:lvl1pPr>
          </a:lstStyle>
          <a:p>
            <a:r>
              <a:rPr lang="en-US" noProof="0"/>
              <a:t>01.08.2023</a:t>
            </a:r>
            <a:endParaRPr lang="pl-PL" noProof="0" dirty="0"/>
          </a:p>
        </p:txBody>
      </p:sp>
      <p:pic>
        <p:nvPicPr>
          <p:cNvPr id="6" name="Grafik 5">
            <a:extLst>
              <a:ext uri="{FF2B5EF4-FFF2-40B4-BE49-F238E27FC236}">
                <a16:creationId xmlns:a16="http://schemas.microsoft.com/office/drawing/2014/main" id="{A1F8C65C-721D-4F49-AB39-381490DD4B9F}"/>
              </a:ext>
            </a:extLst>
          </p:cNvPr>
          <p:cNvPicPr>
            <a:picLocks noChangeAspect="1"/>
          </p:cNvPicPr>
          <p:nvPr userDrawn="1"/>
        </p:nvPicPr>
        <p:blipFill>
          <a:blip r:embed="rId9"/>
          <a:stretch>
            <a:fillRect/>
          </a:stretch>
        </p:blipFill>
        <p:spPr>
          <a:xfrm>
            <a:off x="539999" y="448674"/>
            <a:ext cx="2460376" cy="727764"/>
          </a:xfrm>
          <a:prstGeom prst="rect">
            <a:avLst/>
          </a:prstGeom>
        </p:spPr>
      </p:pic>
    </p:spTree>
    <p:extLst>
      <p:ext uri="{BB962C8B-B14F-4D97-AF65-F5344CB8AC3E}">
        <p14:creationId xmlns:p14="http://schemas.microsoft.com/office/powerpoint/2010/main" val="22449869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 tex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5135200" y="223200"/>
            <a:ext cx="52915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a:xfrm>
            <a:off x="5135200" y="683999"/>
            <a:ext cx="6696438" cy="759600"/>
          </a:xfrm>
        </p:spPr>
        <p:txBody>
          <a:bodyPr/>
          <a:lstStyle>
            <a:lvl1pPr>
              <a:defRPr/>
            </a:lvl1pPr>
          </a:lstStyle>
          <a:p>
            <a:r>
              <a:rPr lang="pl-PL"/>
              <a:t>Head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5135200" y="1548000"/>
            <a:ext cx="6696438"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4" name="Bildplatzhalter 3">
            <a:extLst>
              <a:ext uri="{FF2B5EF4-FFF2-40B4-BE49-F238E27FC236}">
                <a16:creationId xmlns:a16="http://schemas.microsoft.com/office/drawing/2014/main" id="{F6075228-22D7-0B43-7568-9752C445C3FD}"/>
              </a:ext>
            </a:extLst>
          </p:cNvPr>
          <p:cNvSpPr>
            <a:spLocks noGrp="1"/>
          </p:cNvSpPr>
          <p:nvPr>
            <p:ph type="pic" sz="quarter" idx="18" hasCustomPrompt="1"/>
            <p:custDataLst>
              <p:tags r:id="rId4"/>
            </p:custDataLst>
          </p:nvPr>
        </p:nvSpPr>
        <p:spPr>
          <a:xfrm>
            <a:off x="540000" y="0"/>
            <a:ext cx="4235200"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endParaRPr lang="pl-PL" dirty="0"/>
          </a:p>
        </p:txBody>
      </p:sp>
      <p:sp>
        <p:nvSpPr>
          <p:cNvPr id="7" name="Rechteck 6">
            <a:extLst>
              <a:ext uri="{FF2B5EF4-FFF2-40B4-BE49-F238E27FC236}">
                <a16:creationId xmlns:a16="http://schemas.microsoft.com/office/drawing/2014/main" id="{D161EE98-3D13-5963-AB4D-A9823F3152B8}"/>
              </a:ext>
            </a:extLst>
          </p:cNvPr>
          <p:cNvSpPr/>
          <p:nvPr userDrawn="1">
            <p:custDataLst>
              <p:tags r:id="rId5"/>
            </p:custDataLst>
          </p:nvPr>
        </p:nvSpPr>
        <p:spPr>
          <a:xfrm>
            <a:off x="5135200"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Datumsplatzhalter 8">
            <a:extLst>
              <a:ext uri="{FF2B5EF4-FFF2-40B4-BE49-F238E27FC236}">
                <a16:creationId xmlns:a16="http://schemas.microsoft.com/office/drawing/2014/main" id="{E4A4CD09-8343-3C76-441B-82A382C07CEA}"/>
              </a:ext>
            </a:extLst>
          </p:cNvPr>
          <p:cNvSpPr>
            <a:spLocks noGrp="1"/>
          </p:cNvSpPr>
          <p:nvPr>
            <p:ph type="dt" sz="half" idx="19"/>
            <p:custDataLst>
              <p:tags r:id="rId6"/>
            </p:custDataLst>
          </p:nvPr>
        </p:nvSpPr>
        <p:spPr>
          <a:xfrm>
            <a:off x="10782300" y="6470705"/>
            <a:ext cx="1049338" cy="281691"/>
          </a:xfrm>
        </p:spPr>
        <p:txBody>
          <a:bodyPr/>
          <a:lstStyle/>
          <a:p>
            <a:r>
              <a:rPr lang="en-US"/>
              <a:t>01.08.2023</a:t>
            </a:r>
            <a:endParaRPr lang="pl-PL" dirty="0"/>
          </a:p>
        </p:txBody>
      </p:sp>
      <p:sp>
        <p:nvSpPr>
          <p:cNvPr id="12" name="Foliennummernplatzhalter 11">
            <a:extLst>
              <a:ext uri="{FF2B5EF4-FFF2-40B4-BE49-F238E27FC236}">
                <a16:creationId xmlns:a16="http://schemas.microsoft.com/office/drawing/2014/main" id="{39904F0F-95C7-E920-16D7-DFE5F784E84C}"/>
              </a:ext>
            </a:extLst>
          </p:cNvPr>
          <p:cNvSpPr>
            <a:spLocks noGrp="1"/>
          </p:cNvSpPr>
          <p:nvPr>
            <p:ph type="sldNum" sz="quarter" idx="21"/>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8944763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 text 1/2">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6545263" y="223200"/>
            <a:ext cx="3881437"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a:xfrm>
            <a:off x="6545264" y="683999"/>
            <a:ext cx="5286373" cy="759600"/>
          </a:xfrm>
        </p:spPr>
        <p:txBody>
          <a:bodyPr/>
          <a:lstStyle>
            <a:lvl1pPr>
              <a:defRPr/>
            </a:lvl1pPr>
          </a:lstStyle>
          <a:p>
            <a:r>
              <a:rPr lang="pl-PL"/>
              <a:t>Head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6545264" y="1548000"/>
            <a:ext cx="5286374"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4" name="Bildplatzhalter 3">
            <a:extLst>
              <a:ext uri="{FF2B5EF4-FFF2-40B4-BE49-F238E27FC236}">
                <a16:creationId xmlns:a16="http://schemas.microsoft.com/office/drawing/2014/main" id="{F6075228-22D7-0B43-7568-9752C445C3FD}"/>
              </a:ext>
            </a:extLst>
          </p:cNvPr>
          <p:cNvSpPr>
            <a:spLocks noGrp="1"/>
          </p:cNvSpPr>
          <p:nvPr>
            <p:ph type="pic" sz="quarter" idx="18" hasCustomPrompt="1"/>
            <p:custDataLst>
              <p:tags r:id="rId4"/>
            </p:custDataLst>
          </p:nvPr>
        </p:nvSpPr>
        <p:spPr>
          <a:xfrm>
            <a:off x="540000" y="0"/>
            <a:ext cx="5644900"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p>
          <a:p>
            <a:endParaRPr lang="pl-PL" dirty="0"/>
          </a:p>
        </p:txBody>
      </p:sp>
      <p:sp>
        <p:nvSpPr>
          <p:cNvPr id="7" name="Rechteck 6">
            <a:extLst>
              <a:ext uri="{FF2B5EF4-FFF2-40B4-BE49-F238E27FC236}">
                <a16:creationId xmlns:a16="http://schemas.microsoft.com/office/drawing/2014/main" id="{D161EE98-3D13-5963-AB4D-A9823F3152B8}"/>
              </a:ext>
            </a:extLst>
          </p:cNvPr>
          <p:cNvSpPr/>
          <p:nvPr userDrawn="1">
            <p:custDataLst>
              <p:tags r:id="rId5"/>
            </p:custDataLst>
          </p:nvPr>
        </p:nvSpPr>
        <p:spPr>
          <a:xfrm>
            <a:off x="6566863"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Datumsplatzhalter 8">
            <a:extLst>
              <a:ext uri="{FF2B5EF4-FFF2-40B4-BE49-F238E27FC236}">
                <a16:creationId xmlns:a16="http://schemas.microsoft.com/office/drawing/2014/main" id="{04CB3857-165E-8E80-A189-2BC17AFF0D19}"/>
              </a:ext>
            </a:extLst>
          </p:cNvPr>
          <p:cNvSpPr>
            <a:spLocks noGrp="1"/>
          </p:cNvSpPr>
          <p:nvPr>
            <p:ph type="dt" sz="half" idx="19"/>
            <p:custDataLst>
              <p:tags r:id="rId6"/>
            </p:custDataLst>
          </p:nvPr>
        </p:nvSpPr>
        <p:spPr>
          <a:xfrm>
            <a:off x="10787066" y="6470705"/>
            <a:ext cx="1044572" cy="281691"/>
          </a:xfrm>
        </p:spPr>
        <p:txBody>
          <a:bodyPr/>
          <a:lstStyle/>
          <a:p>
            <a:r>
              <a:rPr lang="en-US"/>
              <a:t>01.08.2023</a:t>
            </a:r>
            <a:endParaRPr lang="pl-PL" dirty="0"/>
          </a:p>
        </p:txBody>
      </p:sp>
      <p:sp>
        <p:nvSpPr>
          <p:cNvPr id="12" name="Foliennummernplatzhalter 11">
            <a:extLst>
              <a:ext uri="{FF2B5EF4-FFF2-40B4-BE49-F238E27FC236}">
                <a16:creationId xmlns:a16="http://schemas.microsoft.com/office/drawing/2014/main" id="{0D2D38D5-D091-F13B-D961-D6DBD546BA36}"/>
              </a:ext>
            </a:extLst>
          </p:cNvPr>
          <p:cNvSpPr>
            <a:spLocks noGrp="1"/>
          </p:cNvSpPr>
          <p:nvPr>
            <p:ph type="sldNum" sz="quarter" idx="21"/>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5958427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2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49219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49219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Bildplatzhalter 6">
            <a:extLst>
              <a:ext uri="{FF2B5EF4-FFF2-40B4-BE49-F238E27FC236}">
                <a16:creationId xmlns:a16="http://schemas.microsoft.com/office/drawing/2014/main" id="{6A82778D-3DE5-47AA-11E0-16E95E5ED0D8}"/>
              </a:ext>
            </a:extLst>
          </p:cNvPr>
          <p:cNvSpPr>
            <a:spLocks noGrp="1"/>
          </p:cNvSpPr>
          <p:nvPr>
            <p:ph type="pic" sz="quarter" idx="19" hasCustomPrompt="1"/>
            <p:custDataLst>
              <p:tags r:id="rId3"/>
            </p:custDataLst>
          </p:nvPr>
        </p:nvSpPr>
        <p:spPr>
          <a:xfrm>
            <a:off x="6540500" y="539750"/>
            <a:ext cx="529113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4"/>
            </p:custDataLst>
          </p:nvPr>
        </p:nvSpPr>
        <p:spPr>
          <a:xfrm>
            <a:off x="6540500" y="3428512"/>
            <a:ext cx="529113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3" name="Datumsplatzhalter 2">
            <a:extLst>
              <a:ext uri="{FF2B5EF4-FFF2-40B4-BE49-F238E27FC236}">
                <a16:creationId xmlns:a16="http://schemas.microsoft.com/office/drawing/2014/main" id="{8594F248-7680-6217-7741-BA27C62660C2}"/>
              </a:ext>
            </a:extLst>
          </p:cNvPr>
          <p:cNvSpPr>
            <a:spLocks noGrp="1"/>
          </p:cNvSpPr>
          <p:nvPr>
            <p:ph type="dt" sz="half" idx="21"/>
            <p:custDataLst>
              <p:tags r:id="rId5"/>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8EF269EF-34BE-320A-EA18-58E69AAE240A}"/>
              </a:ext>
            </a:extLst>
          </p:cNvPr>
          <p:cNvSpPr>
            <a:spLocks noGrp="1"/>
          </p:cNvSpPr>
          <p:nvPr>
            <p:ph type="ftr" sz="quarter" idx="22"/>
            <p:custDataLst>
              <p:tags r:id="rId6"/>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F26636E3-4BFB-C23E-83BB-A5B488F9AF33}"/>
              </a:ext>
            </a:extLst>
          </p:cNvPr>
          <p:cNvSpPr>
            <a:spLocks noGrp="1"/>
          </p:cNvSpPr>
          <p:nvPr>
            <p:ph type="sldNum" sz="quarter" idx="23"/>
            <p:custDataLst>
              <p:tags r:id="rId7"/>
            </p:custDataLst>
          </p:nvPr>
        </p:nvSpPr>
        <p:spPr/>
        <p:txBody>
          <a:bodyPr/>
          <a:lstStyle/>
          <a:p>
            <a:fld id="{92DB0D90-6264-4E90-9724-ABC670DBF4FB}" type="slidenum">
              <a:rPr lang="pl-PL" smtClean="0"/>
              <a:pPr/>
              <a:t>‹#›</a:t>
            </a:fld>
            <a:endParaRPr lang="pl-PL" dirty="0"/>
          </a:p>
        </p:txBody>
      </p:sp>
      <p:sp>
        <p:nvSpPr>
          <p:cNvPr id="14" name="Titel 13">
            <a:extLst>
              <a:ext uri="{FF2B5EF4-FFF2-40B4-BE49-F238E27FC236}">
                <a16:creationId xmlns:a16="http://schemas.microsoft.com/office/drawing/2014/main" id="{55A3FF94-26BB-408A-D990-5D0F6B5438FB}"/>
              </a:ext>
            </a:extLst>
          </p:cNvPr>
          <p:cNvSpPr>
            <a:spLocks noGrp="1"/>
          </p:cNvSpPr>
          <p:nvPr>
            <p:ph type="title" hasCustomPrompt="1"/>
            <p:custDataLst>
              <p:tags r:id="rId8"/>
            </p:custDataLst>
          </p:nvPr>
        </p:nvSpPr>
        <p:spPr>
          <a:xfrm>
            <a:off x="898524" y="684001"/>
            <a:ext cx="4921976" cy="759600"/>
          </a:xfrm>
        </p:spPr>
        <p:txBody>
          <a:bodyPr/>
          <a:lstStyle>
            <a:lvl1pPr>
              <a:defRPr/>
            </a:lvl1pPr>
          </a:lstStyle>
          <a:p>
            <a:r>
              <a:rPr lang="pl-PL"/>
              <a:t>Headline</a:t>
            </a:r>
            <a:endParaRPr lang="pl-PL" dirty="0"/>
          </a:p>
        </p:txBody>
      </p:sp>
    </p:spTree>
    <p:extLst>
      <p:ext uri="{BB962C8B-B14F-4D97-AF65-F5344CB8AC3E}">
        <p14:creationId xmlns:p14="http://schemas.microsoft.com/office/powerpoint/2010/main" val="6582456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3 images">
    <p:bg>
      <p:bgPr>
        <a:solidFill>
          <a:schemeClr val="tx2"/>
        </a:solidFill>
        <a:effectLst/>
      </p:bgPr>
    </p:bg>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7A51E147-0100-C9EE-6894-FB03D3E6D03D}"/>
              </a:ext>
            </a:extLst>
          </p:cNvPr>
          <p:cNvSpPr/>
          <p:nvPr userDrawn="1">
            <p:custDataLst>
              <p:tags r:id="rId1"/>
            </p:custDataLst>
          </p:nvPr>
        </p:nvSpPr>
        <p:spPr>
          <a:xfrm>
            <a:off x="899999"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9999" y="223200"/>
            <a:ext cx="49212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899999" y="1548000"/>
            <a:ext cx="4921200"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4"/>
            </p:custDataLst>
          </p:nvPr>
        </p:nvSpPr>
        <p:spPr>
          <a:xfrm>
            <a:off x="899999" y="684001"/>
            <a:ext cx="4921200" cy="759600"/>
          </a:xfrm>
        </p:spPr>
        <p:txBody>
          <a:bodyPr/>
          <a:lstStyle>
            <a:lvl1pPr>
              <a:defRPr/>
            </a:lvl1pPr>
          </a:lstStyle>
          <a:p>
            <a:r>
              <a:rPr lang="pl-PL"/>
              <a:t>Headline</a:t>
            </a:r>
            <a:endParaRPr lang="pl-PL" dirty="0"/>
          </a:p>
        </p:txBody>
      </p:sp>
      <p:sp>
        <p:nvSpPr>
          <p:cNvPr id="7" name="Bildplatzhalter 6">
            <a:extLst>
              <a:ext uri="{FF2B5EF4-FFF2-40B4-BE49-F238E27FC236}">
                <a16:creationId xmlns:a16="http://schemas.microsoft.com/office/drawing/2014/main" id="{6A82778D-3DE5-47AA-11E0-16E95E5ED0D8}"/>
              </a:ext>
            </a:extLst>
          </p:cNvPr>
          <p:cNvSpPr>
            <a:spLocks noGrp="1"/>
          </p:cNvSpPr>
          <p:nvPr>
            <p:ph type="pic" sz="quarter" idx="19" hasCustomPrompt="1"/>
            <p:custDataLst>
              <p:tags r:id="rId5"/>
            </p:custDataLst>
          </p:nvPr>
        </p:nvSpPr>
        <p:spPr>
          <a:xfrm>
            <a:off x="6545764" y="539750"/>
            <a:ext cx="528489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6"/>
            </p:custDataLst>
          </p:nvPr>
        </p:nvSpPr>
        <p:spPr>
          <a:xfrm>
            <a:off x="6545764" y="3428512"/>
            <a:ext cx="2552449"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27" name="Bildplatzhalter 6">
            <a:extLst>
              <a:ext uri="{FF2B5EF4-FFF2-40B4-BE49-F238E27FC236}">
                <a16:creationId xmlns:a16="http://schemas.microsoft.com/office/drawing/2014/main" id="{5C68CFCB-6EE3-B4A7-7D86-8B33BAADC7CB}"/>
              </a:ext>
            </a:extLst>
          </p:cNvPr>
          <p:cNvSpPr>
            <a:spLocks noGrp="1"/>
          </p:cNvSpPr>
          <p:nvPr>
            <p:ph type="pic" sz="quarter" idx="25" hasCustomPrompt="1"/>
            <p:custDataLst>
              <p:tags r:id="rId7"/>
            </p:custDataLst>
          </p:nvPr>
        </p:nvSpPr>
        <p:spPr>
          <a:xfrm>
            <a:off x="9278213" y="3428512"/>
            <a:ext cx="2552449"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9" name="Datumsplatzhalter 8">
            <a:extLst>
              <a:ext uri="{FF2B5EF4-FFF2-40B4-BE49-F238E27FC236}">
                <a16:creationId xmlns:a16="http://schemas.microsoft.com/office/drawing/2014/main" id="{824431AC-83CA-0DAE-123C-BD7E835E157D}"/>
              </a:ext>
            </a:extLst>
          </p:cNvPr>
          <p:cNvSpPr>
            <a:spLocks noGrp="1"/>
          </p:cNvSpPr>
          <p:nvPr>
            <p:ph type="dt" sz="half" idx="26"/>
            <p:custDataLst>
              <p:tags r:id="rId8"/>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676A3F4C-28B9-8BAA-F509-25AAB2B4C44F}"/>
              </a:ext>
            </a:extLst>
          </p:cNvPr>
          <p:cNvSpPr>
            <a:spLocks noGrp="1"/>
          </p:cNvSpPr>
          <p:nvPr>
            <p:ph type="ftr" sz="quarter" idx="27"/>
            <p:custDataLst>
              <p:tags r:id="rId9"/>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00B3F39B-62AD-073A-3D3B-F316C69E2F70}"/>
              </a:ext>
            </a:extLst>
          </p:cNvPr>
          <p:cNvSpPr>
            <a:spLocks noGrp="1"/>
          </p:cNvSpPr>
          <p:nvPr>
            <p:ph type="sldNum" sz="quarter" idx="28"/>
            <p:custDataLst>
              <p:tags r:id="rId10"/>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9820779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 4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49212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4921200" cy="4586400"/>
          </a:xfrm>
        </p:spPr>
        <p:txBody>
          <a:bodyPr/>
          <a:lstStyle>
            <a:lvl2pPr>
              <a:defRPr/>
            </a:lvl2pPr>
            <a:lvl3pPr>
              <a:defRPr/>
            </a:lvl3pPr>
            <a:lvl4pPr>
              <a:defRPr/>
            </a:lvl4pPr>
            <a:lvl5pPr>
              <a:defRPr/>
            </a:lvl5pPr>
          </a:lstStyle>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0" lang="pl-PL" sz="1600" b="1" i="0" u="none" strike="noStrike" kern="1200" cap="none" spc="0" normalizeH="0" baseline="0" noProof="0">
                <a:ln>
                  <a:noFill/>
                </a:ln>
                <a:solidFill>
                  <a:srgbClr val="000000"/>
                </a:solidFill>
                <a:effectLst/>
                <a:uLnTx/>
                <a:uFillTx/>
                <a:latin typeface="Arial"/>
                <a:ea typeface="+mn-ea"/>
                <a:cs typeface="+mn-cs"/>
              </a:rPr>
              <a:t>Please use the list level controls </a:t>
            </a:r>
            <a:r>
              <a:rPr kumimoji="0" lang="pl-PL" sz="1600" b="0" i="0" u="none" strike="noStrike" kern="1200" cap="none" spc="0" normalizeH="0" baseline="0" noProof="0">
                <a:ln>
                  <a:noFill/>
                </a:ln>
                <a:solidFill>
                  <a:srgbClr val="000000"/>
                </a:solidFill>
                <a:effectLst/>
                <a:uLnTx/>
                <a:uFillTx/>
                <a:latin typeface="Arial"/>
                <a:ea typeface="+mn-ea"/>
                <a:cs typeface="+mn-cs"/>
              </a:rPr>
              <a:t>to format the copy. The list level controls are located in the Paragraph menu area to the right of the numbering button. Do not use the bullet point button. See the Guidelines for more information. </a:t>
            </a:r>
          </a:p>
          <a:p>
            <a:pPr lvl="1"/>
            <a:r>
              <a:rPr lang="pl-PL"/>
              <a:t>Second level</a:t>
            </a:r>
          </a:p>
          <a:p>
            <a:pPr lvl="2"/>
            <a:r>
              <a:rPr lang="pl-PL"/>
              <a:t>Third level</a:t>
            </a:r>
          </a:p>
          <a:p>
            <a:pPr lvl="3"/>
            <a:r>
              <a:rPr lang="pl-PL"/>
              <a:t>Fourth level</a:t>
            </a:r>
          </a:p>
          <a:p>
            <a:pPr lvl="4"/>
            <a:r>
              <a:rPr lang="pl-PL"/>
              <a:t>Fifths level</a:t>
            </a:r>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3"/>
            </p:custDataLst>
          </p:nvPr>
        </p:nvSpPr>
        <p:spPr>
          <a:xfrm>
            <a:off x="6540501" y="3428512"/>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3" name="Datumsplatzhalter 2">
            <a:extLst>
              <a:ext uri="{FF2B5EF4-FFF2-40B4-BE49-F238E27FC236}">
                <a16:creationId xmlns:a16="http://schemas.microsoft.com/office/drawing/2014/main" id="{8594F248-7680-6217-7741-BA27C62660C2}"/>
              </a:ext>
            </a:extLst>
          </p:cNvPr>
          <p:cNvSpPr>
            <a:spLocks noGrp="1"/>
          </p:cNvSpPr>
          <p:nvPr>
            <p:ph type="dt" sz="half" idx="21"/>
            <p:custDataLst>
              <p:tags r:id="rId4"/>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8EF269EF-34BE-320A-EA18-58E69AAE240A}"/>
              </a:ext>
            </a:extLst>
          </p:cNvPr>
          <p:cNvSpPr>
            <a:spLocks noGrp="1"/>
          </p:cNvSpPr>
          <p:nvPr>
            <p:ph type="ftr" sz="quarter" idx="22"/>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F26636E3-4BFB-C23E-83BB-A5B488F9AF33}"/>
              </a:ext>
            </a:extLst>
          </p:cNvPr>
          <p:cNvSpPr>
            <a:spLocks noGrp="1"/>
          </p:cNvSpPr>
          <p:nvPr>
            <p:ph type="sldNum" sz="quarter" idx="23"/>
            <p:custDataLst>
              <p:tags r:id="rId6"/>
            </p:custDataLst>
          </p:nvPr>
        </p:nvSpPr>
        <p:spPr/>
        <p:txBody>
          <a:bodyPr/>
          <a:lstStyle/>
          <a:p>
            <a:fld id="{92DB0D90-6264-4E90-9724-ABC670DBF4FB}" type="slidenum">
              <a:rPr lang="pl-PL" smtClean="0"/>
              <a:pPr/>
              <a:t>‹#›</a:t>
            </a:fld>
            <a:endParaRPr lang="pl-PL" dirty="0"/>
          </a:p>
        </p:txBody>
      </p:sp>
      <p:sp>
        <p:nvSpPr>
          <p:cNvPr id="14" name="Titel 13">
            <a:extLst>
              <a:ext uri="{FF2B5EF4-FFF2-40B4-BE49-F238E27FC236}">
                <a16:creationId xmlns:a16="http://schemas.microsoft.com/office/drawing/2014/main" id="{55A3FF94-26BB-408A-D990-5D0F6B5438FB}"/>
              </a:ext>
            </a:extLst>
          </p:cNvPr>
          <p:cNvSpPr>
            <a:spLocks noGrp="1"/>
          </p:cNvSpPr>
          <p:nvPr>
            <p:ph type="title" hasCustomPrompt="1"/>
            <p:custDataLst>
              <p:tags r:id="rId7"/>
            </p:custDataLst>
          </p:nvPr>
        </p:nvSpPr>
        <p:spPr>
          <a:xfrm>
            <a:off x="898524" y="684001"/>
            <a:ext cx="4921200" cy="759600"/>
          </a:xfrm>
        </p:spPr>
        <p:txBody>
          <a:bodyPr/>
          <a:lstStyle>
            <a:lvl1pPr>
              <a:defRPr/>
            </a:lvl1pPr>
          </a:lstStyle>
          <a:p>
            <a:r>
              <a:rPr lang="pl-PL"/>
              <a:t>Headline</a:t>
            </a:r>
            <a:endParaRPr lang="pl-PL" dirty="0"/>
          </a:p>
        </p:txBody>
      </p:sp>
      <p:sp>
        <p:nvSpPr>
          <p:cNvPr id="2" name="Bildplatzhalter 6">
            <a:extLst>
              <a:ext uri="{FF2B5EF4-FFF2-40B4-BE49-F238E27FC236}">
                <a16:creationId xmlns:a16="http://schemas.microsoft.com/office/drawing/2014/main" id="{72CAF802-8593-6DEA-7F7E-8C0DC013C596}"/>
              </a:ext>
            </a:extLst>
          </p:cNvPr>
          <p:cNvSpPr>
            <a:spLocks noGrp="1"/>
          </p:cNvSpPr>
          <p:nvPr>
            <p:ph type="pic" sz="quarter" idx="24" hasCustomPrompt="1"/>
            <p:custDataLst>
              <p:tags r:id="rId8"/>
            </p:custDataLst>
          </p:nvPr>
        </p:nvSpPr>
        <p:spPr>
          <a:xfrm>
            <a:off x="9276069" y="539750"/>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9" name="Bildplatzhalter 6">
            <a:extLst>
              <a:ext uri="{FF2B5EF4-FFF2-40B4-BE49-F238E27FC236}">
                <a16:creationId xmlns:a16="http://schemas.microsoft.com/office/drawing/2014/main" id="{3BF33BF0-C236-E171-D74C-6EDC3E1A9815}"/>
              </a:ext>
            </a:extLst>
          </p:cNvPr>
          <p:cNvSpPr>
            <a:spLocks noGrp="1"/>
          </p:cNvSpPr>
          <p:nvPr>
            <p:ph type="pic" sz="quarter" idx="25" hasCustomPrompt="1"/>
            <p:custDataLst>
              <p:tags r:id="rId9"/>
            </p:custDataLst>
          </p:nvPr>
        </p:nvSpPr>
        <p:spPr>
          <a:xfrm>
            <a:off x="9276069" y="3428512"/>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15" name="Bildplatzhalter 6">
            <a:extLst>
              <a:ext uri="{FF2B5EF4-FFF2-40B4-BE49-F238E27FC236}">
                <a16:creationId xmlns:a16="http://schemas.microsoft.com/office/drawing/2014/main" id="{7434BC59-6A01-C008-D2BF-6904A9CBDDF3}"/>
              </a:ext>
            </a:extLst>
          </p:cNvPr>
          <p:cNvSpPr>
            <a:spLocks noGrp="1"/>
          </p:cNvSpPr>
          <p:nvPr>
            <p:ph type="pic" sz="quarter" idx="26" hasCustomPrompt="1"/>
            <p:custDataLst>
              <p:tags r:id="rId10"/>
            </p:custDataLst>
          </p:nvPr>
        </p:nvSpPr>
        <p:spPr>
          <a:xfrm>
            <a:off x="6540501" y="539750"/>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19383177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373806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Bildplatzhalter 6">
            <a:extLst>
              <a:ext uri="{FF2B5EF4-FFF2-40B4-BE49-F238E27FC236}">
                <a16:creationId xmlns:a16="http://schemas.microsoft.com/office/drawing/2014/main" id="{6F61EEAA-23E2-E0C6-16B9-37B5382CD311}"/>
              </a:ext>
            </a:extLst>
          </p:cNvPr>
          <p:cNvSpPr>
            <a:spLocks noGrp="1"/>
          </p:cNvSpPr>
          <p:nvPr>
            <p:ph type="pic" sz="quarter" idx="20" hasCustomPrompt="1"/>
            <p:custDataLst>
              <p:tags r:id="rId2"/>
            </p:custDataLst>
          </p:nvPr>
        </p:nvSpPr>
        <p:spPr>
          <a:xfrm>
            <a:off x="5130800" y="539750"/>
            <a:ext cx="4407224" cy="3671684"/>
          </a:xfrm>
          <a:solidFill>
            <a:schemeClr val="bg2"/>
          </a:solidFill>
        </p:spPr>
        <p:txBody>
          <a:bodyPr tIns="10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 name="Titel 2">
            <a:extLst>
              <a:ext uri="{FF2B5EF4-FFF2-40B4-BE49-F238E27FC236}">
                <a16:creationId xmlns:a16="http://schemas.microsoft.com/office/drawing/2014/main" id="{94DE6017-D8BB-5A49-6EC3-FAA7BFAA7763}"/>
              </a:ext>
            </a:extLst>
          </p:cNvPr>
          <p:cNvSpPr>
            <a:spLocks noGrp="1"/>
          </p:cNvSpPr>
          <p:nvPr>
            <p:ph type="title" hasCustomPrompt="1"/>
            <p:custDataLst>
              <p:tags r:id="rId3"/>
            </p:custDataLst>
          </p:nvPr>
        </p:nvSpPr>
        <p:spPr>
          <a:xfrm>
            <a:off x="898525" y="684000"/>
            <a:ext cx="3876676" cy="759600"/>
          </a:xfrm>
        </p:spPr>
        <p:txBody>
          <a:bodyPr/>
          <a:lstStyle>
            <a:lvl1pPr>
              <a:defRPr/>
            </a:lvl1pPr>
          </a:lstStyle>
          <a:p>
            <a:r>
              <a:rPr lang="pl-PL"/>
              <a:t>Headline</a:t>
            </a:r>
            <a:endParaRPr lang="pl-PL" dirty="0"/>
          </a:p>
        </p:txBody>
      </p:sp>
      <p:sp>
        <p:nvSpPr>
          <p:cNvPr id="12" name="Datumsplatzhalter 11">
            <a:extLst>
              <a:ext uri="{FF2B5EF4-FFF2-40B4-BE49-F238E27FC236}">
                <a16:creationId xmlns:a16="http://schemas.microsoft.com/office/drawing/2014/main" id="{60F09F97-B248-17B7-8500-303D13B2D762}"/>
              </a:ext>
            </a:extLst>
          </p:cNvPr>
          <p:cNvSpPr>
            <a:spLocks noGrp="1"/>
          </p:cNvSpPr>
          <p:nvPr>
            <p:ph type="dt" sz="half" idx="26"/>
            <p:custDataLst>
              <p:tags r:id="rId4"/>
            </p:custDataLst>
          </p:nvPr>
        </p:nvSpPr>
        <p:spPr/>
        <p:txBody>
          <a:bodyPr/>
          <a:lstStyle/>
          <a:p>
            <a:r>
              <a:rPr lang="en-US"/>
              <a:t>01.08.2023</a:t>
            </a:r>
            <a:endParaRPr lang="pl-PL" dirty="0"/>
          </a:p>
        </p:txBody>
      </p:sp>
      <p:sp>
        <p:nvSpPr>
          <p:cNvPr id="13" name="Fußzeilenplatzhalter 12">
            <a:extLst>
              <a:ext uri="{FF2B5EF4-FFF2-40B4-BE49-F238E27FC236}">
                <a16:creationId xmlns:a16="http://schemas.microsoft.com/office/drawing/2014/main" id="{4AD3063A-4907-06F9-5F5A-7096EA47CCEE}"/>
              </a:ext>
            </a:extLst>
          </p:cNvPr>
          <p:cNvSpPr>
            <a:spLocks noGrp="1"/>
          </p:cNvSpPr>
          <p:nvPr>
            <p:ph type="ftr" sz="quarter" idx="27"/>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4" name="Foliennummernplatzhalter 13">
            <a:extLst>
              <a:ext uri="{FF2B5EF4-FFF2-40B4-BE49-F238E27FC236}">
                <a16:creationId xmlns:a16="http://schemas.microsoft.com/office/drawing/2014/main" id="{60252CD8-4908-9A2B-3CD1-CD8B7126EAF5}"/>
              </a:ext>
            </a:extLst>
          </p:cNvPr>
          <p:cNvSpPr>
            <a:spLocks noGrp="1"/>
          </p:cNvSpPr>
          <p:nvPr>
            <p:ph type="sldNum" sz="quarter" idx="28"/>
            <p:custDataLst>
              <p:tags r:id="rId6"/>
            </p:custDataLst>
          </p:nvPr>
        </p:nvSpPr>
        <p:spPr/>
        <p:txBody>
          <a:bodyPr/>
          <a:lstStyle/>
          <a:p>
            <a:fld id="{92DB0D90-6264-4E90-9724-ABC670DBF4FB}" type="slidenum">
              <a:rPr lang="pl-PL" smtClean="0"/>
              <a:pPr/>
              <a:t>‹#›</a:t>
            </a:fld>
            <a:endParaRPr lang="pl-PL" dirty="0"/>
          </a:p>
        </p:txBody>
      </p:sp>
      <p:sp>
        <p:nvSpPr>
          <p:cNvPr id="16" name="Bildplatzhalter 6">
            <a:extLst>
              <a:ext uri="{FF2B5EF4-FFF2-40B4-BE49-F238E27FC236}">
                <a16:creationId xmlns:a16="http://schemas.microsoft.com/office/drawing/2014/main" id="{D7121455-6043-AEDB-132A-9B51E2768B03}"/>
              </a:ext>
            </a:extLst>
          </p:cNvPr>
          <p:cNvSpPr>
            <a:spLocks noGrp="1"/>
          </p:cNvSpPr>
          <p:nvPr>
            <p:ph type="pic" sz="quarter" idx="30" hasCustomPrompt="1"/>
            <p:custDataLst>
              <p:tags r:id="rId7"/>
            </p:custDataLst>
          </p:nvPr>
        </p:nvSpPr>
        <p:spPr>
          <a:xfrm>
            <a:off x="9718027" y="539750"/>
            <a:ext cx="2113613" cy="3671684"/>
          </a:xfrm>
          <a:solidFill>
            <a:schemeClr val="bg2"/>
          </a:solidFill>
        </p:spPr>
        <p:txBody>
          <a:bodyPr tIns="10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2" name="Bildplatzhalter 6">
            <a:extLst>
              <a:ext uri="{FF2B5EF4-FFF2-40B4-BE49-F238E27FC236}">
                <a16:creationId xmlns:a16="http://schemas.microsoft.com/office/drawing/2014/main" id="{6E10A4EE-18B0-B63A-1130-2AE1F5374441}"/>
              </a:ext>
            </a:extLst>
          </p:cNvPr>
          <p:cNvSpPr>
            <a:spLocks noGrp="1"/>
          </p:cNvSpPr>
          <p:nvPr>
            <p:ph type="pic" sz="quarter" idx="34" hasCustomPrompt="1"/>
            <p:custDataLst>
              <p:tags r:id="rId8"/>
            </p:custDataLst>
          </p:nvPr>
        </p:nvSpPr>
        <p:spPr>
          <a:xfrm>
            <a:off x="5130801"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3" name="Bildplatzhalter 6">
            <a:extLst>
              <a:ext uri="{FF2B5EF4-FFF2-40B4-BE49-F238E27FC236}">
                <a16:creationId xmlns:a16="http://schemas.microsoft.com/office/drawing/2014/main" id="{206DB515-A4F9-61A1-E71C-833B55D7A99E}"/>
              </a:ext>
            </a:extLst>
          </p:cNvPr>
          <p:cNvSpPr>
            <a:spLocks noGrp="1"/>
          </p:cNvSpPr>
          <p:nvPr>
            <p:ph type="pic" sz="quarter" idx="35" hasCustomPrompt="1"/>
            <p:custDataLst>
              <p:tags r:id="rId9"/>
            </p:custDataLst>
          </p:nvPr>
        </p:nvSpPr>
        <p:spPr>
          <a:xfrm>
            <a:off x="7424413"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4" name="Bildplatzhalter 6">
            <a:extLst>
              <a:ext uri="{FF2B5EF4-FFF2-40B4-BE49-F238E27FC236}">
                <a16:creationId xmlns:a16="http://schemas.microsoft.com/office/drawing/2014/main" id="{569943D6-C617-BDD1-BF22-631B3B16BCD8}"/>
              </a:ext>
            </a:extLst>
          </p:cNvPr>
          <p:cNvSpPr>
            <a:spLocks noGrp="1"/>
          </p:cNvSpPr>
          <p:nvPr>
            <p:ph type="pic" sz="quarter" idx="36" hasCustomPrompt="1"/>
            <p:custDataLst>
              <p:tags r:id="rId10"/>
            </p:custDataLst>
          </p:nvPr>
        </p:nvSpPr>
        <p:spPr>
          <a:xfrm>
            <a:off x="9718027"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20575393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10571999"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Bildplatzhalter 6">
            <a:extLst>
              <a:ext uri="{FF2B5EF4-FFF2-40B4-BE49-F238E27FC236}">
                <a16:creationId xmlns:a16="http://schemas.microsoft.com/office/drawing/2014/main" id="{F1C47934-AC73-793F-5679-E827489C39B8}"/>
              </a:ext>
            </a:extLst>
          </p:cNvPr>
          <p:cNvSpPr>
            <a:spLocks noGrp="1"/>
          </p:cNvSpPr>
          <p:nvPr>
            <p:ph type="pic" sz="quarter" idx="19" hasCustomPrompt="1"/>
            <p:custDataLst>
              <p:tags r:id="rId2"/>
            </p:custDataLst>
          </p:nvPr>
        </p:nvSpPr>
        <p:spPr>
          <a:xfrm>
            <a:off x="898524" y="1548000"/>
            <a:ext cx="3155364"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8" name="Bildplatzhalter 6">
            <a:extLst>
              <a:ext uri="{FF2B5EF4-FFF2-40B4-BE49-F238E27FC236}">
                <a16:creationId xmlns:a16="http://schemas.microsoft.com/office/drawing/2014/main" id="{5CC04346-3B03-A74A-6C8B-F051E56C56C7}"/>
              </a:ext>
            </a:extLst>
          </p:cNvPr>
          <p:cNvSpPr>
            <a:spLocks noGrp="1"/>
          </p:cNvSpPr>
          <p:nvPr>
            <p:ph type="pic" sz="quarter" idx="20" hasCustomPrompt="1"/>
            <p:custDataLst>
              <p:tags r:id="rId4"/>
            </p:custDataLst>
          </p:nvPr>
        </p:nvSpPr>
        <p:spPr>
          <a:xfrm>
            <a:off x="898524" y="3931200"/>
            <a:ext cx="2043576"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9" name="Bildplatzhalter 6">
            <a:extLst>
              <a:ext uri="{FF2B5EF4-FFF2-40B4-BE49-F238E27FC236}">
                <a16:creationId xmlns:a16="http://schemas.microsoft.com/office/drawing/2014/main" id="{97897BE7-BBDF-0148-0347-63E3F91D91B7}"/>
              </a:ext>
            </a:extLst>
          </p:cNvPr>
          <p:cNvSpPr>
            <a:spLocks noGrp="1"/>
          </p:cNvSpPr>
          <p:nvPr>
            <p:ph type="pic" sz="quarter" idx="21" hasCustomPrompt="1"/>
            <p:custDataLst>
              <p:tags r:id="rId5"/>
            </p:custDataLst>
          </p:nvPr>
        </p:nvSpPr>
        <p:spPr>
          <a:xfrm>
            <a:off x="3122099" y="3931200"/>
            <a:ext cx="2043576"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Bildplatzhalter 6">
            <a:extLst>
              <a:ext uri="{FF2B5EF4-FFF2-40B4-BE49-F238E27FC236}">
                <a16:creationId xmlns:a16="http://schemas.microsoft.com/office/drawing/2014/main" id="{86971AF9-9415-B5D8-3A5E-5552BE49AC0A}"/>
              </a:ext>
            </a:extLst>
          </p:cNvPr>
          <p:cNvSpPr>
            <a:spLocks noGrp="1"/>
          </p:cNvSpPr>
          <p:nvPr>
            <p:ph type="pic" sz="quarter" idx="22" hasCustomPrompt="1"/>
            <p:custDataLst>
              <p:tags r:id="rId6"/>
            </p:custDataLst>
          </p:nvPr>
        </p:nvSpPr>
        <p:spPr>
          <a:xfrm>
            <a:off x="5345674" y="3931200"/>
            <a:ext cx="2043575"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2" name="Bildplatzhalter 6">
            <a:extLst>
              <a:ext uri="{FF2B5EF4-FFF2-40B4-BE49-F238E27FC236}">
                <a16:creationId xmlns:a16="http://schemas.microsoft.com/office/drawing/2014/main" id="{EBCD51D1-78EC-7A2E-8887-3874FBEFFAF2}"/>
              </a:ext>
            </a:extLst>
          </p:cNvPr>
          <p:cNvSpPr>
            <a:spLocks noGrp="1"/>
          </p:cNvSpPr>
          <p:nvPr>
            <p:ph type="pic" sz="quarter" idx="23" hasCustomPrompt="1"/>
            <p:custDataLst>
              <p:tags r:id="rId7"/>
            </p:custDataLst>
          </p:nvPr>
        </p:nvSpPr>
        <p:spPr>
          <a:xfrm>
            <a:off x="7569248" y="1548000"/>
            <a:ext cx="2043574" cy="4586400"/>
          </a:xfrm>
          <a:solidFill>
            <a:schemeClr val="bg2"/>
          </a:solidFill>
        </p:spPr>
        <p:txBody>
          <a:bodyPr tIns="144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3" name="Bildplatzhalter 6">
            <a:extLst>
              <a:ext uri="{FF2B5EF4-FFF2-40B4-BE49-F238E27FC236}">
                <a16:creationId xmlns:a16="http://schemas.microsoft.com/office/drawing/2014/main" id="{721D749D-32AE-31D1-E58D-39BF5F972654}"/>
              </a:ext>
            </a:extLst>
          </p:cNvPr>
          <p:cNvSpPr>
            <a:spLocks noGrp="1"/>
          </p:cNvSpPr>
          <p:nvPr>
            <p:ph type="pic" sz="quarter" idx="24" hasCustomPrompt="1"/>
            <p:custDataLst>
              <p:tags r:id="rId8"/>
            </p:custDataLst>
          </p:nvPr>
        </p:nvSpPr>
        <p:spPr>
          <a:xfrm>
            <a:off x="9792825" y="3931200"/>
            <a:ext cx="2043577"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5" name="Bildplatzhalter 6">
            <a:extLst>
              <a:ext uri="{FF2B5EF4-FFF2-40B4-BE49-F238E27FC236}">
                <a16:creationId xmlns:a16="http://schemas.microsoft.com/office/drawing/2014/main" id="{5385D06B-FA42-F47A-0628-FABC6814766F}"/>
              </a:ext>
            </a:extLst>
          </p:cNvPr>
          <p:cNvSpPr>
            <a:spLocks noGrp="1"/>
          </p:cNvSpPr>
          <p:nvPr>
            <p:ph type="pic" sz="quarter" idx="27" hasCustomPrompt="1"/>
            <p:custDataLst>
              <p:tags r:id="rId9"/>
            </p:custDataLst>
          </p:nvPr>
        </p:nvSpPr>
        <p:spPr>
          <a:xfrm>
            <a:off x="4233887" y="1548000"/>
            <a:ext cx="3155362"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2" name="Bildplatzhalter 6">
            <a:extLst>
              <a:ext uri="{FF2B5EF4-FFF2-40B4-BE49-F238E27FC236}">
                <a16:creationId xmlns:a16="http://schemas.microsoft.com/office/drawing/2014/main" id="{566CA3EF-838E-DA55-6A4D-D60058D946ED}"/>
              </a:ext>
            </a:extLst>
          </p:cNvPr>
          <p:cNvSpPr>
            <a:spLocks noGrp="1"/>
          </p:cNvSpPr>
          <p:nvPr>
            <p:ph type="pic" sz="quarter" idx="32" hasCustomPrompt="1"/>
            <p:custDataLst>
              <p:tags r:id="rId10"/>
            </p:custDataLst>
          </p:nvPr>
        </p:nvSpPr>
        <p:spPr>
          <a:xfrm>
            <a:off x="9792825" y="1548000"/>
            <a:ext cx="2043575"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 name="Datumsplatzhalter 1">
            <a:extLst>
              <a:ext uri="{FF2B5EF4-FFF2-40B4-BE49-F238E27FC236}">
                <a16:creationId xmlns:a16="http://schemas.microsoft.com/office/drawing/2014/main" id="{067A480E-E835-BA36-7102-E7B210078D66}"/>
              </a:ext>
            </a:extLst>
          </p:cNvPr>
          <p:cNvSpPr>
            <a:spLocks noGrp="1"/>
          </p:cNvSpPr>
          <p:nvPr>
            <p:ph type="dt" sz="half" idx="33"/>
            <p:custDataLst>
              <p:tags r:id="rId11"/>
            </p:custDataLst>
          </p:nvPr>
        </p:nvSpPr>
        <p:spPr/>
        <p:txBody>
          <a:bodyPr/>
          <a:lstStyle/>
          <a:p>
            <a:r>
              <a:rPr lang="en-US"/>
              <a:t>01.08.2023</a:t>
            </a:r>
            <a:endParaRPr lang="pl-PL" dirty="0"/>
          </a:p>
        </p:txBody>
      </p:sp>
      <p:sp>
        <p:nvSpPr>
          <p:cNvPr id="5" name="Fußzeilenplatzhalter 4">
            <a:extLst>
              <a:ext uri="{FF2B5EF4-FFF2-40B4-BE49-F238E27FC236}">
                <a16:creationId xmlns:a16="http://schemas.microsoft.com/office/drawing/2014/main" id="{50E82F6C-54C8-00E4-A33D-42BD70D9747B}"/>
              </a:ext>
            </a:extLst>
          </p:cNvPr>
          <p:cNvSpPr>
            <a:spLocks noGrp="1"/>
          </p:cNvSpPr>
          <p:nvPr>
            <p:ph type="ftr" sz="quarter" idx="34"/>
            <p:custDataLst>
              <p:tags r:id="rId12"/>
            </p:custDataLst>
          </p:nvPr>
        </p:nvSpPr>
        <p:spPr/>
        <p:txBody>
          <a:bodyPr/>
          <a:lstStyle/>
          <a:p>
            <a:r>
              <a:rPr lang="pl-PL"/>
              <a:t>Najważniejsze informacje o dawstwie szpiku - Prezentacja w ramach projektu #KOMÓRKOMANIA | C1 - publiczna</a:t>
            </a:r>
            <a:endParaRPr lang="pl-PL" dirty="0"/>
          </a:p>
        </p:txBody>
      </p:sp>
      <p:sp>
        <p:nvSpPr>
          <p:cNvPr id="14" name="Foliennummernplatzhalter 13">
            <a:extLst>
              <a:ext uri="{FF2B5EF4-FFF2-40B4-BE49-F238E27FC236}">
                <a16:creationId xmlns:a16="http://schemas.microsoft.com/office/drawing/2014/main" id="{9511D31C-C93B-30C5-897E-A46410D1E899}"/>
              </a:ext>
            </a:extLst>
          </p:cNvPr>
          <p:cNvSpPr>
            <a:spLocks noGrp="1"/>
          </p:cNvSpPr>
          <p:nvPr>
            <p:ph type="sldNum" sz="quarter" idx="35"/>
            <p:custDataLst>
              <p:tags r:id="rId13"/>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0086681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agram / table">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Diagram / table</a:t>
            </a:r>
            <a:endParaRPr lang="pl-PL" sz="12000" dirty="0">
              <a:solidFill>
                <a:schemeClr val="bg1"/>
              </a:solidFill>
            </a:endParaRPr>
          </a:p>
        </p:txBody>
      </p:sp>
    </p:spTree>
    <p:extLst>
      <p:ext uri="{BB962C8B-B14F-4D97-AF65-F5344CB8AC3E}">
        <p14:creationId xmlns:p14="http://schemas.microsoft.com/office/powerpoint/2010/main" val="10356665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diagram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6" name="Diagrammplatzhalter 5">
            <a:extLst>
              <a:ext uri="{FF2B5EF4-FFF2-40B4-BE49-F238E27FC236}">
                <a16:creationId xmlns:a16="http://schemas.microsoft.com/office/drawing/2014/main" id="{5C9F6C26-5A62-B4B6-2610-90CD935AC46A}"/>
              </a:ext>
            </a:extLst>
          </p:cNvPr>
          <p:cNvSpPr>
            <a:spLocks noGrp="1"/>
          </p:cNvSpPr>
          <p:nvPr>
            <p:ph type="chart" sz="quarter" idx="18"/>
            <p:custDataLst>
              <p:tags r:id="rId2"/>
            </p:custDataLst>
          </p:nvPr>
        </p:nvSpPr>
        <p:spPr>
          <a:xfrm>
            <a:off x="898524" y="1548000"/>
            <a:ext cx="5286376" cy="4586400"/>
          </a:xfrm>
        </p:spPr>
        <p:txBody>
          <a:bodyPr/>
          <a:lstStyle>
            <a:lvl1pPr>
              <a:defRPr/>
            </a:lvl1pPr>
          </a:lstStyle>
          <a:p>
            <a:r>
              <a:rPr lang="en-US"/>
              <a:t>Click icon to add chart</a:t>
            </a:r>
            <a:endParaRPr lang="pl-PL" dirty="0"/>
          </a:p>
        </p:txBody>
      </p:sp>
      <p:sp>
        <p:nvSpPr>
          <p:cNvPr id="7" name="Diagrammplatzhalter 5">
            <a:extLst>
              <a:ext uri="{FF2B5EF4-FFF2-40B4-BE49-F238E27FC236}">
                <a16:creationId xmlns:a16="http://schemas.microsoft.com/office/drawing/2014/main" id="{04589512-CC76-EB18-8AA7-8FE05090E5A3}"/>
              </a:ext>
            </a:extLst>
          </p:cNvPr>
          <p:cNvSpPr>
            <a:spLocks noGrp="1"/>
          </p:cNvSpPr>
          <p:nvPr>
            <p:ph type="chart" sz="quarter" idx="19"/>
            <p:custDataLst>
              <p:tags r:id="rId3"/>
            </p:custDataLst>
          </p:nvPr>
        </p:nvSpPr>
        <p:spPr>
          <a:xfrm>
            <a:off x="6546000" y="1548000"/>
            <a:ext cx="5286376" cy="4586400"/>
          </a:xfrm>
        </p:spPr>
        <p:txBody>
          <a:bodyPr/>
          <a:lstStyle>
            <a:lvl1pPr>
              <a:defRPr/>
            </a:lvl1pPr>
          </a:lstStyle>
          <a:p>
            <a:r>
              <a:rPr lang="en-US"/>
              <a:t>Click icon to add chart</a:t>
            </a:r>
            <a:endParaRPr lang="pl-PL" dirty="0"/>
          </a:p>
        </p:txBody>
      </p:sp>
      <p:sp>
        <p:nvSpPr>
          <p:cNvPr id="8" name="Titel 7">
            <a:extLst>
              <a:ext uri="{FF2B5EF4-FFF2-40B4-BE49-F238E27FC236}">
                <a16:creationId xmlns:a16="http://schemas.microsoft.com/office/drawing/2014/main" id="{47F126F8-DD39-67DF-E012-5C3A1D8A5CDC}"/>
              </a:ext>
            </a:extLst>
          </p:cNvPr>
          <p:cNvSpPr>
            <a:spLocks noGrp="1"/>
          </p:cNvSpPr>
          <p:nvPr>
            <p:ph type="title" hasCustomPrompt="1"/>
            <p:custDataLst>
              <p:tags r:id="rId4"/>
            </p:custDataLst>
          </p:nvPr>
        </p:nvSpPr>
        <p:spPr/>
        <p:txBody>
          <a:bodyPr/>
          <a:lstStyle>
            <a:lvl1pPr>
              <a:defRPr/>
            </a:lvl1pPr>
          </a:lstStyle>
          <a:p>
            <a:r>
              <a:rPr lang="pl-PL"/>
              <a:t>Headline</a:t>
            </a:r>
            <a:endParaRPr lang="pl-PL" dirty="0"/>
          </a:p>
        </p:txBody>
      </p:sp>
      <p:sp>
        <p:nvSpPr>
          <p:cNvPr id="3" name="Datumsplatzhalter 2">
            <a:extLst>
              <a:ext uri="{FF2B5EF4-FFF2-40B4-BE49-F238E27FC236}">
                <a16:creationId xmlns:a16="http://schemas.microsoft.com/office/drawing/2014/main" id="{9A360000-A717-E796-C434-232952463725}"/>
              </a:ext>
            </a:extLst>
          </p:cNvPr>
          <p:cNvSpPr>
            <a:spLocks noGrp="1"/>
          </p:cNvSpPr>
          <p:nvPr>
            <p:ph type="dt" sz="half" idx="20"/>
            <p:custDataLst>
              <p:tags r:id="rId5"/>
            </p:custDataLst>
          </p:nvPr>
        </p:nvSpPr>
        <p:spPr/>
        <p:txBody>
          <a:bodyPr/>
          <a:lstStyle/>
          <a:p>
            <a:r>
              <a:rPr lang="en-US"/>
              <a:t>01.08.2023</a:t>
            </a:r>
            <a:endParaRPr lang="pl-PL" dirty="0"/>
          </a:p>
        </p:txBody>
      </p:sp>
      <p:sp>
        <p:nvSpPr>
          <p:cNvPr id="5" name="Fußzeilenplatzhalter 4">
            <a:extLst>
              <a:ext uri="{FF2B5EF4-FFF2-40B4-BE49-F238E27FC236}">
                <a16:creationId xmlns:a16="http://schemas.microsoft.com/office/drawing/2014/main" id="{86E39CDB-BC4E-CEC2-7BAF-503606E3FDF9}"/>
              </a:ext>
            </a:extLst>
          </p:cNvPr>
          <p:cNvSpPr>
            <a:spLocks noGrp="1"/>
          </p:cNvSpPr>
          <p:nvPr>
            <p:ph type="ftr" sz="quarter" idx="21"/>
            <p:custDataLst>
              <p:tags r:id="rId6"/>
            </p:custDataLst>
          </p:nvPr>
        </p:nvSpPr>
        <p:spPr/>
        <p:txBody>
          <a:bodyPr/>
          <a:lstStyle/>
          <a:p>
            <a:r>
              <a:rPr lang="pl-PL"/>
              <a:t>Najważniejsze informacje o dawstwie szpiku - Prezentacja w ramach projektu #KOMÓRKOMANIA | C1 - publiczna</a:t>
            </a:r>
            <a:endParaRPr lang="pl-PL" dirty="0"/>
          </a:p>
        </p:txBody>
      </p:sp>
      <p:sp>
        <p:nvSpPr>
          <p:cNvPr id="9" name="Foliennummernplatzhalter 8">
            <a:extLst>
              <a:ext uri="{FF2B5EF4-FFF2-40B4-BE49-F238E27FC236}">
                <a16:creationId xmlns:a16="http://schemas.microsoft.com/office/drawing/2014/main" id="{E0D51513-940E-3D55-75A9-092DF05A2233}"/>
              </a:ext>
            </a:extLst>
          </p:cNvPr>
          <p:cNvSpPr>
            <a:spLocks noGrp="1"/>
          </p:cNvSpPr>
          <p:nvPr>
            <p:ph type="sldNum" sz="quarter" idx="22"/>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9783509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diagram">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60C75785-09F9-CAF5-FB73-4B9A4EEE1EFA}"/>
              </a:ext>
            </a:extLst>
          </p:cNvPr>
          <p:cNvSpPr>
            <a:spLocks noGrp="1"/>
          </p:cNvSpPr>
          <p:nvPr>
            <p:ph type="body" sz="quarter" idx="20" hasCustomPrompt="1"/>
            <p:custDataLst>
              <p:tags r:id="rId2"/>
            </p:custDataLst>
          </p:nvPr>
        </p:nvSpPr>
        <p:spPr>
          <a:xfrm>
            <a:off x="898524" y="1548000"/>
            <a:ext cx="3876676" cy="45900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Diagrammplatzhalter 5">
            <a:extLst>
              <a:ext uri="{FF2B5EF4-FFF2-40B4-BE49-F238E27FC236}">
                <a16:creationId xmlns:a16="http://schemas.microsoft.com/office/drawing/2014/main" id="{04589512-CC76-EB18-8AA7-8FE05090E5A3}"/>
              </a:ext>
            </a:extLst>
          </p:cNvPr>
          <p:cNvSpPr>
            <a:spLocks noGrp="1"/>
          </p:cNvSpPr>
          <p:nvPr>
            <p:ph type="chart" sz="quarter" idx="19"/>
            <p:custDataLst>
              <p:tags r:id="rId3"/>
            </p:custDataLst>
          </p:nvPr>
        </p:nvSpPr>
        <p:spPr>
          <a:xfrm>
            <a:off x="5130801" y="1548000"/>
            <a:ext cx="6700838" cy="4590000"/>
          </a:xfrm>
        </p:spPr>
        <p:txBody>
          <a:bodyPr/>
          <a:lstStyle>
            <a:lvl1pPr>
              <a:defRPr/>
            </a:lvl1pPr>
          </a:lstStyle>
          <a:p>
            <a:r>
              <a:rPr lang="en-US"/>
              <a:t>Click icon to add chart</a:t>
            </a:r>
            <a:endParaRPr lang="pl-PL" dirty="0"/>
          </a:p>
        </p:txBody>
      </p:sp>
      <p:sp>
        <p:nvSpPr>
          <p:cNvPr id="4" name="Titel 3">
            <a:extLst>
              <a:ext uri="{FF2B5EF4-FFF2-40B4-BE49-F238E27FC236}">
                <a16:creationId xmlns:a16="http://schemas.microsoft.com/office/drawing/2014/main" id="{EC7C9753-0751-4260-2928-B377854ECEFE}"/>
              </a:ext>
            </a:extLst>
          </p:cNvPr>
          <p:cNvSpPr>
            <a:spLocks noGrp="1"/>
          </p:cNvSpPr>
          <p:nvPr>
            <p:ph type="title" hasCustomPrompt="1"/>
            <p:custDataLst>
              <p:tags r:id="rId4"/>
            </p:custDataLst>
          </p:nvPr>
        </p:nvSpPr>
        <p:spPr/>
        <p:txBody>
          <a:bodyPr/>
          <a:lstStyle>
            <a:lvl1pPr>
              <a:defRPr/>
            </a:lvl1pPr>
          </a:lstStyle>
          <a:p>
            <a:r>
              <a:rPr lang="pl-PL"/>
              <a:t>Headline</a:t>
            </a:r>
            <a:endParaRPr lang="pl-PL" dirty="0"/>
          </a:p>
        </p:txBody>
      </p:sp>
      <p:sp>
        <p:nvSpPr>
          <p:cNvPr id="10" name="Datumsplatzhalter 9">
            <a:extLst>
              <a:ext uri="{FF2B5EF4-FFF2-40B4-BE49-F238E27FC236}">
                <a16:creationId xmlns:a16="http://schemas.microsoft.com/office/drawing/2014/main" id="{186C9CB7-FEDD-AC62-83D2-56B5FB805465}"/>
              </a:ext>
            </a:extLst>
          </p:cNvPr>
          <p:cNvSpPr>
            <a:spLocks noGrp="1"/>
          </p:cNvSpPr>
          <p:nvPr>
            <p:ph type="dt" sz="half" idx="21"/>
            <p:custDataLst>
              <p:tags r:id="rId5"/>
            </p:custDataLst>
          </p:nvPr>
        </p:nvSpPr>
        <p:spPr/>
        <p:txBody>
          <a:bodyPr/>
          <a:lstStyle/>
          <a:p>
            <a:r>
              <a:rPr lang="en-US"/>
              <a:t>01.08.2023</a:t>
            </a:r>
            <a:endParaRPr lang="pl-PL" dirty="0"/>
          </a:p>
        </p:txBody>
      </p:sp>
      <p:sp>
        <p:nvSpPr>
          <p:cNvPr id="12" name="Fußzeilenplatzhalter 11">
            <a:extLst>
              <a:ext uri="{FF2B5EF4-FFF2-40B4-BE49-F238E27FC236}">
                <a16:creationId xmlns:a16="http://schemas.microsoft.com/office/drawing/2014/main" id="{83833CBB-6F4C-7119-2C3E-E07E3871F5F8}"/>
              </a:ext>
            </a:extLst>
          </p:cNvPr>
          <p:cNvSpPr>
            <a:spLocks noGrp="1"/>
          </p:cNvSpPr>
          <p:nvPr>
            <p:ph type="ftr" sz="quarter" idx="22"/>
            <p:custDataLst>
              <p:tags r:id="rId6"/>
            </p:custDataLst>
          </p:nvPr>
        </p:nvSpPr>
        <p:spPr/>
        <p:txBody>
          <a:bodyPr/>
          <a:lstStyle/>
          <a:p>
            <a:r>
              <a:rPr lang="pl-PL"/>
              <a:t>Najważniejsze informacje o dawstwie szpiku - Prezentacja w ramach projektu #KOMÓRKOMANIA | C1 - publiczna</a:t>
            </a:r>
            <a:endParaRPr lang="pl-PL" dirty="0"/>
          </a:p>
        </p:txBody>
      </p:sp>
      <p:sp>
        <p:nvSpPr>
          <p:cNvPr id="13" name="Foliennummernplatzhalter 12">
            <a:extLst>
              <a:ext uri="{FF2B5EF4-FFF2-40B4-BE49-F238E27FC236}">
                <a16:creationId xmlns:a16="http://schemas.microsoft.com/office/drawing/2014/main" id="{E8D4D7B1-9F4E-6F3B-9EBA-A9CFCD962A14}"/>
              </a:ext>
            </a:extLst>
          </p:cNvPr>
          <p:cNvSpPr>
            <a:spLocks noGrp="1"/>
          </p:cNvSpPr>
          <p:nvPr>
            <p:ph type="sldNum" sz="quarter" idx="23"/>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347190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tx2"/>
        </a:solidFill>
        <a:effectLst/>
      </p:bgPr>
    </p:b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20D2AF78-421B-12E1-61DD-624EF926360E}"/>
              </a:ext>
            </a:extLst>
          </p:cNvPr>
          <p:cNvSpPr/>
          <p:nvPr userDrawn="1">
            <p:custDataLst>
              <p:tags r:id="rId1"/>
            </p:custData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5" name="Rechteck 4">
            <a:extLst>
              <a:ext uri="{FF2B5EF4-FFF2-40B4-BE49-F238E27FC236}">
                <a16:creationId xmlns:a16="http://schemas.microsoft.com/office/drawing/2014/main" id="{DAF65BA7-806A-2319-0E1B-A0A7561F8B98}"/>
              </a:ext>
            </a:extLst>
          </p:cNvPr>
          <p:cNvSpPr/>
          <p:nvPr userDrawn="1">
            <p:custDataLst>
              <p:tags r:id="rId2"/>
            </p:custDataLst>
          </p:nvPr>
        </p:nvSpPr>
        <p:spPr>
          <a:xfrm>
            <a:off x="720436" y="6405418"/>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2" name="Titel 1">
            <a:extLst>
              <a:ext uri="{FF2B5EF4-FFF2-40B4-BE49-F238E27FC236}">
                <a16:creationId xmlns:a16="http://schemas.microsoft.com/office/drawing/2014/main" id="{DB7F294D-7B35-1C7D-E5E7-739B01725BD9}"/>
              </a:ext>
            </a:extLst>
          </p:cNvPr>
          <p:cNvSpPr>
            <a:spLocks noGrp="1"/>
          </p:cNvSpPr>
          <p:nvPr>
            <p:ph type="ctrTitle" hasCustomPrompt="1"/>
            <p:custDataLst>
              <p:tags r:id="rId3"/>
            </p:custDataLst>
          </p:nvPr>
        </p:nvSpPr>
        <p:spPr>
          <a:xfrm>
            <a:off x="540000" y="1925926"/>
            <a:ext cx="4876800" cy="2474623"/>
          </a:xfrm>
        </p:spPr>
        <p:txBody>
          <a:bodyPr anchor="b"/>
          <a:lstStyle>
            <a:lvl1pPr algn="l">
              <a:lnSpc>
                <a:spcPct val="90000"/>
              </a:lnSpc>
              <a:defRPr sz="4000"/>
            </a:lvl1pPr>
          </a:lstStyle>
          <a:p>
            <a:r>
              <a:rPr lang="pl-PL"/>
              <a:t>Headline</a:t>
            </a:r>
            <a:endParaRPr lang="pl-PL" dirty="0"/>
          </a:p>
        </p:txBody>
      </p:sp>
      <p:sp>
        <p:nvSpPr>
          <p:cNvPr id="3" name="Untertitel 2">
            <a:extLst>
              <a:ext uri="{FF2B5EF4-FFF2-40B4-BE49-F238E27FC236}">
                <a16:creationId xmlns:a16="http://schemas.microsoft.com/office/drawing/2014/main" id="{F2D7F861-AF88-AD7D-FBAB-47B0BC489DFF}"/>
              </a:ext>
            </a:extLst>
          </p:cNvPr>
          <p:cNvSpPr>
            <a:spLocks noGrp="1"/>
          </p:cNvSpPr>
          <p:nvPr>
            <p:ph type="subTitle" idx="1" hasCustomPrompt="1"/>
            <p:custDataLst>
              <p:tags r:id="rId4"/>
            </p:custDataLst>
          </p:nvPr>
        </p:nvSpPr>
        <p:spPr>
          <a:xfrm>
            <a:off x="540000" y="4572000"/>
            <a:ext cx="4129200"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a:t>Subline</a:t>
            </a:r>
            <a:endParaRPr lang="pl-PL" dirty="0"/>
          </a:p>
        </p:txBody>
      </p:sp>
      <p:sp>
        <p:nvSpPr>
          <p:cNvPr id="4" name="Rechteck 3">
            <a:extLst>
              <a:ext uri="{FF2B5EF4-FFF2-40B4-BE49-F238E27FC236}">
                <a16:creationId xmlns:a16="http://schemas.microsoft.com/office/drawing/2014/main" id="{A8E8F15F-711D-D86D-20ED-6F292DA5876B}"/>
              </a:ext>
            </a:extLst>
          </p:cNvPr>
          <p:cNvSpPr/>
          <p:nvPr userDrawn="1">
            <p:custDataLst>
              <p:tags r:id="rId5"/>
            </p:custDataLst>
          </p:nvPr>
        </p:nvSpPr>
        <p:spPr>
          <a:xfrm>
            <a:off x="720436" y="387927"/>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18" name="Freihandform: Form 17">
            <a:extLst>
              <a:ext uri="{FF2B5EF4-FFF2-40B4-BE49-F238E27FC236}">
                <a16:creationId xmlns:a16="http://schemas.microsoft.com/office/drawing/2014/main" id="{5351C952-8159-FF25-4D55-552EF81FB611}"/>
              </a:ext>
            </a:extLst>
          </p:cNvPr>
          <p:cNvSpPr/>
          <p:nvPr>
            <p:custDataLst>
              <p:tags r:id="rId6"/>
            </p:custDataLst>
          </p:nvPr>
        </p:nvSpPr>
        <p:spPr>
          <a:xfrm>
            <a:off x="4899404" y="0"/>
            <a:ext cx="7292597" cy="6858000"/>
          </a:xfrm>
          <a:custGeom>
            <a:avLst/>
            <a:gdLst>
              <a:gd name="connsiteX0" fmla="*/ 4068 w 7292597"/>
              <a:gd name="connsiteY0" fmla="*/ 0 h 6858000"/>
              <a:gd name="connsiteX1" fmla="*/ 4373065 w 7292597"/>
              <a:gd name="connsiteY1" fmla="*/ 0 h 6858000"/>
              <a:gd name="connsiteX2" fmla="*/ 4581950 w 7292597"/>
              <a:gd name="connsiteY2" fmla="*/ 271921 h 6858000"/>
              <a:gd name="connsiteX3" fmla="*/ 4818041 w 7292597"/>
              <a:gd name="connsiteY3" fmla="*/ 579259 h 6858000"/>
              <a:gd name="connsiteX4" fmla="*/ 5054233 w 7292597"/>
              <a:gd name="connsiteY4" fmla="*/ 271921 h 6858000"/>
              <a:gd name="connsiteX5" fmla="*/ 5263199 w 7292597"/>
              <a:gd name="connsiteY5" fmla="*/ 0 h 6858000"/>
              <a:gd name="connsiteX6" fmla="*/ 7292597 w 7292597"/>
              <a:gd name="connsiteY6" fmla="*/ 0 h 6858000"/>
              <a:gd name="connsiteX7" fmla="*/ 7292597 w 7292597"/>
              <a:gd name="connsiteY7" fmla="*/ 3050338 h 6858000"/>
              <a:gd name="connsiteX8" fmla="*/ 7004042 w 7292597"/>
              <a:gd name="connsiteY8" fmla="*/ 3426453 h 6858000"/>
              <a:gd name="connsiteX9" fmla="*/ 7292597 w 7292597"/>
              <a:gd name="connsiteY9" fmla="*/ 3802396 h 6858000"/>
              <a:gd name="connsiteX10" fmla="*/ 7292597 w 7292597"/>
              <a:gd name="connsiteY10" fmla="*/ 6858000 h 6858000"/>
              <a:gd name="connsiteX11" fmla="*/ 5266903 w 7292597"/>
              <a:gd name="connsiteY11" fmla="*/ 6858000 h 6858000"/>
              <a:gd name="connsiteX12" fmla="*/ 5054233 w 7292597"/>
              <a:gd name="connsiteY12" fmla="*/ 6581099 h 6858000"/>
              <a:gd name="connsiteX13" fmla="*/ 4818041 w 7292597"/>
              <a:gd name="connsiteY13" fmla="*/ 6273532 h 6858000"/>
              <a:gd name="connsiteX14" fmla="*/ 4581950 w 7292597"/>
              <a:gd name="connsiteY14" fmla="*/ 6581099 h 6858000"/>
              <a:gd name="connsiteX15" fmla="*/ 4369363 w 7292597"/>
              <a:gd name="connsiteY15" fmla="*/ 6858000 h 6858000"/>
              <a:gd name="connsiteX16" fmla="*/ 0 w 7292597"/>
              <a:gd name="connsiteY16" fmla="*/ 6858000 h 6858000"/>
              <a:gd name="connsiteX17" fmla="*/ 26803 w 7292597"/>
              <a:gd name="connsiteY17" fmla="*/ 6823041 h 6858000"/>
              <a:gd name="connsiteX18" fmla="*/ 2632615 w 7292597"/>
              <a:gd name="connsiteY18" fmla="*/ 3426453 h 6858000"/>
              <a:gd name="connsiteX19" fmla="*/ 26803 w 7292597"/>
              <a:gd name="connsiteY19" fmla="*/ 2964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92597" h="6858000">
                <a:moveTo>
                  <a:pt x="4068" y="0"/>
                </a:moveTo>
                <a:lnTo>
                  <a:pt x="4373065" y="0"/>
                </a:lnTo>
                <a:lnTo>
                  <a:pt x="4581950" y="271921"/>
                </a:lnTo>
                <a:cubicBezTo>
                  <a:pt x="4659419" y="372769"/>
                  <a:pt x="4738168" y="475283"/>
                  <a:pt x="4818041" y="579259"/>
                </a:cubicBezTo>
                <a:cubicBezTo>
                  <a:pt x="4897950" y="475283"/>
                  <a:pt x="4976732" y="372769"/>
                  <a:pt x="5054233" y="271921"/>
                </a:cubicBezTo>
                <a:lnTo>
                  <a:pt x="5263199" y="0"/>
                </a:lnTo>
                <a:lnTo>
                  <a:pt x="7292597" y="0"/>
                </a:lnTo>
                <a:lnTo>
                  <a:pt x="7292597" y="3050338"/>
                </a:lnTo>
                <a:lnTo>
                  <a:pt x="7004042" y="3426453"/>
                </a:lnTo>
                <a:lnTo>
                  <a:pt x="7292597" y="3802396"/>
                </a:lnTo>
                <a:lnTo>
                  <a:pt x="7292597" y="6858000"/>
                </a:lnTo>
                <a:lnTo>
                  <a:pt x="5266903" y="6858000"/>
                </a:lnTo>
                <a:lnTo>
                  <a:pt x="5054233" y="6581099"/>
                </a:lnTo>
                <a:cubicBezTo>
                  <a:pt x="4976732" y="6480185"/>
                  <a:pt x="4897950" y="6377595"/>
                  <a:pt x="4818041" y="6273532"/>
                </a:cubicBezTo>
                <a:cubicBezTo>
                  <a:pt x="4738168" y="6377595"/>
                  <a:pt x="4659419" y="6480185"/>
                  <a:pt x="4581950" y="6581099"/>
                </a:cubicBezTo>
                <a:lnTo>
                  <a:pt x="4369363" y="6858000"/>
                </a:lnTo>
                <a:lnTo>
                  <a:pt x="0" y="6858000"/>
                </a:lnTo>
                <a:lnTo>
                  <a:pt x="26803" y="6823041"/>
                </a:lnTo>
                <a:cubicBezTo>
                  <a:pt x="732731" y="5902306"/>
                  <a:pt x="1670325" y="4680068"/>
                  <a:pt x="2632615" y="3426453"/>
                </a:cubicBezTo>
                <a:cubicBezTo>
                  <a:pt x="1670325" y="2172145"/>
                  <a:pt x="732731" y="950225"/>
                  <a:pt x="26803" y="29649"/>
                </a:cubicBezTo>
                <a:close/>
              </a:path>
            </a:pathLst>
          </a:custGeom>
          <a:solidFill>
            <a:srgbClr val="A9C9E5"/>
          </a:solidFill>
          <a:ln w="115635" cap="flat">
            <a:noFill/>
            <a:prstDash val="solid"/>
            <a:round/>
          </a:ln>
        </p:spPr>
        <p:txBody>
          <a:bodyPr rtlCol="0" anchor="ctr"/>
          <a:lstStyle/>
          <a:p>
            <a:endParaRPr lang="pl-PL" dirty="0"/>
          </a:p>
        </p:txBody>
      </p:sp>
      <p:sp>
        <p:nvSpPr>
          <p:cNvPr id="19" name="Freihandform: Form 18">
            <a:extLst>
              <a:ext uri="{FF2B5EF4-FFF2-40B4-BE49-F238E27FC236}">
                <a16:creationId xmlns:a16="http://schemas.microsoft.com/office/drawing/2014/main" id="{89A197DA-05FC-2E4D-6DAF-7DF69DAD698A}"/>
              </a:ext>
            </a:extLst>
          </p:cNvPr>
          <p:cNvSpPr/>
          <p:nvPr>
            <p:custDataLst>
              <p:tags r:id="rId7"/>
            </p:custDataLst>
          </p:nvPr>
        </p:nvSpPr>
        <p:spPr>
          <a:xfrm>
            <a:off x="4901156" y="0"/>
            <a:ext cx="7290844" cy="6858000"/>
          </a:xfrm>
          <a:custGeom>
            <a:avLst/>
            <a:gdLst>
              <a:gd name="connsiteX0" fmla="*/ 5264141 w 7290844"/>
              <a:gd name="connsiteY0" fmla="*/ 0 h 6858000"/>
              <a:gd name="connsiteX1" fmla="*/ 7290844 w 7290844"/>
              <a:gd name="connsiteY1" fmla="*/ 0 h 6858000"/>
              <a:gd name="connsiteX2" fmla="*/ 7290844 w 7290844"/>
              <a:gd name="connsiteY2" fmla="*/ 3047010 h 6858000"/>
              <a:gd name="connsiteX3" fmla="*/ 7038628 w 7290844"/>
              <a:gd name="connsiteY3" fmla="*/ 3375638 h 6858000"/>
              <a:gd name="connsiteX4" fmla="*/ 4433064 w 7290844"/>
              <a:gd name="connsiteY4" fmla="*/ 6769969 h 6858000"/>
              <a:gd name="connsiteX5" fmla="*/ 4365477 w 7290844"/>
              <a:gd name="connsiteY5" fmla="*/ 6858000 h 6858000"/>
              <a:gd name="connsiteX6" fmla="*/ 0 w 7290844"/>
              <a:gd name="connsiteY6" fmla="*/ 6858000 h 6858000"/>
              <a:gd name="connsiteX7" fmla="*/ 133362 w 7290844"/>
              <a:gd name="connsiteY7" fmla="*/ 6684204 h 6858000"/>
              <a:gd name="connsiteX8" fmla="*/ 5200045 w 7290844"/>
              <a:gd name="connsiteY8" fmla="*/ 834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0844" h="6858000">
                <a:moveTo>
                  <a:pt x="5264141" y="0"/>
                </a:moveTo>
                <a:lnTo>
                  <a:pt x="7290844" y="0"/>
                </a:lnTo>
                <a:lnTo>
                  <a:pt x="7290844" y="3047010"/>
                </a:lnTo>
                <a:lnTo>
                  <a:pt x="7038628" y="3375638"/>
                </a:lnTo>
                <a:cubicBezTo>
                  <a:pt x="6137438" y="4549826"/>
                  <a:pt x="5212124" y="5755239"/>
                  <a:pt x="4433064" y="6769969"/>
                </a:cubicBezTo>
                <a:lnTo>
                  <a:pt x="4365477" y="6858000"/>
                </a:lnTo>
                <a:lnTo>
                  <a:pt x="0" y="6858000"/>
                </a:lnTo>
                <a:lnTo>
                  <a:pt x="133362" y="6684204"/>
                </a:lnTo>
                <a:cubicBezTo>
                  <a:pt x="1498655" y="4905003"/>
                  <a:pt x="3641877" y="2112822"/>
                  <a:pt x="5200045" y="83476"/>
                </a:cubicBezTo>
                <a:close/>
              </a:path>
            </a:pathLst>
          </a:custGeom>
          <a:solidFill>
            <a:srgbClr val="E30513"/>
          </a:solidFill>
          <a:ln w="115635" cap="flat">
            <a:noFill/>
            <a:prstDash val="solid"/>
            <a:round/>
          </a:ln>
        </p:spPr>
        <p:txBody>
          <a:bodyPr rtlCol="0" anchor="ctr"/>
          <a:lstStyle/>
          <a:p>
            <a:endParaRPr lang="pl-PL" dirty="0"/>
          </a:p>
        </p:txBody>
      </p:sp>
      <p:sp>
        <p:nvSpPr>
          <p:cNvPr id="11" name="Datumsplatzhalter 6">
            <a:extLst>
              <a:ext uri="{FF2B5EF4-FFF2-40B4-BE49-F238E27FC236}">
                <a16:creationId xmlns:a16="http://schemas.microsoft.com/office/drawing/2014/main" id="{1E7F608D-C184-61D5-6C65-7EF5A4407A17}"/>
              </a:ext>
            </a:extLst>
          </p:cNvPr>
          <p:cNvSpPr>
            <a:spLocks noGrp="1"/>
          </p:cNvSpPr>
          <p:nvPr>
            <p:ph type="dt" sz="half" idx="14"/>
            <p:custDataLst>
              <p:tags r:id="rId8"/>
            </p:custDataLst>
          </p:nvPr>
        </p:nvSpPr>
        <p:spPr>
          <a:xfrm>
            <a:off x="540000" y="6470705"/>
            <a:ext cx="3044827" cy="281691"/>
          </a:xfrm>
        </p:spPr>
        <p:txBody>
          <a:bodyPr/>
          <a:lstStyle>
            <a:lvl1pPr algn="l">
              <a:defRPr/>
            </a:lvl1pPr>
          </a:lstStyle>
          <a:p>
            <a:r>
              <a:rPr lang="en-US" noProof="0"/>
              <a:t>01.08.2023</a:t>
            </a:r>
            <a:endParaRPr lang="pl-PL" noProof="0" dirty="0"/>
          </a:p>
        </p:txBody>
      </p:sp>
      <p:pic>
        <p:nvPicPr>
          <p:cNvPr id="13" name="Grafik 12">
            <a:extLst>
              <a:ext uri="{FF2B5EF4-FFF2-40B4-BE49-F238E27FC236}">
                <a16:creationId xmlns:a16="http://schemas.microsoft.com/office/drawing/2014/main" id="{CA1EE840-FC67-479F-A70A-2F23947E740C}"/>
              </a:ext>
            </a:extLst>
          </p:cNvPr>
          <p:cNvPicPr>
            <a:picLocks noChangeAspect="1"/>
          </p:cNvPicPr>
          <p:nvPr userDrawn="1"/>
        </p:nvPicPr>
        <p:blipFill>
          <a:blip r:embed="rId10"/>
          <a:stretch>
            <a:fillRect/>
          </a:stretch>
        </p:blipFill>
        <p:spPr>
          <a:xfrm>
            <a:off x="539999" y="448674"/>
            <a:ext cx="2460376" cy="727764"/>
          </a:xfrm>
          <a:prstGeom prst="rect">
            <a:avLst/>
          </a:prstGeom>
        </p:spPr>
      </p:pic>
    </p:spTree>
    <p:extLst>
      <p:ext uri="{BB962C8B-B14F-4D97-AF65-F5344CB8AC3E}">
        <p14:creationId xmlns:p14="http://schemas.microsoft.com/office/powerpoint/2010/main" val="11450743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Tabellenplatzhalter 6">
            <a:extLst>
              <a:ext uri="{FF2B5EF4-FFF2-40B4-BE49-F238E27FC236}">
                <a16:creationId xmlns:a16="http://schemas.microsoft.com/office/drawing/2014/main" id="{FADE790D-90C0-0F30-A6E8-1A338D20A86F}"/>
              </a:ext>
            </a:extLst>
          </p:cNvPr>
          <p:cNvSpPr>
            <a:spLocks noGrp="1"/>
          </p:cNvSpPr>
          <p:nvPr>
            <p:ph type="tbl" sz="quarter" idx="18" hasCustomPrompt="1"/>
            <p:custDataLst>
              <p:tags r:id="rId2"/>
            </p:custDataLst>
          </p:nvPr>
        </p:nvSpPr>
        <p:spPr>
          <a:xfrm>
            <a:off x="898524" y="1548000"/>
            <a:ext cx="9528176" cy="4586400"/>
          </a:xfrm>
        </p:spPr>
        <p:txBody>
          <a:bodyPr/>
          <a:lstStyle>
            <a:lvl1pPr>
              <a:defRPr/>
            </a:lvl1pPr>
          </a:lstStyle>
          <a:p>
            <a:r>
              <a:rPr lang="pl-PL"/>
              <a:t>Table</a:t>
            </a:r>
            <a:endParaRPr lang="pl-PL" dirty="0"/>
          </a:p>
        </p:txBody>
      </p:sp>
      <p:sp>
        <p:nvSpPr>
          <p:cNvPr id="5" name="Titel 4">
            <a:extLst>
              <a:ext uri="{FF2B5EF4-FFF2-40B4-BE49-F238E27FC236}">
                <a16:creationId xmlns:a16="http://schemas.microsoft.com/office/drawing/2014/main" id="{E762ECD7-B588-9D31-F397-7435DF42DF2C}"/>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3" name="Datumsplatzhalter 2">
            <a:extLst>
              <a:ext uri="{FF2B5EF4-FFF2-40B4-BE49-F238E27FC236}">
                <a16:creationId xmlns:a16="http://schemas.microsoft.com/office/drawing/2014/main" id="{E68DCDA3-4974-E33F-9A3F-49B7BEBB407A}"/>
              </a:ext>
            </a:extLst>
          </p:cNvPr>
          <p:cNvSpPr>
            <a:spLocks noGrp="1"/>
          </p:cNvSpPr>
          <p:nvPr>
            <p:ph type="dt" sz="half" idx="19"/>
            <p:custDataLst>
              <p:tags r:id="rId4"/>
            </p:custDataLst>
          </p:nvPr>
        </p:nvSpPr>
        <p:spPr/>
        <p:txBody>
          <a:bodyPr/>
          <a:lstStyle/>
          <a:p>
            <a:r>
              <a:rPr lang="en-US"/>
              <a:t>01.08.2023</a:t>
            </a:r>
            <a:endParaRPr lang="pl-PL" dirty="0"/>
          </a:p>
        </p:txBody>
      </p:sp>
      <p:sp>
        <p:nvSpPr>
          <p:cNvPr id="6" name="Fußzeilenplatzhalter 5">
            <a:extLst>
              <a:ext uri="{FF2B5EF4-FFF2-40B4-BE49-F238E27FC236}">
                <a16:creationId xmlns:a16="http://schemas.microsoft.com/office/drawing/2014/main" id="{830E9A29-26AC-ECED-AA3C-BABA03D65CE6}"/>
              </a:ext>
            </a:extLst>
          </p:cNvPr>
          <p:cNvSpPr>
            <a:spLocks noGrp="1"/>
          </p:cNvSpPr>
          <p:nvPr>
            <p:ph type="ftr" sz="quarter" idx="20"/>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9768D234-AC29-E099-274C-C6383A89E3DF}"/>
              </a:ext>
            </a:extLst>
          </p:cNvPr>
          <p:cNvSpPr>
            <a:spLocks noGrp="1"/>
          </p:cNvSpPr>
          <p:nvPr>
            <p:ph type="sldNum" sz="quarter" idx="21"/>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9185334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ext box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Text box layouts</a:t>
            </a:r>
            <a:endParaRPr lang="pl-PL" sz="12000" dirty="0">
              <a:solidFill>
                <a:schemeClr val="bg1"/>
              </a:solidFill>
            </a:endParaRPr>
          </a:p>
        </p:txBody>
      </p:sp>
    </p:spTree>
    <p:extLst>
      <p:ext uri="{BB962C8B-B14F-4D97-AF65-F5344CB8AC3E}">
        <p14:creationId xmlns:p14="http://schemas.microsoft.com/office/powerpoint/2010/main" val="30433802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 4 text boxes">
    <p:bg>
      <p:bgPr>
        <a:solidFill>
          <a:schemeClr val="tx2"/>
        </a:solidFill>
        <a:effectLst/>
      </p:bgPr>
    </p:bg>
    <p:spTree>
      <p:nvGrpSpPr>
        <p:cNvPr id="1" name=""/>
        <p:cNvGrpSpPr/>
        <p:nvPr/>
      </p:nvGrpSpPr>
      <p:grpSpPr>
        <a:xfrm>
          <a:off x="0" y="0"/>
          <a:ext cx="0" cy="0"/>
          <a:chOff x="0" y="0"/>
          <a:chExt cx="0" cy="0"/>
        </a:xfrm>
      </p:grpSpPr>
      <p:sp>
        <p:nvSpPr>
          <p:cNvPr id="5" name="Bildplatzhalter 12">
            <a:extLst>
              <a:ext uri="{FF2B5EF4-FFF2-40B4-BE49-F238E27FC236}">
                <a16:creationId xmlns:a16="http://schemas.microsoft.com/office/drawing/2014/main" id="{38BAD7EB-837F-14B8-F720-062DD3FDF000}"/>
              </a:ext>
            </a:extLst>
          </p:cNvPr>
          <p:cNvSpPr>
            <a:spLocks noGrp="1"/>
          </p:cNvSpPr>
          <p:nvPr>
            <p:ph type="pic" sz="quarter" idx="42" hasCustomPrompt="1"/>
            <p:custDataLst>
              <p:tags r:id="rId1"/>
            </p:custDataLst>
          </p:nvPr>
        </p:nvSpPr>
        <p:spPr>
          <a:xfrm>
            <a:off x="8846598" y="540001"/>
            <a:ext cx="2985040" cy="2708999"/>
          </a:xfrm>
          <a:custGeom>
            <a:avLst/>
            <a:gdLst>
              <a:gd name="connsiteX0" fmla="*/ 136804 w 2985040"/>
              <a:gd name="connsiteY0" fmla="*/ 0 h 2708999"/>
              <a:gd name="connsiteX1" fmla="*/ 2848236 w 2985040"/>
              <a:gd name="connsiteY1" fmla="*/ 0 h 2708999"/>
              <a:gd name="connsiteX2" fmla="*/ 2985040 w 2985040"/>
              <a:gd name="connsiteY2" fmla="*/ 136804 h 2708999"/>
              <a:gd name="connsiteX3" fmla="*/ 2985040 w 2985040"/>
              <a:gd name="connsiteY3" fmla="*/ 2708999 h 2708999"/>
              <a:gd name="connsiteX4" fmla="*/ 0 w 2985040"/>
              <a:gd name="connsiteY4" fmla="*/ 2708999 h 2708999"/>
              <a:gd name="connsiteX5" fmla="*/ 0 w 2985040"/>
              <a:gd name="connsiteY5" fmla="*/ 136804 h 2708999"/>
              <a:gd name="connsiteX6" fmla="*/ 136804 w 2985040"/>
              <a:gd name="connsiteY6" fmla="*/ 0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5040" h="2708999">
                <a:moveTo>
                  <a:pt x="136804" y="0"/>
                </a:moveTo>
                <a:lnTo>
                  <a:pt x="2848236" y="0"/>
                </a:lnTo>
                <a:cubicBezTo>
                  <a:pt x="2923791" y="0"/>
                  <a:pt x="2985040" y="61249"/>
                  <a:pt x="2985040" y="136804"/>
                </a:cubicBezTo>
                <a:lnTo>
                  <a:pt x="2985040" y="2708999"/>
                </a:lnTo>
                <a:lnTo>
                  <a:pt x="0" y="2708999"/>
                </a:lnTo>
                <a:lnTo>
                  <a:pt x="0" y="136804"/>
                </a:lnTo>
                <a:cubicBezTo>
                  <a:pt x="0" y="61249"/>
                  <a:pt x="61249" y="0"/>
                  <a:pt x="136804" y="0"/>
                </a:cubicBezTo>
                <a:close/>
              </a:path>
            </a:pathLst>
          </a:custGeom>
          <a:solidFill>
            <a:srgbClr val="999999"/>
          </a:solidFill>
        </p:spPr>
        <p:txBody>
          <a:bodyPr wrap="square" tIns="720000">
            <a:noAutofit/>
          </a:bodyPr>
          <a:lstStyle>
            <a:lvl1pPr algn="ctr">
              <a:defRPr sz="1200"/>
            </a:lvl1pPr>
          </a:lstStyle>
          <a:p>
            <a:r>
              <a:rPr lang="pl-PL"/>
              <a:t>Load </a:t>
            </a:r>
            <a:r>
              <a:rPr lang="pl-PL" noProof="0"/>
              <a:t>image</a:t>
            </a:r>
            <a:br>
              <a:rPr lang="pl-PL" noProof="0"/>
            </a:br>
            <a:r>
              <a:rPr lang="pl-PL"/>
              <a:t>▼</a:t>
            </a:r>
            <a:endParaRPr lang="pl-PL" dirty="0"/>
          </a:p>
        </p:txBody>
      </p:sp>
      <p:sp>
        <p:nvSpPr>
          <p:cNvPr id="26" name="Textplatzhalter 25">
            <a:extLst>
              <a:ext uri="{FF2B5EF4-FFF2-40B4-BE49-F238E27FC236}">
                <a16:creationId xmlns:a16="http://schemas.microsoft.com/office/drawing/2014/main" id="{DCAAA952-D168-833C-BDBE-E9DB910D41B6}"/>
              </a:ext>
            </a:extLst>
          </p:cNvPr>
          <p:cNvSpPr>
            <a:spLocks noGrp="1"/>
          </p:cNvSpPr>
          <p:nvPr>
            <p:ph type="body" sz="quarter" idx="39" hasCustomPrompt="1"/>
            <p:custDataLst>
              <p:tags r:id="rId2"/>
            </p:custDataLst>
          </p:nvPr>
        </p:nvSpPr>
        <p:spPr>
          <a:xfrm>
            <a:off x="5681920"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24" name="Textplatzhalter 23">
            <a:extLst>
              <a:ext uri="{FF2B5EF4-FFF2-40B4-BE49-F238E27FC236}">
                <a16:creationId xmlns:a16="http://schemas.microsoft.com/office/drawing/2014/main" id="{B7732583-8DA0-1F6F-8D8A-B3435F8B5110}"/>
              </a:ext>
            </a:extLst>
          </p:cNvPr>
          <p:cNvSpPr>
            <a:spLocks noGrp="1"/>
          </p:cNvSpPr>
          <p:nvPr>
            <p:ph type="body" sz="quarter" idx="37" hasCustomPrompt="1"/>
            <p:custDataLst>
              <p:tags r:id="rId3"/>
            </p:custDataLst>
          </p:nvPr>
        </p:nvSpPr>
        <p:spPr>
          <a:xfrm>
            <a:off x="8846598"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4"/>
            </p:custDataLst>
          </p:nvPr>
        </p:nvSpPr>
        <p:spPr>
          <a:xfrm>
            <a:off x="898524" y="223200"/>
            <a:ext cx="38766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10" name="Textplatzhalter 9">
            <a:extLst>
              <a:ext uri="{FF2B5EF4-FFF2-40B4-BE49-F238E27FC236}">
                <a16:creationId xmlns:a16="http://schemas.microsoft.com/office/drawing/2014/main" id="{32BC7F94-B82B-289A-ECFD-DFB868A64ED0}"/>
              </a:ext>
            </a:extLst>
          </p:cNvPr>
          <p:cNvSpPr>
            <a:spLocks noGrp="1"/>
          </p:cNvSpPr>
          <p:nvPr>
            <p:ph type="body" sz="quarter" idx="19" hasCustomPrompt="1"/>
            <p:custDataLst>
              <p:tags r:id="rId5"/>
            </p:custDataLst>
          </p:nvPr>
        </p:nvSpPr>
        <p:spPr>
          <a:xfrm>
            <a:off x="898524" y="1548000"/>
            <a:ext cx="3876676" cy="4586400"/>
          </a:xfrm>
        </p:spPr>
        <p:txBody>
          <a:bodyPr/>
          <a:lstStyle>
            <a:lvl2pPr>
              <a:defRPr/>
            </a:lvl2pPr>
            <a:lvl3pPr>
              <a:defRPr/>
            </a:lvl3pPr>
            <a:lvl4pPr>
              <a:defRPr/>
            </a:lvl4pPr>
          </a:lstStyle>
          <a:p>
            <a:pPr lvl="0"/>
            <a:r>
              <a:rPr lang="pl-PL" noProof="0"/>
              <a:t>Please format the text via the List Level button</a:t>
            </a:r>
          </a:p>
          <a:p>
            <a:pPr lvl="1"/>
            <a:r>
              <a:rPr lang="pl-PL" noProof="0"/>
              <a:t>Second level</a:t>
            </a:r>
          </a:p>
          <a:p>
            <a:pPr lvl="2"/>
            <a:r>
              <a:rPr lang="pl-PL" noProof="0"/>
              <a:t>Third level</a:t>
            </a:r>
          </a:p>
          <a:p>
            <a:pPr lvl="3"/>
            <a:r>
              <a:rPr lang="pl-PL" noProof="0"/>
              <a:t>Fourth level</a:t>
            </a:r>
            <a:endParaRPr lang="pl-PL" noProof="0" dirty="0"/>
          </a:p>
        </p:txBody>
      </p:sp>
      <p:sp>
        <p:nvSpPr>
          <p:cNvPr id="20" name="Textplatzhalter 8">
            <a:extLst>
              <a:ext uri="{FF2B5EF4-FFF2-40B4-BE49-F238E27FC236}">
                <a16:creationId xmlns:a16="http://schemas.microsoft.com/office/drawing/2014/main" id="{949CC7A4-39E3-05C4-3654-0426708DAD5F}"/>
              </a:ext>
            </a:extLst>
          </p:cNvPr>
          <p:cNvSpPr>
            <a:spLocks noGrp="1"/>
          </p:cNvSpPr>
          <p:nvPr>
            <p:ph type="body" sz="quarter" idx="25" hasCustomPrompt="1"/>
            <p:custDataLst>
              <p:tags r:id="rId6"/>
            </p:custDataLst>
          </p:nvPr>
        </p:nvSpPr>
        <p:spPr>
          <a:xfrm>
            <a:off x="5681920"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2</a:t>
            </a:r>
            <a:endParaRPr lang="pl-PL" noProof="0" dirty="0"/>
          </a:p>
        </p:txBody>
      </p:sp>
      <p:sp>
        <p:nvSpPr>
          <p:cNvPr id="2" name="Datumsplatzhalter 1">
            <a:extLst>
              <a:ext uri="{FF2B5EF4-FFF2-40B4-BE49-F238E27FC236}">
                <a16:creationId xmlns:a16="http://schemas.microsoft.com/office/drawing/2014/main" id="{415FC8D3-2FCE-91FD-3A02-6BE7657B378E}"/>
              </a:ext>
            </a:extLst>
          </p:cNvPr>
          <p:cNvSpPr>
            <a:spLocks noGrp="1"/>
          </p:cNvSpPr>
          <p:nvPr>
            <p:ph type="dt" sz="half" idx="30"/>
            <p:custDataLst>
              <p:tags r:id="rId7"/>
            </p:custDataLst>
          </p:nvPr>
        </p:nvSpPr>
        <p:spPr/>
        <p:txBody>
          <a:bodyPr/>
          <a:lstStyle/>
          <a:p>
            <a:r>
              <a:rPr lang="en-US" noProof="0"/>
              <a:t>01.08.2023</a:t>
            </a:r>
            <a:endParaRPr lang="pl-PL" noProof="0" dirty="0"/>
          </a:p>
        </p:txBody>
      </p:sp>
      <p:sp>
        <p:nvSpPr>
          <p:cNvPr id="3" name="Fußzeilenplatzhalter 2">
            <a:extLst>
              <a:ext uri="{FF2B5EF4-FFF2-40B4-BE49-F238E27FC236}">
                <a16:creationId xmlns:a16="http://schemas.microsoft.com/office/drawing/2014/main" id="{FB3706BD-82B0-FDBD-410F-5C1F473FB5F7}"/>
              </a:ext>
            </a:extLst>
          </p:cNvPr>
          <p:cNvSpPr>
            <a:spLocks noGrp="1"/>
          </p:cNvSpPr>
          <p:nvPr>
            <p:ph type="ftr" sz="quarter" idx="31"/>
            <p:custDataLst>
              <p:tags r:id="rId8"/>
            </p:custDataLst>
          </p:nvPr>
        </p:nvSpPr>
        <p:spPr/>
        <p:txBody>
          <a:bodyPr/>
          <a:lstStyle/>
          <a:p>
            <a:r>
              <a:rPr lang="pl-PL" noProof="0"/>
              <a:t>Najważniejsze informacje o dawstwie szpiku - Prezentacja w ramach projektu #KOMÓRKOMANIA | C1 - publiczna</a:t>
            </a:r>
            <a:endParaRPr lang="pl-PL" noProof="0" dirty="0"/>
          </a:p>
        </p:txBody>
      </p:sp>
      <p:sp>
        <p:nvSpPr>
          <p:cNvPr id="9" name="Foliennummernplatzhalter 8">
            <a:extLst>
              <a:ext uri="{FF2B5EF4-FFF2-40B4-BE49-F238E27FC236}">
                <a16:creationId xmlns:a16="http://schemas.microsoft.com/office/drawing/2014/main" id="{F921B822-2F3C-E20C-D31F-EE69A64FBB39}"/>
              </a:ext>
            </a:extLst>
          </p:cNvPr>
          <p:cNvSpPr>
            <a:spLocks noGrp="1"/>
          </p:cNvSpPr>
          <p:nvPr>
            <p:ph type="sldNum" sz="quarter" idx="32"/>
            <p:custDataLst>
              <p:tags r:id="rId9"/>
            </p:custDataLst>
          </p:nvPr>
        </p:nvSpPr>
        <p:spPr/>
        <p:txBody>
          <a:bodyPr/>
          <a:lstStyle/>
          <a:p>
            <a:fld id="{92DB0D90-6264-4E90-9724-ABC670DBF4FB}" type="slidenum">
              <a:rPr lang="pl-PL" noProof="0" smtClean="0"/>
              <a:pPr/>
              <a:t>‹#›</a:t>
            </a:fld>
            <a:endParaRPr lang="pl-PL" noProof="0" dirty="0"/>
          </a:p>
        </p:txBody>
      </p:sp>
      <p:sp>
        <p:nvSpPr>
          <p:cNvPr id="12" name="Titel 11">
            <a:extLst>
              <a:ext uri="{FF2B5EF4-FFF2-40B4-BE49-F238E27FC236}">
                <a16:creationId xmlns:a16="http://schemas.microsoft.com/office/drawing/2014/main" id="{DF65A778-9F3D-6E9A-08A8-D3A90EB460CB}"/>
              </a:ext>
            </a:extLst>
          </p:cNvPr>
          <p:cNvSpPr>
            <a:spLocks noGrp="1"/>
          </p:cNvSpPr>
          <p:nvPr>
            <p:ph type="title" hasCustomPrompt="1"/>
            <p:custDataLst>
              <p:tags r:id="rId10"/>
            </p:custDataLst>
          </p:nvPr>
        </p:nvSpPr>
        <p:spPr>
          <a:xfrm>
            <a:off x="898524" y="684000"/>
            <a:ext cx="3876676" cy="759600"/>
          </a:xfrm>
        </p:spPr>
        <p:txBody>
          <a:bodyPr/>
          <a:lstStyle>
            <a:lvl1pPr>
              <a:defRPr/>
            </a:lvl1pPr>
          </a:lstStyle>
          <a:p>
            <a:r>
              <a:rPr lang="pl-PL" noProof="0"/>
              <a:t>Headline</a:t>
            </a:r>
            <a:endParaRPr lang="pl-PL" noProof="0" dirty="0"/>
          </a:p>
        </p:txBody>
      </p:sp>
      <p:sp>
        <p:nvSpPr>
          <p:cNvPr id="22" name="Textplatzhalter 8">
            <a:extLst>
              <a:ext uri="{FF2B5EF4-FFF2-40B4-BE49-F238E27FC236}">
                <a16:creationId xmlns:a16="http://schemas.microsoft.com/office/drawing/2014/main" id="{FD570C1F-13A4-1AEA-2189-9F9FA3274B20}"/>
              </a:ext>
            </a:extLst>
          </p:cNvPr>
          <p:cNvSpPr>
            <a:spLocks noGrp="1"/>
          </p:cNvSpPr>
          <p:nvPr>
            <p:ph type="body" sz="quarter" idx="26" hasCustomPrompt="1"/>
            <p:custDataLst>
              <p:tags r:id="rId11"/>
            </p:custDataLst>
          </p:nvPr>
        </p:nvSpPr>
        <p:spPr>
          <a:xfrm>
            <a:off x="8846961"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3</a:t>
            </a:r>
            <a:endParaRPr lang="pl-PL" noProof="0" dirty="0"/>
          </a:p>
        </p:txBody>
      </p:sp>
      <p:sp>
        <p:nvSpPr>
          <p:cNvPr id="19" name="Textplatzhalter 8" hidden="1">
            <a:extLst>
              <a:ext uri="{FF2B5EF4-FFF2-40B4-BE49-F238E27FC236}">
                <a16:creationId xmlns:a16="http://schemas.microsoft.com/office/drawing/2014/main" id="{CF30D563-51EB-CA86-4035-E43CD70013F9}"/>
              </a:ext>
            </a:extLst>
          </p:cNvPr>
          <p:cNvSpPr>
            <a:spLocks noGrp="1"/>
          </p:cNvSpPr>
          <p:nvPr>
            <p:ph type="body" sz="quarter" idx="24" hasCustomPrompt="1"/>
            <p:custDataLst>
              <p:tags r:id="rId12"/>
            </p:custDataLst>
          </p:nvPr>
        </p:nvSpPr>
        <p:spPr>
          <a:xfrm>
            <a:off x="8846962"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
        <p:nvSpPr>
          <p:cNvPr id="8" name="Textplatzhalter 4">
            <a:extLst>
              <a:ext uri="{FF2B5EF4-FFF2-40B4-BE49-F238E27FC236}">
                <a16:creationId xmlns:a16="http://schemas.microsoft.com/office/drawing/2014/main" id="{59520EBA-3AFE-6F73-A0A2-E3C9CC6789FD}"/>
              </a:ext>
            </a:extLst>
          </p:cNvPr>
          <p:cNvSpPr>
            <a:spLocks noGrp="1"/>
          </p:cNvSpPr>
          <p:nvPr>
            <p:ph type="body" sz="quarter" idx="35" hasCustomPrompt="1"/>
            <p:custDataLst>
              <p:tags r:id="rId13"/>
            </p:custDataLst>
          </p:nvPr>
        </p:nvSpPr>
        <p:spPr>
          <a:xfrm>
            <a:off x="5681920"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SzPct val="110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18" name="Textplatzhalter 8">
            <a:extLst>
              <a:ext uri="{FF2B5EF4-FFF2-40B4-BE49-F238E27FC236}">
                <a16:creationId xmlns:a16="http://schemas.microsoft.com/office/drawing/2014/main" id="{6869377B-D87B-4C6D-CD3C-784BD79438BA}"/>
              </a:ext>
            </a:extLst>
          </p:cNvPr>
          <p:cNvSpPr>
            <a:spLocks noGrp="1"/>
          </p:cNvSpPr>
          <p:nvPr>
            <p:ph type="body" sz="quarter" idx="23" hasCustomPrompt="1"/>
            <p:custDataLst>
              <p:tags r:id="rId14"/>
            </p:custDataLst>
          </p:nvPr>
        </p:nvSpPr>
        <p:spPr>
          <a:xfrm>
            <a:off x="5681920"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Tree>
    <p:extLst>
      <p:ext uri="{BB962C8B-B14F-4D97-AF65-F5344CB8AC3E}">
        <p14:creationId xmlns:p14="http://schemas.microsoft.com/office/powerpoint/2010/main" val="39648193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ext + 4 text boxes">
    <p:bg>
      <p:bgPr>
        <a:solidFill>
          <a:schemeClr val="tx2"/>
        </a:solidFill>
        <a:effectLst/>
      </p:bgPr>
    </p:bg>
    <p:spTree>
      <p:nvGrpSpPr>
        <p:cNvPr id="1" name=""/>
        <p:cNvGrpSpPr/>
        <p:nvPr/>
      </p:nvGrpSpPr>
      <p:grpSpPr>
        <a:xfrm>
          <a:off x="0" y="0"/>
          <a:ext cx="0" cy="0"/>
          <a:chOff x="0" y="0"/>
          <a:chExt cx="0" cy="0"/>
        </a:xfrm>
      </p:grpSpPr>
      <p:sp>
        <p:nvSpPr>
          <p:cNvPr id="26" name="Textplatzhalter 25">
            <a:extLst>
              <a:ext uri="{FF2B5EF4-FFF2-40B4-BE49-F238E27FC236}">
                <a16:creationId xmlns:a16="http://schemas.microsoft.com/office/drawing/2014/main" id="{DCAAA952-D168-833C-BDBE-E9DB910D41B6}"/>
              </a:ext>
            </a:extLst>
          </p:cNvPr>
          <p:cNvSpPr>
            <a:spLocks noGrp="1"/>
          </p:cNvSpPr>
          <p:nvPr>
            <p:ph type="body" sz="quarter" idx="39" hasCustomPrompt="1"/>
            <p:custDataLst>
              <p:tags r:id="rId1"/>
            </p:custDataLst>
          </p:nvPr>
        </p:nvSpPr>
        <p:spPr>
          <a:xfrm>
            <a:off x="5681920"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24" name="Textplatzhalter 23">
            <a:extLst>
              <a:ext uri="{FF2B5EF4-FFF2-40B4-BE49-F238E27FC236}">
                <a16:creationId xmlns:a16="http://schemas.microsoft.com/office/drawing/2014/main" id="{B7732583-8DA0-1F6F-8D8A-B3435F8B5110}"/>
              </a:ext>
            </a:extLst>
          </p:cNvPr>
          <p:cNvSpPr>
            <a:spLocks noGrp="1"/>
          </p:cNvSpPr>
          <p:nvPr>
            <p:ph type="body" sz="quarter" idx="37" hasCustomPrompt="1"/>
            <p:custDataLst>
              <p:tags r:id="rId2"/>
            </p:custDataLst>
          </p:nvPr>
        </p:nvSpPr>
        <p:spPr>
          <a:xfrm>
            <a:off x="8846598"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3"/>
            </p:custDataLst>
          </p:nvPr>
        </p:nvSpPr>
        <p:spPr>
          <a:xfrm>
            <a:off x="898524" y="223200"/>
            <a:ext cx="38766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10" name="Textplatzhalter 9">
            <a:extLst>
              <a:ext uri="{FF2B5EF4-FFF2-40B4-BE49-F238E27FC236}">
                <a16:creationId xmlns:a16="http://schemas.microsoft.com/office/drawing/2014/main" id="{32BC7F94-B82B-289A-ECFD-DFB868A64ED0}"/>
              </a:ext>
            </a:extLst>
          </p:cNvPr>
          <p:cNvSpPr>
            <a:spLocks noGrp="1"/>
          </p:cNvSpPr>
          <p:nvPr>
            <p:ph type="body" sz="quarter" idx="19" hasCustomPrompt="1"/>
            <p:custDataLst>
              <p:tags r:id="rId4"/>
            </p:custDataLst>
          </p:nvPr>
        </p:nvSpPr>
        <p:spPr>
          <a:xfrm>
            <a:off x="898524" y="1548000"/>
            <a:ext cx="3876676" cy="4586400"/>
          </a:xfrm>
        </p:spPr>
        <p:txBody>
          <a:bodyPr/>
          <a:lstStyle>
            <a:lvl2pPr>
              <a:defRPr/>
            </a:lvl2pPr>
            <a:lvl3pPr>
              <a:defRPr/>
            </a:lvl3pPr>
            <a:lvl4pPr>
              <a:defRPr/>
            </a:lvl4pPr>
          </a:lstStyle>
          <a:p>
            <a:pPr lvl="0"/>
            <a:r>
              <a:rPr lang="pl-PL" noProof="0"/>
              <a:t>Please format the text via the List Level button</a:t>
            </a:r>
          </a:p>
          <a:p>
            <a:pPr lvl="1"/>
            <a:r>
              <a:rPr lang="pl-PL" noProof="0"/>
              <a:t>Second level</a:t>
            </a:r>
          </a:p>
          <a:p>
            <a:pPr lvl="2"/>
            <a:r>
              <a:rPr lang="pl-PL" noProof="0"/>
              <a:t>Third level</a:t>
            </a:r>
          </a:p>
          <a:p>
            <a:pPr lvl="3"/>
            <a:r>
              <a:rPr lang="pl-PL" noProof="0"/>
              <a:t>Fourth level</a:t>
            </a:r>
            <a:endParaRPr lang="pl-PL" noProof="0" dirty="0"/>
          </a:p>
        </p:txBody>
      </p:sp>
      <p:sp>
        <p:nvSpPr>
          <p:cNvPr id="20" name="Textplatzhalter 8">
            <a:extLst>
              <a:ext uri="{FF2B5EF4-FFF2-40B4-BE49-F238E27FC236}">
                <a16:creationId xmlns:a16="http://schemas.microsoft.com/office/drawing/2014/main" id="{949CC7A4-39E3-05C4-3654-0426708DAD5F}"/>
              </a:ext>
            </a:extLst>
          </p:cNvPr>
          <p:cNvSpPr>
            <a:spLocks noGrp="1"/>
          </p:cNvSpPr>
          <p:nvPr>
            <p:ph type="body" sz="quarter" idx="25" hasCustomPrompt="1"/>
            <p:custDataLst>
              <p:tags r:id="rId5"/>
            </p:custDataLst>
          </p:nvPr>
        </p:nvSpPr>
        <p:spPr>
          <a:xfrm>
            <a:off x="5681920"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3</a:t>
            </a:r>
            <a:endParaRPr lang="pl-PL" noProof="0" dirty="0"/>
          </a:p>
        </p:txBody>
      </p:sp>
      <p:sp>
        <p:nvSpPr>
          <p:cNvPr id="4" name="Textplatzhalter 4">
            <a:extLst>
              <a:ext uri="{FF2B5EF4-FFF2-40B4-BE49-F238E27FC236}">
                <a16:creationId xmlns:a16="http://schemas.microsoft.com/office/drawing/2014/main" id="{E0B9C495-4354-075A-AA1B-CE8281723D67}"/>
              </a:ext>
            </a:extLst>
          </p:cNvPr>
          <p:cNvSpPr>
            <a:spLocks noGrp="1"/>
          </p:cNvSpPr>
          <p:nvPr>
            <p:ph type="body" sz="quarter" idx="33" hasCustomPrompt="1"/>
            <p:custDataLst>
              <p:tags r:id="rId6"/>
            </p:custDataLst>
          </p:nvPr>
        </p:nvSpPr>
        <p:spPr>
          <a:xfrm>
            <a:off x="8846598"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2" name="Datumsplatzhalter 1">
            <a:extLst>
              <a:ext uri="{FF2B5EF4-FFF2-40B4-BE49-F238E27FC236}">
                <a16:creationId xmlns:a16="http://schemas.microsoft.com/office/drawing/2014/main" id="{415FC8D3-2FCE-91FD-3A02-6BE7657B378E}"/>
              </a:ext>
            </a:extLst>
          </p:cNvPr>
          <p:cNvSpPr>
            <a:spLocks noGrp="1"/>
          </p:cNvSpPr>
          <p:nvPr>
            <p:ph type="dt" sz="half" idx="30"/>
            <p:custDataLst>
              <p:tags r:id="rId7"/>
            </p:custDataLst>
          </p:nvPr>
        </p:nvSpPr>
        <p:spPr/>
        <p:txBody>
          <a:bodyPr/>
          <a:lstStyle/>
          <a:p>
            <a:r>
              <a:rPr lang="en-US" noProof="0"/>
              <a:t>01.08.2023</a:t>
            </a:r>
            <a:endParaRPr lang="pl-PL" noProof="0" dirty="0"/>
          </a:p>
        </p:txBody>
      </p:sp>
      <p:sp>
        <p:nvSpPr>
          <p:cNvPr id="3" name="Fußzeilenplatzhalter 2">
            <a:extLst>
              <a:ext uri="{FF2B5EF4-FFF2-40B4-BE49-F238E27FC236}">
                <a16:creationId xmlns:a16="http://schemas.microsoft.com/office/drawing/2014/main" id="{FB3706BD-82B0-FDBD-410F-5C1F473FB5F7}"/>
              </a:ext>
            </a:extLst>
          </p:cNvPr>
          <p:cNvSpPr>
            <a:spLocks noGrp="1"/>
          </p:cNvSpPr>
          <p:nvPr>
            <p:ph type="ftr" sz="quarter" idx="31"/>
            <p:custDataLst>
              <p:tags r:id="rId8"/>
            </p:custDataLst>
          </p:nvPr>
        </p:nvSpPr>
        <p:spPr/>
        <p:txBody>
          <a:bodyPr/>
          <a:lstStyle/>
          <a:p>
            <a:r>
              <a:rPr lang="pl-PL" noProof="0"/>
              <a:t>Najważniejsze informacje o dawstwie szpiku - Prezentacja w ramach projektu #KOMÓRKOMANIA | C1 - publiczna</a:t>
            </a:r>
            <a:endParaRPr lang="pl-PL" noProof="0" dirty="0"/>
          </a:p>
        </p:txBody>
      </p:sp>
      <p:sp>
        <p:nvSpPr>
          <p:cNvPr id="9" name="Foliennummernplatzhalter 8">
            <a:extLst>
              <a:ext uri="{FF2B5EF4-FFF2-40B4-BE49-F238E27FC236}">
                <a16:creationId xmlns:a16="http://schemas.microsoft.com/office/drawing/2014/main" id="{F921B822-2F3C-E20C-D31F-EE69A64FBB39}"/>
              </a:ext>
            </a:extLst>
          </p:cNvPr>
          <p:cNvSpPr>
            <a:spLocks noGrp="1"/>
          </p:cNvSpPr>
          <p:nvPr>
            <p:ph type="sldNum" sz="quarter" idx="32"/>
            <p:custDataLst>
              <p:tags r:id="rId9"/>
            </p:custDataLst>
          </p:nvPr>
        </p:nvSpPr>
        <p:spPr/>
        <p:txBody>
          <a:bodyPr/>
          <a:lstStyle/>
          <a:p>
            <a:fld id="{92DB0D90-6264-4E90-9724-ABC670DBF4FB}" type="slidenum">
              <a:rPr lang="pl-PL" noProof="0" smtClean="0"/>
              <a:pPr/>
              <a:t>‹#›</a:t>
            </a:fld>
            <a:endParaRPr lang="pl-PL" noProof="0" dirty="0"/>
          </a:p>
        </p:txBody>
      </p:sp>
      <p:sp>
        <p:nvSpPr>
          <p:cNvPr id="12" name="Titel 11">
            <a:extLst>
              <a:ext uri="{FF2B5EF4-FFF2-40B4-BE49-F238E27FC236}">
                <a16:creationId xmlns:a16="http://schemas.microsoft.com/office/drawing/2014/main" id="{DF65A778-9F3D-6E9A-08A8-D3A90EB460CB}"/>
              </a:ext>
            </a:extLst>
          </p:cNvPr>
          <p:cNvSpPr>
            <a:spLocks noGrp="1"/>
          </p:cNvSpPr>
          <p:nvPr>
            <p:ph type="title" hasCustomPrompt="1"/>
            <p:custDataLst>
              <p:tags r:id="rId10"/>
            </p:custDataLst>
          </p:nvPr>
        </p:nvSpPr>
        <p:spPr>
          <a:xfrm>
            <a:off x="898524" y="684000"/>
            <a:ext cx="3876676" cy="759600"/>
          </a:xfrm>
        </p:spPr>
        <p:txBody>
          <a:bodyPr/>
          <a:lstStyle>
            <a:lvl1pPr>
              <a:defRPr/>
            </a:lvl1pPr>
          </a:lstStyle>
          <a:p>
            <a:r>
              <a:rPr lang="pl-PL" noProof="0"/>
              <a:t>Headline</a:t>
            </a:r>
            <a:endParaRPr lang="pl-PL" noProof="0" dirty="0"/>
          </a:p>
        </p:txBody>
      </p:sp>
      <p:sp>
        <p:nvSpPr>
          <p:cNvPr id="22" name="Textplatzhalter 8">
            <a:extLst>
              <a:ext uri="{FF2B5EF4-FFF2-40B4-BE49-F238E27FC236}">
                <a16:creationId xmlns:a16="http://schemas.microsoft.com/office/drawing/2014/main" id="{FD570C1F-13A4-1AEA-2189-9F9FA3274B20}"/>
              </a:ext>
            </a:extLst>
          </p:cNvPr>
          <p:cNvSpPr>
            <a:spLocks noGrp="1"/>
          </p:cNvSpPr>
          <p:nvPr>
            <p:ph type="body" sz="quarter" idx="26" hasCustomPrompt="1"/>
            <p:custDataLst>
              <p:tags r:id="rId11"/>
            </p:custDataLst>
          </p:nvPr>
        </p:nvSpPr>
        <p:spPr>
          <a:xfrm>
            <a:off x="8846961"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4</a:t>
            </a:r>
            <a:endParaRPr lang="pl-PL" noProof="0" dirty="0"/>
          </a:p>
        </p:txBody>
      </p:sp>
      <p:sp>
        <p:nvSpPr>
          <p:cNvPr id="19" name="Textplatzhalter 8">
            <a:extLst>
              <a:ext uri="{FF2B5EF4-FFF2-40B4-BE49-F238E27FC236}">
                <a16:creationId xmlns:a16="http://schemas.microsoft.com/office/drawing/2014/main" id="{CF30D563-51EB-CA86-4035-E43CD70013F9}"/>
              </a:ext>
            </a:extLst>
          </p:cNvPr>
          <p:cNvSpPr>
            <a:spLocks noGrp="1"/>
          </p:cNvSpPr>
          <p:nvPr>
            <p:ph type="body" sz="quarter" idx="24" hasCustomPrompt="1"/>
            <p:custDataLst>
              <p:tags r:id="rId12"/>
            </p:custDataLst>
          </p:nvPr>
        </p:nvSpPr>
        <p:spPr>
          <a:xfrm>
            <a:off x="8846962"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2</a:t>
            </a:r>
            <a:endParaRPr lang="pl-PL" noProof="0" dirty="0"/>
          </a:p>
        </p:txBody>
      </p:sp>
      <p:sp>
        <p:nvSpPr>
          <p:cNvPr id="8" name="Textplatzhalter 4">
            <a:extLst>
              <a:ext uri="{FF2B5EF4-FFF2-40B4-BE49-F238E27FC236}">
                <a16:creationId xmlns:a16="http://schemas.microsoft.com/office/drawing/2014/main" id="{59520EBA-3AFE-6F73-A0A2-E3C9CC6789FD}"/>
              </a:ext>
            </a:extLst>
          </p:cNvPr>
          <p:cNvSpPr>
            <a:spLocks noGrp="1"/>
          </p:cNvSpPr>
          <p:nvPr>
            <p:ph type="body" sz="quarter" idx="35" hasCustomPrompt="1"/>
            <p:custDataLst>
              <p:tags r:id="rId13"/>
            </p:custDataLst>
          </p:nvPr>
        </p:nvSpPr>
        <p:spPr>
          <a:xfrm>
            <a:off x="5681920"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SzPct val="110000"/>
              <a:buFont typeface="Wingdings" panose="05000000000000000000" pitchFamily="2" charset="2"/>
              <a:buChar char="§"/>
              <a:defRPr sz="1400">
                <a:solidFill>
                  <a:srgbClr val="333333"/>
                </a:solidFill>
              </a:defRPr>
            </a:lvl2pPr>
            <a:lvl3pPr marL="504000" indent="-252000">
              <a:buFont typeface="Wingdings" panose="05000000000000000000" pitchFamily="2" charset="2"/>
              <a:buChar char="§"/>
              <a:defRPr sz="1400">
                <a:solidFill>
                  <a:srgbClr val="333333"/>
                </a:solidFill>
              </a:defRPr>
            </a:lvl3pPr>
            <a:lvl4pPr marL="756000" indent="-252000">
              <a:buFont typeface="Wingdings" panose="05000000000000000000" pitchFamily="2" charset="2"/>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18" name="Textplatzhalter 8">
            <a:extLst>
              <a:ext uri="{FF2B5EF4-FFF2-40B4-BE49-F238E27FC236}">
                <a16:creationId xmlns:a16="http://schemas.microsoft.com/office/drawing/2014/main" id="{6869377B-D87B-4C6D-CD3C-784BD79438BA}"/>
              </a:ext>
            </a:extLst>
          </p:cNvPr>
          <p:cNvSpPr>
            <a:spLocks noGrp="1"/>
          </p:cNvSpPr>
          <p:nvPr>
            <p:ph type="body" sz="quarter" idx="23" hasCustomPrompt="1"/>
            <p:custDataLst>
              <p:tags r:id="rId14"/>
            </p:custDataLst>
          </p:nvPr>
        </p:nvSpPr>
        <p:spPr>
          <a:xfrm>
            <a:off x="5681920"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Tree>
    <p:extLst>
      <p:ext uri="{BB962C8B-B14F-4D97-AF65-F5344CB8AC3E}">
        <p14:creationId xmlns:p14="http://schemas.microsoft.com/office/powerpoint/2010/main" val="33043804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ext boxes">
    <p:bg>
      <p:bgPr>
        <a:solidFill>
          <a:schemeClr val="tx2"/>
        </a:solid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1"/>
            </p:custDataLst>
          </p:nvPr>
        </p:nvSpPr>
        <p:spPr/>
        <p:txBody>
          <a:bodyPr/>
          <a:lstStyle>
            <a:lvl1pPr>
              <a:defRPr/>
            </a:lvl1pPr>
          </a:lstStyle>
          <a:p>
            <a:r>
              <a:rPr lang="pl-PL"/>
              <a:t>Headline</a:t>
            </a:r>
            <a:endParaRPr lang="pl-PL" dirty="0"/>
          </a:p>
        </p:txBody>
      </p:sp>
      <p:sp>
        <p:nvSpPr>
          <p:cNvPr id="11" name="Textplatzhalter 1">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Textplatzhalter 2">
            <a:extLst>
              <a:ext uri="{FF2B5EF4-FFF2-40B4-BE49-F238E27FC236}">
                <a16:creationId xmlns:a16="http://schemas.microsoft.com/office/drawing/2014/main" id="{882D9AE1-7A91-462D-3E26-0078F415316B}"/>
              </a:ext>
            </a:extLst>
          </p:cNvPr>
          <p:cNvSpPr>
            <a:spLocks noGrp="1"/>
          </p:cNvSpPr>
          <p:nvPr>
            <p:ph type="body" sz="quarter" idx="35" hasCustomPrompt="1"/>
            <p:custDataLst>
              <p:tags r:id="rId3"/>
            </p:custDataLst>
          </p:nvPr>
        </p:nvSpPr>
        <p:spPr>
          <a:xfrm>
            <a:off x="898524"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5" name="Textplatzhalter 3">
            <a:extLst>
              <a:ext uri="{FF2B5EF4-FFF2-40B4-BE49-F238E27FC236}">
                <a16:creationId xmlns:a16="http://schemas.microsoft.com/office/drawing/2014/main" id="{4041185E-0ABF-EC7B-F614-2D85548040F2}"/>
              </a:ext>
            </a:extLst>
          </p:cNvPr>
          <p:cNvSpPr>
            <a:spLocks noGrp="1"/>
          </p:cNvSpPr>
          <p:nvPr>
            <p:ph type="body" sz="quarter" idx="38" hasCustomPrompt="1"/>
            <p:custDataLst>
              <p:tags r:id="rId4"/>
            </p:custDataLst>
          </p:nvPr>
        </p:nvSpPr>
        <p:spPr>
          <a:xfrm>
            <a:off x="4664483"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7" name="Textplatzhalter 4">
            <a:extLst>
              <a:ext uri="{FF2B5EF4-FFF2-40B4-BE49-F238E27FC236}">
                <a16:creationId xmlns:a16="http://schemas.microsoft.com/office/drawing/2014/main" id="{AC1499B6-D703-8643-6DF0-5E59EA3EA5D8}"/>
              </a:ext>
            </a:extLst>
          </p:cNvPr>
          <p:cNvSpPr>
            <a:spLocks noGrp="1"/>
          </p:cNvSpPr>
          <p:nvPr>
            <p:ph type="body" sz="quarter" idx="39" hasCustomPrompt="1"/>
            <p:custDataLst>
              <p:tags r:id="rId5"/>
            </p:custDataLst>
          </p:nvPr>
        </p:nvSpPr>
        <p:spPr>
          <a:xfrm>
            <a:off x="8430442"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2" name="Textplatzhalter 5">
            <a:extLst>
              <a:ext uri="{FF2B5EF4-FFF2-40B4-BE49-F238E27FC236}">
                <a16:creationId xmlns:a16="http://schemas.microsoft.com/office/drawing/2014/main" id="{0CD15F63-4EF4-C285-F1A3-A45F781C8DE7}"/>
              </a:ext>
            </a:extLst>
          </p:cNvPr>
          <p:cNvSpPr>
            <a:spLocks noGrp="1"/>
          </p:cNvSpPr>
          <p:nvPr>
            <p:ph type="body" sz="quarter" idx="21" hasCustomPrompt="1"/>
            <p:custDataLst>
              <p:tags r:id="rId6"/>
            </p:custDataLst>
          </p:nvPr>
        </p:nvSpPr>
        <p:spPr>
          <a:xfrm>
            <a:off x="898524"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1</a:t>
            </a:r>
            <a:endParaRPr lang="pl-PL" dirty="0"/>
          </a:p>
        </p:txBody>
      </p:sp>
      <p:sp>
        <p:nvSpPr>
          <p:cNvPr id="4" name="Textplatzhalter 6">
            <a:extLst>
              <a:ext uri="{FF2B5EF4-FFF2-40B4-BE49-F238E27FC236}">
                <a16:creationId xmlns:a16="http://schemas.microsoft.com/office/drawing/2014/main" id="{DBC0ACC7-BA64-1C54-B81D-F70D829D4B22}"/>
              </a:ext>
            </a:extLst>
          </p:cNvPr>
          <p:cNvSpPr>
            <a:spLocks noGrp="1"/>
          </p:cNvSpPr>
          <p:nvPr>
            <p:ph type="body" sz="quarter" idx="22" hasCustomPrompt="1"/>
            <p:custDataLst>
              <p:tags r:id="rId7"/>
            </p:custDataLst>
          </p:nvPr>
        </p:nvSpPr>
        <p:spPr>
          <a:xfrm>
            <a:off x="4664483"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2</a:t>
            </a:r>
            <a:endParaRPr lang="pl-PL" dirty="0"/>
          </a:p>
        </p:txBody>
      </p:sp>
      <p:sp>
        <p:nvSpPr>
          <p:cNvPr id="9" name="Textplatzhalter 7">
            <a:extLst>
              <a:ext uri="{FF2B5EF4-FFF2-40B4-BE49-F238E27FC236}">
                <a16:creationId xmlns:a16="http://schemas.microsoft.com/office/drawing/2014/main" id="{7675383B-55F7-9443-83C5-8D39DDE26CCA}"/>
              </a:ext>
            </a:extLst>
          </p:cNvPr>
          <p:cNvSpPr>
            <a:spLocks noGrp="1"/>
          </p:cNvSpPr>
          <p:nvPr>
            <p:ph type="body" sz="quarter" idx="23" hasCustomPrompt="1"/>
            <p:custDataLst>
              <p:tags r:id="rId8"/>
            </p:custDataLst>
          </p:nvPr>
        </p:nvSpPr>
        <p:spPr>
          <a:xfrm>
            <a:off x="8430442"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3</a:t>
            </a:r>
            <a:endParaRPr lang="pl-PL" dirty="0"/>
          </a:p>
        </p:txBody>
      </p:sp>
      <p:sp>
        <p:nvSpPr>
          <p:cNvPr id="10" name="Datumsplatzhalter 9">
            <a:extLst>
              <a:ext uri="{FF2B5EF4-FFF2-40B4-BE49-F238E27FC236}">
                <a16:creationId xmlns:a16="http://schemas.microsoft.com/office/drawing/2014/main" id="{2131BAEC-BDDE-F0A3-183E-6AD8FA51BD2B}"/>
              </a:ext>
            </a:extLst>
          </p:cNvPr>
          <p:cNvSpPr>
            <a:spLocks noGrp="1"/>
          </p:cNvSpPr>
          <p:nvPr>
            <p:ph type="dt" sz="half" idx="24"/>
            <p:custDataLst>
              <p:tags r:id="rId9"/>
            </p:custDataLst>
          </p:nvPr>
        </p:nvSpPr>
        <p:spPr>
          <a:xfrm>
            <a:off x="10756401" y="6470705"/>
            <a:ext cx="1080000" cy="281691"/>
          </a:xfrm>
        </p:spPr>
        <p:txBody>
          <a:bodyPr/>
          <a:lstStyle/>
          <a:p>
            <a:r>
              <a:rPr lang="en-US"/>
              <a:t>01.08.2023</a:t>
            </a:r>
            <a:endParaRPr lang="pl-PL" dirty="0"/>
          </a:p>
        </p:txBody>
      </p:sp>
      <p:sp>
        <p:nvSpPr>
          <p:cNvPr id="12" name="Fußzeilenplatzhalter 11">
            <a:extLst>
              <a:ext uri="{FF2B5EF4-FFF2-40B4-BE49-F238E27FC236}">
                <a16:creationId xmlns:a16="http://schemas.microsoft.com/office/drawing/2014/main" id="{92EFBB85-64D5-9BAC-593E-E211B8834FDC}"/>
              </a:ext>
            </a:extLst>
          </p:cNvPr>
          <p:cNvSpPr>
            <a:spLocks noGrp="1"/>
          </p:cNvSpPr>
          <p:nvPr>
            <p:ph type="ftr" sz="quarter" idx="25"/>
            <p:custDataLst>
              <p:tags r:id="rId10"/>
            </p:custDataLst>
          </p:nvPr>
        </p:nvSpPr>
        <p:spPr/>
        <p:txBody>
          <a:bodyPr/>
          <a:lstStyle/>
          <a:p>
            <a:r>
              <a:rPr lang="pl-PL"/>
              <a:t>Najważniejsze informacje o dawstwie szpiku - Prezentacja w ramach projektu #KOMÓRKOMANIA | C1 - publiczna</a:t>
            </a:r>
            <a:endParaRPr lang="pl-PL" dirty="0"/>
          </a:p>
        </p:txBody>
      </p:sp>
      <p:sp>
        <p:nvSpPr>
          <p:cNvPr id="13" name="Foliennummernplatzhalter 12">
            <a:extLst>
              <a:ext uri="{FF2B5EF4-FFF2-40B4-BE49-F238E27FC236}">
                <a16:creationId xmlns:a16="http://schemas.microsoft.com/office/drawing/2014/main" id="{E565B96F-E7C1-37B1-9F87-1BEB3DA9BCE6}"/>
              </a:ext>
            </a:extLst>
          </p:cNvPr>
          <p:cNvSpPr>
            <a:spLocks noGrp="1"/>
          </p:cNvSpPr>
          <p:nvPr>
            <p:ph type="sldNum" sz="quarter" idx="26"/>
            <p:custDataLst>
              <p:tags r:id="rId11"/>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42938287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con + 2 text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1049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2530365"/>
            <a:ext cx="4579325" cy="3608254"/>
          </a:xfrm>
        </p:spPr>
        <p:txBody>
          <a:bodyPr/>
          <a:lstStyle>
            <a:lvl4pPr>
              <a:defRPr/>
            </a:lvl4pPr>
          </a:lstStyle>
          <a:p>
            <a:pPr lvl="0"/>
            <a:r>
              <a:rPr lang="pl-PL" noProof="0"/>
              <a:t>Please format the text via the List Level button</a:t>
            </a:r>
          </a:p>
          <a:p>
            <a:pPr lvl="1"/>
            <a:r>
              <a:rPr lang="pl-PL" noProof="0"/>
              <a:t>Zweite Ebene</a:t>
            </a:r>
          </a:p>
          <a:p>
            <a:pPr lvl="2"/>
            <a:r>
              <a:rPr lang="pl-PL" noProof="0"/>
              <a:t>Dritte Ebene</a:t>
            </a:r>
          </a:p>
          <a:p>
            <a:pPr lvl="3"/>
            <a:r>
              <a:rPr lang="pl-PL" noProof="0"/>
              <a:t>Vierte Ebene</a:t>
            </a:r>
          </a:p>
          <a:p>
            <a:pPr lvl="4"/>
            <a:endParaRPr lang="pl-PL" noProof="0" dirty="0"/>
          </a:p>
        </p:txBody>
      </p:sp>
      <p:sp>
        <p:nvSpPr>
          <p:cNvPr id="2" name="Textplatzhalter 4">
            <a:extLst>
              <a:ext uri="{FF2B5EF4-FFF2-40B4-BE49-F238E27FC236}">
                <a16:creationId xmlns:a16="http://schemas.microsoft.com/office/drawing/2014/main" id="{573132D7-C1E6-CE3D-AB69-2FF427881485}"/>
              </a:ext>
            </a:extLst>
          </p:cNvPr>
          <p:cNvSpPr>
            <a:spLocks noGrp="1"/>
          </p:cNvSpPr>
          <p:nvPr>
            <p:ph type="body" sz="quarter" idx="19" hasCustomPrompt="1"/>
            <p:custDataLst>
              <p:tags r:id="rId3"/>
            </p:custDataLst>
          </p:nvPr>
        </p:nvSpPr>
        <p:spPr>
          <a:xfrm>
            <a:off x="5841025" y="2530365"/>
            <a:ext cx="4579325" cy="3608254"/>
          </a:xfrm>
        </p:spPr>
        <p:txBody>
          <a:bodyPr/>
          <a:lstStyle/>
          <a:p>
            <a:pPr lvl="0"/>
            <a:r>
              <a:rPr lang="pl-PL" noProof="0"/>
              <a:t>Please format the text via the List Level button</a:t>
            </a:r>
          </a:p>
          <a:p>
            <a:pPr lvl="1"/>
            <a:r>
              <a:rPr lang="pl-PL" noProof="0"/>
              <a:t>Zweite Ebene</a:t>
            </a:r>
          </a:p>
          <a:p>
            <a:pPr lvl="2"/>
            <a:r>
              <a:rPr lang="pl-PL" noProof="0"/>
              <a:t>Dritte Ebene</a:t>
            </a:r>
          </a:p>
          <a:p>
            <a:pPr lvl="3"/>
            <a:r>
              <a:rPr lang="pl-PL" noProof="0"/>
              <a:t>Vierte Ebene</a:t>
            </a:r>
            <a:endParaRPr lang="pl-PL" noProof="0" dirty="0"/>
          </a:p>
        </p:txBody>
      </p:sp>
      <p:sp>
        <p:nvSpPr>
          <p:cNvPr id="8" name="Bildplatzhalter 10">
            <a:extLst>
              <a:ext uri="{FF2B5EF4-FFF2-40B4-BE49-F238E27FC236}">
                <a16:creationId xmlns:a16="http://schemas.microsoft.com/office/drawing/2014/main" id="{3F27ABB9-2BC7-F83C-DB75-0BB6A720EB71}"/>
              </a:ext>
            </a:extLst>
          </p:cNvPr>
          <p:cNvSpPr>
            <a:spLocks noGrp="1"/>
          </p:cNvSpPr>
          <p:nvPr>
            <p:ph type="pic" sz="quarter" idx="20" hasCustomPrompt="1"/>
            <p:custDataLst>
              <p:tags r:id="rId4"/>
            </p:custDataLst>
          </p:nvPr>
        </p:nvSpPr>
        <p:spPr>
          <a:xfrm>
            <a:off x="898524" y="1548000"/>
            <a:ext cx="651739" cy="654074"/>
          </a:xfrm>
          <a:prstGeom prst="ellipse">
            <a:avLst/>
          </a:prstGeom>
          <a:solidFill>
            <a:schemeClr val="accent2"/>
          </a:solidFill>
          <a:ln w="152400">
            <a:noFill/>
          </a:ln>
        </p:spPr>
        <p:txBody>
          <a:bodyPr/>
          <a:lstStyle>
            <a:lvl1pPr>
              <a:defRPr sz="1000"/>
            </a:lvl1pPr>
          </a:lstStyle>
          <a:p>
            <a:r>
              <a:rPr lang="pl-PL" noProof="0"/>
              <a:t>Icon</a:t>
            </a:r>
            <a:endParaRPr lang="pl-PL" noProof="0" dirty="0"/>
          </a:p>
        </p:txBody>
      </p:sp>
      <p:sp>
        <p:nvSpPr>
          <p:cNvPr id="9" name="Bildplatzhalter 10">
            <a:extLst>
              <a:ext uri="{FF2B5EF4-FFF2-40B4-BE49-F238E27FC236}">
                <a16:creationId xmlns:a16="http://schemas.microsoft.com/office/drawing/2014/main" id="{D3137261-A75E-C820-5721-9E753BB92919}"/>
              </a:ext>
            </a:extLst>
          </p:cNvPr>
          <p:cNvSpPr>
            <a:spLocks noGrp="1"/>
          </p:cNvSpPr>
          <p:nvPr>
            <p:ph type="pic" sz="quarter" idx="21" hasCustomPrompt="1"/>
            <p:custDataLst>
              <p:tags r:id="rId5"/>
            </p:custDataLst>
          </p:nvPr>
        </p:nvSpPr>
        <p:spPr>
          <a:xfrm>
            <a:off x="5841025" y="1548000"/>
            <a:ext cx="651739" cy="654074"/>
          </a:xfrm>
          <a:prstGeom prst="ellipse">
            <a:avLst/>
          </a:prstGeom>
          <a:solidFill>
            <a:schemeClr val="accent2"/>
          </a:solidFill>
          <a:ln w="152400">
            <a:noFill/>
          </a:ln>
        </p:spPr>
        <p:txBody>
          <a:bodyPr/>
          <a:lstStyle>
            <a:lvl1pPr>
              <a:defRPr sz="1000"/>
            </a:lvl1pPr>
          </a:lstStyle>
          <a:p>
            <a:r>
              <a:rPr lang="pl-PL" noProof="0"/>
              <a:t>Icon</a:t>
            </a:r>
            <a:endParaRPr lang="pl-PL" noProof="0" dirty="0"/>
          </a:p>
        </p:txBody>
      </p:sp>
      <p:sp>
        <p:nvSpPr>
          <p:cNvPr id="3" name="Titel 2">
            <a:extLst>
              <a:ext uri="{FF2B5EF4-FFF2-40B4-BE49-F238E27FC236}">
                <a16:creationId xmlns:a16="http://schemas.microsoft.com/office/drawing/2014/main" id="{653AAB35-0A88-73DB-6D8B-7171CAC5EFD2}"/>
              </a:ext>
            </a:extLst>
          </p:cNvPr>
          <p:cNvSpPr>
            <a:spLocks noGrp="1"/>
          </p:cNvSpPr>
          <p:nvPr>
            <p:ph type="title" hasCustomPrompt="1"/>
            <p:custDataLst>
              <p:tags r:id="rId6"/>
            </p:custDataLst>
          </p:nvPr>
        </p:nvSpPr>
        <p:spPr/>
        <p:txBody>
          <a:bodyPr/>
          <a:lstStyle>
            <a:lvl1pPr>
              <a:defRPr/>
            </a:lvl1pPr>
          </a:lstStyle>
          <a:p>
            <a:r>
              <a:rPr lang="pl-PL" noProof="0"/>
              <a:t>Headline</a:t>
            </a:r>
            <a:endParaRPr lang="pl-PL" noProof="0" dirty="0"/>
          </a:p>
        </p:txBody>
      </p:sp>
      <p:sp>
        <p:nvSpPr>
          <p:cNvPr id="13" name="Datumsplatzhalter 12">
            <a:extLst>
              <a:ext uri="{FF2B5EF4-FFF2-40B4-BE49-F238E27FC236}">
                <a16:creationId xmlns:a16="http://schemas.microsoft.com/office/drawing/2014/main" id="{606DCF55-C9CC-4D0B-33B3-EB6C53F98408}"/>
              </a:ext>
            </a:extLst>
          </p:cNvPr>
          <p:cNvSpPr>
            <a:spLocks noGrp="1"/>
          </p:cNvSpPr>
          <p:nvPr>
            <p:ph type="dt" sz="half" idx="22"/>
            <p:custDataLst>
              <p:tags r:id="rId7"/>
            </p:custDataLst>
          </p:nvPr>
        </p:nvSpPr>
        <p:spPr/>
        <p:txBody>
          <a:bodyPr/>
          <a:lstStyle/>
          <a:p>
            <a:r>
              <a:rPr lang="en-US" noProof="0"/>
              <a:t>01.08.2023</a:t>
            </a:r>
            <a:endParaRPr lang="pl-PL" noProof="0" dirty="0"/>
          </a:p>
        </p:txBody>
      </p:sp>
      <p:sp>
        <p:nvSpPr>
          <p:cNvPr id="14" name="Fußzeilenplatzhalter 13">
            <a:extLst>
              <a:ext uri="{FF2B5EF4-FFF2-40B4-BE49-F238E27FC236}">
                <a16:creationId xmlns:a16="http://schemas.microsoft.com/office/drawing/2014/main" id="{52B879D8-88BD-8D62-622A-2874E48B6C05}"/>
              </a:ext>
            </a:extLst>
          </p:cNvPr>
          <p:cNvSpPr>
            <a:spLocks noGrp="1"/>
          </p:cNvSpPr>
          <p:nvPr>
            <p:ph type="ftr" sz="quarter" idx="23"/>
            <p:custDataLst>
              <p:tags r:id="rId8"/>
            </p:custDataLst>
          </p:nvPr>
        </p:nvSpPr>
        <p:spPr/>
        <p:txBody>
          <a:bodyPr/>
          <a:lstStyle/>
          <a:p>
            <a:r>
              <a:rPr lang="pl-PL" noProof="0"/>
              <a:t>Najważniejsze informacje o dawstwie szpiku - Prezentacja w ramach projektu #KOMÓRKOMANIA | C1 - publiczna</a:t>
            </a:r>
            <a:endParaRPr lang="pl-PL" noProof="0" dirty="0"/>
          </a:p>
        </p:txBody>
      </p:sp>
      <p:sp>
        <p:nvSpPr>
          <p:cNvPr id="15" name="Foliennummernplatzhalter 14">
            <a:extLst>
              <a:ext uri="{FF2B5EF4-FFF2-40B4-BE49-F238E27FC236}">
                <a16:creationId xmlns:a16="http://schemas.microsoft.com/office/drawing/2014/main" id="{F8EC6142-2C4F-DEA0-3D92-2E3FAEDAA129}"/>
              </a:ext>
            </a:extLst>
          </p:cNvPr>
          <p:cNvSpPr>
            <a:spLocks noGrp="1"/>
          </p:cNvSpPr>
          <p:nvPr>
            <p:ph type="sldNum" sz="quarter" idx="24"/>
            <p:custDataLst>
              <p:tags r:id="rId9"/>
            </p:custDataLst>
          </p:nvPr>
        </p:nvSpPr>
        <p:spPr/>
        <p:txBody>
          <a:bodyPr/>
          <a:lstStyle/>
          <a:p>
            <a:fld id="{92DB0D90-6264-4E90-9724-ABC670DBF4FB}" type="slidenum">
              <a:rPr lang="pl-PL" noProof="0" smtClean="0"/>
              <a:pPr/>
              <a:t>‹#›</a:t>
            </a:fld>
            <a:endParaRPr lang="pl-PL" noProof="0" dirty="0"/>
          </a:p>
        </p:txBody>
      </p:sp>
    </p:spTree>
    <p:extLst>
      <p:ext uri="{BB962C8B-B14F-4D97-AF65-F5344CB8AC3E}">
        <p14:creationId xmlns:p14="http://schemas.microsoft.com/office/powerpoint/2010/main" val="113546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icon + 2 text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1049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2530365"/>
            <a:ext cx="4579325" cy="3608254"/>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2" name="Textplatzhalter 4">
            <a:extLst>
              <a:ext uri="{FF2B5EF4-FFF2-40B4-BE49-F238E27FC236}">
                <a16:creationId xmlns:a16="http://schemas.microsoft.com/office/drawing/2014/main" id="{573132D7-C1E6-CE3D-AB69-2FF427881485}"/>
              </a:ext>
            </a:extLst>
          </p:cNvPr>
          <p:cNvSpPr>
            <a:spLocks noGrp="1"/>
          </p:cNvSpPr>
          <p:nvPr>
            <p:ph type="body" sz="quarter" idx="19" hasCustomPrompt="1"/>
            <p:custDataLst>
              <p:tags r:id="rId3"/>
            </p:custDataLst>
          </p:nvPr>
        </p:nvSpPr>
        <p:spPr>
          <a:xfrm>
            <a:off x="5841025" y="2530365"/>
            <a:ext cx="4579325" cy="3608254"/>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4" name="Ellipse 3">
            <a:extLst>
              <a:ext uri="{FF2B5EF4-FFF2-40B4-BE49-F238E27FC236}">
                <a16:creationId xmlns:a16="http://schemas.microsoft.com/office/drawing/2014/main" id="{1A2D6186-4E26-9FBC-0596-545AAADB12D8}"/>
              </a:ext>
            </a:extLst>
          </p:cNvPr>
          <p:cNvSpPr/>
          <p:nvPr userDrawn="1">
            <p:custDataLst>
              <p:tags r:id="rId4"/>
            </p:custDataLst>
          </p:nvPr>
        </p:nvSpPr>
        <p:spPr>
          <a:xfrm>
            <a:off x="898524" y="1548000"/>
            <a:ext cx="651739" cy="65407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6" name="Ellipse 5">
            <a:extLst>
              <a:ext uri="{FF2B5EF4-FFF2-40B4-BE49-F238E27FC236}">
                <a16:creationId xmlns:a16="http://schemas.microsoft.com/office/drawing/2014/main" id="{AC4CDB54-0307-4CB9-B330-A101A8AECB82}"/>
              </a:ext>
            </a:extLst>
          </p:cNvPr>
          <p:cNvSpPr/>
          <p:nvPr userDrawn="1">
            <p:custDataLst>
              <p:tags r:id="rId5"/>
            </p:custDataLst>
          </p:nvPr>
        </p:nvSpPr>
        <p:spPr>
          <a:xfrm>
            <a:off x="5841025" y="1548000"/>
            <a:ext cx="651739" cy="65407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3" name="Titel 2">
            <a:extLst>
              <a:ext uri="{FF2B5EF4-FFF2-40B4-BE49-F238E27FC236}">
                <a16:creationId xmlns:a16="http://schemas.microsoft.com/office/drawing/2014/main" id="{653AAB35-0A88-73DB-6D8B-7171CAC5EFD2}"/>
              </a:ext>
            </a:extLst>
          </p:cNvPr>
          <p:cNvSpPr>
            <a:spLocks noGrp="1"/>
          </p:cNvSpPr>
          <p:nvPr>
            <p:ph type="title" hasCustomPrompt="1"/>
            <p:custDataLst>
              <p:tags r:id="rId6"/>
            </p:custDataLst>
          </p:nvPr>
        </p:nvSpPr>
        <p:spPr/>
        <p:txBody>
          <a:bodyPr/>
          <a:lstStyle>
            <a:lvl1pPr>
              <a:defRPr/>
            </a:lvl1pPr>
          </a:lstStyle>
          <a:p>
            <a:r>
              <a:rPr lang="pl-PL"/>
              <a:t>Headline</a:t>
            </a:r>
            <a:endParaRPr lang="pl-PL" dirty="0"/>
          </a:p>
        </p:txBody>
      </p:sp>
      <p:sp>
        <p:nvSpPr>
          <p:cNvPr id="13" name="Datumsplatzhalter 12">
            <a:extLst>
              <a:ext uri="{FF2B5EF4-FFF2-40B4-BE49-F238E27FC236}">
                <a16:creationId xmlns:a16="http://schemas.microsoft.com/office/drawing/2014/main" id="{606DCF55-C9CC-4D0B-33B3-EB6C53F98408}"/>
              </a:ext>
            </a:extLst>
          </p:cNvPr>
          <p:cNvSpPr>
            <a:spLocks noGrp="1"/>
          </p:cNvSpPr>
          <p:nvPr>
            <p:ph type="dt" sz="half" idx="22"/>
            <p:custDataLst>
              <p:tags r:id="rId7"/>
            </p:custDataLst>
          </p:nvPr>
        </p:nvSpPr>
        <p:spPr/>
        <p:txBody>
          <a:bodyPr/>
          <a:lstStyle/>
          <a:p>
            <a:r>
              <a:rPr lang="en-US"/>
              <a:t>01.08.2023</a:t>
            </a:r>
            <a:endParaRPr lang="pl-PL" dirty="0"/>
          </a:p>
        </p:txBody>
      </p:sp>
      <p:sp>
        <p:nvSpPr>
          <p:cNvPr id="14" name="Fußzeilenplatzhalter 13">
            <a:extLst>
              <a:ext uri="{FF2B5EF4-FFF2-40B4-BE49-F238E27FC236}">
                <a16:creationId xmlns:a16="http://schemas.microsoft.com/office/drawing/2014/main" id="{52B879D8-88BD-8D62-622A-2874E48B6C05}"/>
              </a:ext>
            </a:extLst>
          </p:cNvPr>
          <p:cNvSpPr>
            <a:spLocks noGrp="1"/>
          </p:cNvSpPr>
          <p:nvPr>
            <p:ph type="ftr" sz="quarter" idx="23"/>
            <p:custDataLst>
              <p:tags r:id="rId8"/>
            </p:custDataLst>
          </p:nvPr>
        </p:nvSpPr>
        <p:spPr/>
        <p:txBody>
          <a:bodyPr/>
          <a:lstStyle/>
          <a:p>
            <a:r>
              <a:rPr lang="pl-PL"/>
              <a:t>Najważniejsze informacje o dawstwie szpiku - Prezentacja w ramach projektu #KOMÓRKOMANIA | C1 - publiczna</a:t>
            </a:r>
            <a:endParaRPr lang="pl-PL" dirty="0"/>
          </a:p>
        </p:txBody>
      </p:sp>
      <p:sp>
        <p:nvSpPr>
          <p:cNvPr id="15" name="Foliennummernplatzhalter 14">
            <a:extLst>
              <a:ext uri="{FF2B5EF4-FFF2-40B4-BE49-F238E27FC236}">
                <a16:creationId xmlns:a16="http://schemas.microsoft.com/office/drawing/2014/main" id="{F8EC6142-2C4F-DEA0-3D92-2E3FAEDAA129}"/>
              </a:ext>
            </a:extLst>
          </p:cNvPr>
          <p:cNvSpPr>
            <a:spLocks noGrp="1"/>
          </p:cNvSpPr>
          <p:nvPr>
            <p:ph type="sldNum" sz="quarter" idx="24"/>
            <p:custDataLst>
              <p:tags r:id="rId9"/>
            </p:custDataLst>
          </p:nvPr>
        </p:nvSpPr>
        <p:spPr/>
        <p:txBody>
          <a:bodyPr/>
          <a:lstStyle/>
          <a:p>
            <a:fld id="{92DB0D90-6264-4E90-9724-ABC670DBF4FB}" type="slidenum">
              <a:rPr lang="pl-PL" smtClean="0"/>
              <a:pPr/>
              <a:t>‹#›</a:t>
            </a:fld>
            <a:endParaRPr lang="pl-PL" dirty="0"/>
          </a:p>
        </p:txBody>
      </p:sp>
      <p:sp>
        <p:nvSpPr>
          <p:cNvPr id="16" name="Freihandform: Form 15">
            <a:extLst>
              <a:ext uri="{FF2B5EF4-FFF2-40B4-BE49-F238E27FC236}">
                <a16:creationId xmlns:a16="http://schemas.microsoft.com/office/drawing/2014/main" id="{7DCB74A7-0A71-EF38-6E6A-C90333C0A870}"/>
              </a:ext>
            </a:extLst>
          </p:cNvPr>
          <p:cNvSpPr/>
          <p:nvPr userDrawn="1">
            <p:custDataLst>
              <p:tags r:id="rId10"/>
            </p:custDataLst>
          </p:nvPr>
        </p:nvSpPr>
        <p:spPr>
          <a:xfrm>
            <a:off x="984912" y="1634698"/>
            <a:ext cx="478963" cy="480678"/>
          </a:xfrm>
          <a:custGeom>
            <a:avLst/>
            <a:gdLst>
              <a:gd name="connsiteX0" fmla="*/ 199207 w 478963"/>
              <a:gd name="connsiteY0" fmla="*/ 0 h 480678"/>
              <a:gd name="connsiteX1" fmla="*/ 279756 w 478963"/>
              <a:gd name="connsiteY1" fmla="*/ 0 h 480678"/>
              <a:gd name="connsiteX2" fmla="*/ 279756 w 478963"/>
              <a:gd name="connsiteY2" fmla="*/ 200065 h 480678"/>
              <a:gd name="connsiteX3" fmla="*/ 478963 w 478963"/>
              <a:gd name="connsiteY3" fmla="*/ 200065 h 480678"/>
              <a:gd name="connsiteX4" fmla="*/ 478963 w 478963"/>
              <a:gd name="connsiteY4" fmla="*/ 280613 h 480678"/>
              <a:gd name="connsiteX5" fmla="*/ 279756 w 478963"/>
              <a:gd name="connsiteY5" fmla="*/ 280613 h 480678"/>
              <a:gd name="connsiteX6" fmla="*/ 279756 w 478963"/>
              <a:gd name="connsiteY6" fmla="*/ 480678 h 480678"/>
              <a:gd name="connsiteX7" fmla="*/ 199207 w 478963"/>
              <a:gd name="connsiteY7" fmla="*/ 480678 h 480678"/>
              <a:gd name="connsiteX8" fmla="*/ 199207 w 478963"/>
              <a:gd name="connsiteY8" fmla="*/ 280613 h 480678"/>
              <a:gd name="connsiteX9" fmla="*/ 0 w 478963"/>
              <a:gd name="connsiteY9" fmla="*/ 280613 h 480678"/>
              <a:gd name="connsiteX10" fmla="*/ 0 w 478963"/>
              <a:gd name="connsiteY10" fmla="*/ 200065 h 480678"/>
              <a:gd name="connsiteX11" fmla="*/ 199207 w 478963"/>
              <a:gd name="connsiteY11" fmla="*/ 200065 h 48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8963" h="480678">
                <a:moveTo>
                  <a:pt x="199207" y="0"/>
                </a:moveTo>
                <a:lnTo>
                  <a:pt x="279756" y="0"/>
                </a:lnTo>
                <a:lnTo>
                  <a:pt x="279756" y="200065"/>
                </a:lnTo>
                <a:lnTo>
                  <a:pt x="478963" y="200065"/>
                </a:lnTo>
                <a:lnTo>
                  <a:pt x="478963" y="280613"/>
                </a:lnTo>
                <a:lnTo>
                  <a:pt x="279756" y="280613"/>
                </a:lnTo>
                <a:lnTo>
                  <a:pt x="279756" y="480678"/>
                </a:lnTo>
                <a:lnTo>
                  <a:pt x="199207" y="480678"/>
                </a:lnTo>
                <a:lnTo>
                  <a:pt x="199207" y="280613"/>
                </a:lnTo>
                <a:lnTo>
                  <a:pt x="0" y="280613"/>
                </a:lnTo>
                <a:lnTo>
                  <a:pt x="0" y="200065"/>
                </a:lnTo>
                <a:lnTo>
                  <a:pt x="199207" y="20006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0" name="Additionszeichen 9">
            <a:extLst>
              <a:ext uri="{FF2B5EF4-FFF2-40B4-BE49-F238E27FC236}">
                <a16:creationId xmlns:a16="http://schemas.microsoft.com/office/drawing/2014/main" id="{76A18379-DE10-ECAA-C390-371C2C18DF30}"/>
              </a:ext>
            </a:extLst>
          </p:cNvPr>
          <p:cNvSpPr/>
          <p:nvPr userDrawn="1">
            <p:custDataLst>
              <p:tags r:id="rId11"/>
            </p:custDataLst>
          </p:nvPr>
        </p:nvSpPr>
        <p:spPr>
          <a:xfrm>
            <a:off x="5927413" y="1834763"/>
            <a:ext cx="478963" cy="80548"/>
          </a:xfrm>
          <a:custGeom>
            <a:avLst/>
            <a:gdLst>
              <a:gd name="connsiteX0" fmla="*/ 86388 w 651739"/>
              <a:gd name="connsiteY0" fmla="*/ 286763 h 654074"/>
              <a:gd name="connsiteX1" fmla="*/ 285595 w 651739"/>
              <a:gd name="connsiteY1" fmla="*/ 286763 h 654074"/>
              <a:gd name="connsiteX2" fmla="*/ 285595 w 651739"/>
              <a:gd name="connsiteY2" fmla="*/ 86698 h 654074"/>
              <a:gd name="connsiteX3" fmla="*/ 366144 w 651739"/>
              <a:gd name="connsiteY3" fmla="*/ 86698 h 654074"/>
              <a:gd name="connsiteX4" fmla="*/ 366144 w 651739"/>
              <a:gd name="connsiteY4" fmla="*/ 286763 h 654074"/>
              <a:gd name="connsiteX5" fmla="*/ 565351 w 651739"/>
              <a:gd name="connsiteY5" fmla="*/ 286763 h 654074"/>
              <a:gd name="connsiteX6" fmla="*/ 565351 w 651739"/>
              <a:gd name="connsiteY6" fmla="*/ 367311 h 654074"/>
              <a:gd name="connsiteX7" fmla="*/ 366144 w 651739"/>
              <a:gd name="connsiteY7" fmla="*/ 367311 h 654074"/>
              <a:gd name="connsiteX8" fmla="*/ 366144 w 651739"/>
              <a:gd name="connsiteY8" fmla="*/ 567376 h 654074"/>
              <a:gd name="connsiteX9" fmla="*/ 285595 w 651739"/>
              <a:gd name="connsiteY9" fmla="*/ 567376 h 654074"/>
              <a:gd name="connsiteX10" fmla="*/ 285595 w 651739"/>
              <a:gd name="connsiteY10" fmla="*/ 367311 h 654074"/>
              <a:gd name="connsiteX11" fmla="*/ 86388 w 651739"/>
              <a:gd name="connsiteY11" fmla="*/ 367311 h 654074"/>
              <a:gd name="connsiteX12" fmla="*/ 86388 w 651739"/>
              <a:gd name="connsiteY12" fmla="*/ 286763 h 654074"/>
              <a:gd name="connsiteX0" fmla="*/ 0 w 478963"/>
              <a:gd name="connsiteY0" fmla="*/ 200065 h 480678"/>
              <a:gd name="connsiteX1" fmla="*/ 199207 w 478963"/>
              <a:gd name="connsiteY1" fmla="*/ 200065 h 480678"/>
              <a:gd name="connsiteX2" fmla="*/ 279756 w 478963"/>
              <a:gd name="connsiteY2" fmla="*/ 0 h 480678"/>
              <a:gd name="connsiteX3" fmla="*/ 279756 w 478963"/>
              <a:gd name="connsiteY3" fmla="*/ 200065 h 480678"/>
              <a:gd name="connsiteX4" fmla="*/ 478963 w 478963"/>
              <a:gd name="connsiteY4" fmla="*/ 200065 h 480678"/>
              <a:gd name="connsiteX5" fmla="*/ 478963 w 478963"/>
              <a:gd name="connsiteY5" fmla="*/ 280613 h 480678"/>
              <a:gd name="connsiteX6" fmla="*/ 279756 w 478963"/>
              <a:gd name="connsiteY6" fmla="*/ 280613 h 480678"/>
              <a:gd name="connsiteX7" fmla="*/ 279756 w 478963"/>
              <a:gd name="connsiteY7" fmla="*/ 480678 h 480678"/>
              <a:gd name="connsiteX8" fmla="*/ 199207 w 478963"/>
              <a:gd name="connsiteY8" fmla="*/ 480678 h 480678"/>
              <a:gd name="connsiteX9" fmla="*/ 199207 w 478963"/>
              <a:gd name="connsiteY9" fmla="*/ 280613 h 480678"/>
              <a:gd name="connsiteX10" fmla="*/ 0 w 478963"/>
              <a:gd name="connsiteY10" fmla="*/ 280613 h 480678"/>
              <a:gd name="connsiteX11" fmla="*/ 0 w 478963"/>
              <a:gd name="connsiteY11" fmla="*/ 200065 h 480678"/>
              <a:gd name="connsiteX0" fmla="*/ 0 w 478963"/>
              <a:gd name="connsiteY0" fmla="*/ 0 h 280613"/>
              <a:gd name="connsiteX1" fmla="*/ 199207 w 478963"/>
              <a:gd name="connsiteY1" fmla="*/ 0 h 280613"/>
              <a:gd name="connsiteX2" fmla="*/ 279756 w 478963"/>
              <a:gd name="connsiteY2" fmla="*/ 0 h 280613"/>
              <a:gd name="connsiteX3" fmla="*/ 478963 w 478963"/>
              <a:gd name="connsiteY3" fmla="*/ 0 h 280613"/>
              <a:gd name="connsiteX4" fmla="*/ 478963 w 478963"/>
              <a:gd name="connsiteY4" fmla="*/ 80548 h 280613"/>
              <a:gd name="connsiteX5" fmla="*/ 279756 w 478963"/>
              <a:gd name="connsiteY5" fmla="*/ 80548 h 280613"/>
              <a:gd name="connsiteX6" fmla="*/ 279756 w 478963"/>
              <a:gd name="connsiteY6" fmla="*/ 280613 h 280613"/>
              <a:gd name="connsiteX7" fmla="*/ 199207 w 478963"/>
              <a:gd name="connsiteY7" fmla="*/ 280613 h 280613"/>
              <a:gd name="connsiteX8" fmla="*/ 199207 w 478963"/>
              <a:gd name="connsiteY8" fmla="*/ 80548 h 280613"/>
              <a:gd name="connsiteX9" fmla="*/ 0 w 478963"/>
              <a:gd name="connsiteY9" fmla="*/ 80548 h 280613"/>
              <a:gd name="connsiteX10" fmla="*/ 0 w 478963"/>
              <a:gd name="connsiteY10" fmla="*/ 0 h 280613"/>
              <a:gd name="connsiteX0" fmla="*/ 0 w 478963"/>
              <a:gd name="connsiteY0" fmla="*/ 0 h 280613"/>
              <a:gd name="connsiteX1" fmla="*/ 199207 w 478963"/>
              <a:gd name="connsiteY1" fmla="*/ 0 h 280613"/>
              <a:gd name="connsiteX2" fmla="*/ 279756 w 478963"/>
              <a:gd name="connsiteY2" fmla="*/ 0 h 280613"/>
              <a:gd name="connsiteX3" fmla="*/ 478963 w 478963"/>
              <a:gd name="connsiteY3" fmla="*/ 0 h 280613"/>
              <a:gd name="connsiteX4" fmla="*/ 478963 w 478963"/>
              <a:gd name="connsiteY4" fmla="*/ 80548 h 280613"/>
              <a:gd name="connsiteX5" fmla="*/ 279756 w 478963"/>
              <a:gd name="connsiteY5" fmla="*/ 80548 h 280613"/>
              <a:gd name="connsiteX6" fmla="*/ 199207 w 478963"/>
              <a:gd name="connsiteY6" fmla="*/ 280613 h 280613"/>
              <a:gd name="connsiteX7" fmla="*/ 199207 w 478963"/>
              <a:gd name="connsiteY7" fmla="*/ 80548 h 280613"/>
              <a:gd name="connsiteX8" fmla="*/ 0 w 478963"/>
              <a:gd name="connsiteY8" fmla="*/ 80548 h 280613"/>
              <a:gd name="connsiteX9" fmla="*/ 0 w 478963"/>
              <a:gd name="connsiteY9" fmla="*/ 0 h 280613"/>
              <a:gd name="connsiteX0" fmla="*/ 0 w 478963"/>
              <a:gd name="connsiteY0" fmla="*/ 0 h 80548"/>
              <a:gd name="connsiteX1" fmla="*/ 199207 w 478963"/>
              <a:gd name="connsiteY1" fmla="*/ 0 h 80548"/>
              <a:gd name="connsiteX2" fmla="*/ 279756 w 478963"/>
              <a:gd name="connsiteY2" fmla="*/ 0 h 80548"/>
              <a:gd name="connsiteX3" fmla="*/ 478963 w 478963"/>
              <a:gd name="connsiteY3" fmla="*/ 0 h 80548"/>
              <a:gd name="connsiteX4" fmla="*/ 478963 w 478963"/>
              <a:gd name="connsiteY4" fmla="*/ 80548 h 80548"/>
              <a:gd name="connsiteX5" fmla="*/ 279756 w 478963"/>
              <a:gd name="connsiteY5" fmla="*/ 80548 h 80548"/>
              <a:gd name="connsiteX6" fmla="*/ 199207 w 478963"/>
              <a:gd name="connsiteY6" fmla="*/ 80548 h 80548"/>
              <a:gd name="connsiteX7" fmla="*/ 0 w 478963"/>
              <a:gd name="connsiteY7" fmla="*/ 80548 h 80548"/>
              <a:gd name="connsiteX8" fmla="*/ 0 w 478963"/>
              <a:gd name="connsiteY8" fmla="*/ 0 h 8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8963" h="80548">
                <a:moveTo>
                  <a:pt x="0" y="0"/>
                </a:moveTo>
                <a:lnTo>
                  <a:pt x="199207" y="0"/>
                </a:lnTo>
                <a:lnTo>
                  <a:pt x="279756" y="0"/>
                </a:lnTo>
                <a:lnTo>
                  <a:pt x="478963" y="0"/>
                </a:lnTo>
                <a:lnTo>
                  <a:pt x="478963" y="80548"/>
                </a:lnTo>
                <a:lnTo>
                  <a:pt x="279756" y="80548"/>
                </a:lnTo>
                <a:lnTo>
                  <a:pt x="199207" y="80548"/>
                </a:lnTo>
                <a:lnTo>
                  <a:pt x="0" y="80548"/>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Tree>
    <p:extLst>
      <p:ext uri="{BB962C8B-B14F-4D97-AF65-F5344CB8AC3E}">
        <p14:creationId xmlns:p14="http://schemas.microsoft.com/office/powerpoint/2010/main" val="33842274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eam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Team layouts</a:t>
            </a:r>
            <a:endParaRPr lang="pl-PL" sz="12000" dirty="0">
              <a:solidFill>
                <a:schemeClr val="bg1"/>
              </a:solidFill>
            </a:endParaRPr>
          </a:p>
        </p:txBody>
      </p:sp>
    </p:spTree>
    <p:extLst>
      <p:ext uri="{BB962C8B-B14F-4D97-AF65-F5344CB8AC3E}">
        <p14:creationId xmlns:p14="http://schemas.microsoft.com/office/powerpoint/2010/main" val="37176036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eam member (1)">
    <p:bg>
      <p:bgPr>
        <a:solidFill>
          <a:schemeClr val="tx2"/>
        </a:solidFill>
        <a:effectLst/>
      </p:bgPr>
    </p:bg>
    <p:spTree>
      <p:nvGrpSpPr>
        <p:cNvPr id="1" name=""/>
        <p:cNvGrpSpPr/>
        <p:nvPr/>
      </p:nvGrpSpPr>
      <p:grpSpPr>
        <a:xfrm>
          <a:off x="0" y="0"/>
          <a:ext cx="0" cy="0"/>
          <a:chOff x="0" y="0"/>
          <a:chExt cx="0" cy="0"/>
        </a:xfrm>
      </p:grpSpPr>
      <p:sp>
        <p:nvSpPr>
          <p:cNvPr id="17" name="Freihandform: Form 16">
            <a:extLst>
              <a:ext uri="{FF2B5EF4-FFF2-40B4-BE49-F238E27FC236}">
                <a16:creationId xmlns:a16="http://schemas.microsoft.com/office/drawing/2014/main" id="{44D29139-F10C-12BE-3E33-5D9AA4CBFDF2}"/>
              </a:ext>
            </a:extLst>
          </p:cNvPr>
          <p:cNvSpPr/>
          <p:nvPr userDrawn="1">
            <p:custDataLst>
              <p:tags r:id="rId1"/>
            </p:custDataLst>
          </p:nvPr>
        </p:nvSpPr>
        <p:spPr>
          <a:xfrm>
            <a:off x="540000" y="0"/>
            <a:ext cx="11652000" cy="6858000"/>
          </a:xfrm>
          <a:custGeom>
            <a:avLst/>
            <a:gdLst>
              <a:gd name="connsiteX0" fmla="*/ 1981284 w 11652000"/>
              <a:gd name="connsiteY0" fmla="*/ 1523051 h 6858000"/>
              <a:gd name="connsiteX1" fmla="*/ 361284 w 11652000"/>
              <a:gd name="connsiteY1" fmla="*/ 3143051 h 6858000"/>
              <a:gd name="connsiteX2" fmla="*/ 1981284 w 11652000"/>
              <a:gd name="connsiteY2" fmla="*/ 4763051 h 6858000"/>
              <a:gd name="connsiteX3" fmla="*/ 3601284 w 11652000"/>
              <a:gd name="connsiteY3" fmla="*/ 3143051 h 6858000"/>
              <a:gd name="connsiteX4" fmla="*/ 1981284 w 11652000"/>
              <a:gd name="connsiteY4" fmla="*/ 1523051 h 6858000"/>
              <a:gd name="connsiteX5" fmla="*/ 0 w 11652000"/>
              <a:gd name="connsiteY5" fmla="*/ 0 h 6858000"/>
              <a:gd name="connsiteX6" fmla="*/ 11652000 w 11652000"/>
              <a:gd name="connsiteY6" fmla="*/ 0 h 6858000"/>
              <a:gd name="connsiteX7" fmla="*/ 11652000 w 11652000"/>
              <a:gd name="connsiteY7" fmla="*/ 6858000 h 6858000"/>
              <a:gd name="connsiteX8" fmla="*/ 0 w 1165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2000" h="6858000">
                <a:moveTo>
                  <a:pt x="1981284" y="1523051"/>
                </a:moveTo>
                <a:cubicBezTo>
                  <a:pt x="1086583" y="1523051"/>
                  <a:pt x="361284" y="2248350"/>
                  <a:pt x="361284" y="3143051"/>
                </a:cubicBezTo>
                <a:cubicBezTo>
                  <a:pt x="361284" y="4037752"/>
                  <a:pt x="1086583" y="4763051"/>
                  <a:pt x="1981284" y="4763051"/>
                </a:cubicBezTo>
                <a:cubicBezTo>
                  <a:pt x="2875985" y="4763051"/>
                  <a:pt x="3601284" y="4037752"/>
                  <a:pt x="3601284" y="3143051"/>
                </a:cubicBezTo>
                <a:cubicBezTo>
                  <a:pt x="3601284" y="2248350"/>
                  <a:pt x="2875985" y="1523051"/>
                  <a:pt x="1981284" y="1523051"/>
                </a:cubicBezTo>
                <a:close/>
                <a:moveTo>
                  <a:pt x="0" y="0"/>
                </a:moveTo>
                <a:lnTo>
                  <a:pt x="11652000" y="0"/>
                </a:lnTo>
                <a:lnTo>
                  <a:pt x="1165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3"/>
            </p:custDataLst>
          </p:nvPr>
        </p:nvSpPr>
        <p:spPr>
          <a:xfrm>
            <a:off x="944704" y="1566471"/>
            <a:ext cx="3153159" cy="3153159"/>
          </a:xfrm>
          <a:prstGeom prst="ellipse">
            <a:avLst/>
          </a:prstGeom>
          <a:solidFill>
            <a:schemeClr val="bg2"/>
          </a:solidFill>
          <a:ln w="50800">
            <a:noFill/>
          </a:ln>
        </p:spPr>
        <p:txBody>
          <a:bodyPr wrap="square"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4"/>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9" name="Textplatzhalter 8">
            <a:extLst>
              <a:ext uri="{FF2B5EF4-FFF2-40B4-BE49-F238E27FC236}">
                <a16:creationId xmlns:a16="http://schemas.microsoft.com/office/drawing/2014/main" id="{C04E7C88-AB62-3637-183B-1B25F8BD3A87}"/>
              </a:ext>
            </a:extLst>
          </p:cNvPr>
          <p:cNvSpPr>
            <a:spLocks noGrp="1"/>
          </p:cNvSpPr>
          <p:nvPr>
            <p:ph type="body" sz="quarter" idx="25" hasCustomPrompt="1"/>
            <p:custDataLst>
              <p:tags r:id="rId5"/>
            </p:custDataLst>
          </p:nvPr>
        </p:nvSpPr>
        <p:spPr>
          <a:xfrm>
            <a:off x="5130799" y="2438400"/>
            <a:ext cx="5289549" cy="3695699"/>
          </a:xfrm>
        </p:spPr>
        <p:txBody>
          <a:bodyPr/>
          <a:lstStyle>
            <a:lvl5pPr>
              <a:defRPr/>
            </a:lvl5p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Datumsplatzhalter 5">
            <a:extLst>
              <a:ext uri="{FF2B5EF4-FFF2-40B4-BE49-F238E27FC236}">
                <a16:creationId xmlns:a16="http://schemas.microsoft.com/office/drawing/2014/main" id="{BABCC8FB-F3F8-1B1E-D481-3CFA8354E010}"/>
              </a:ext>
            </a:extLst>
          </p:cNvPr>
          <p:cNvSpPr>
            <a:spLocks noGrp="1"/>
          </p:cNvSpPr>
          <p:nvPr>
            <p:ph type="dt" sz="half" idx="26"/>
            <p:custDataLst>
              <p:tags r:id="rId6"/>
            </p:custDataLst>
          </p:nvPr>
        </p:nvSpPr>
        <p:spPr/>
        <p:txBody>
          <a:bodyPr/>
          <a:lstStyle/>
          <a:p>
            <a:r>
              <a:rPr lang="en-US"/>
              <a:t>01.08.2023</a:t>
            </a:r>
            <a:endParaRPr lang="pl-PL" dirty="0"/>
          </a:p>
        </p:txBody>
      </p:sp>
      <p:sp>
        <p:nvSpPr>
          <p:cNvPr id="8" name="Fußzeilenplatzhalter 7">
            <a:extLst>
              <a:ext uri="{FF2B5EF4-FFF2-40B4-BE49-F238E27FC236}">
                <a16:creationId xmlns:a16="http://schemas.microsoft.com/office/drawing/2014/main" id="{6F681113-06F9-6515-8252-A525418367CC}"/>
              </a:ext>
            </a:extLst>
          </p:cNvPr>
          <p:cNvSpPr>
            <a:spLocks noGrp="1"/>
          </p:cNvSpPr>
          <p:nvPr>
            <p:ph type="ftr" sz="quarter" idx="27"/>
            <p:custDataLst>
              <p:tags r:id="rId7"/>
            </p:custDataLst>
          </p:nvPr>
        </p:nvSpPr>
        <p:spPr/>
        <p:txBody>
          <a:bodyPr/>
          <a:lstStyle/>
          <a:p>
            <a:r>
              <a:rPr lang="pl-PL"/>
              <a:t>Najważniejsze informacje o dawstwie szpiku - Prezentacja w ramach projektu #KOMÓRKOMANIA | C1 - publiczna</a:t>
            </a:r>
            <a:endParaRPr lang="pl-PL" dirty="0"/>
          </a:p>
        </p:txBody>
      </p:sp>
      <p:sp>
        <p:nvSpPr>
          <p:cNvPr id="10" name="Foliennummernplatzhalter 9">
            <a:extLst>
              <a:ext uri="{FF2B5EF4-FFF2-40B4-BE49-F238E27FC236}">
                <a16:creationId xmlns:a16="http://schemas.microsoft.com/office/drawing/2014/main" id="{E23D7F61-DCE2-00F3-A108-5AD2688A9A1A}"/>
              </a:ext>
            </a:extLst>
          </p:cNvPr>
          <p:cNvSpPr>
            <a:spLocks noGrp="1"/>
          </p:cNvSpPr>
          <p:nvPr>
            <p:ph type="sldNum" sz="quarter" idx="28"/>
            <p:custDataLst>
              <p:tags r:id="rId8"/>
            </p:custDataLst>
          </p:nvPr>
        </p:nvSpPr>
        <p:spPr/>
        <p:txBody>
          <a:bodyPr/>
          <a:lstStyle/>
          <a:p>
            <a:fld id="{92DB0D90-6264-4E90-9724-ABC670DBF4FB}" type="slidenum">
              <a:rPr lang="pl-PL" smtClean="0"/>
              <a:pPr/>
              <a:t>‹#›</a:t>
            </a:fld>
            <a:endParaRPr lang="pl-PL" dirty="0"/>
          </a:p>
        </p:txBody>
      </p:sp>
      <p:sp>
        <p:nvSpPr>
          <p:cNvPr id="3" name="Textplatzhalter 14">
            <a:extLst>
              <a:ext uri="{FF2B5EF4-FFF2-40B4-BE49-F238E27FC236}">
                <a16:creationId xmlns:a16="http://schemas.microsoft.com/office/drawing/2014/main" id="{EF74AE04-3C33-05FA-0D91-674C49E1A0E0}"/>
              </a:ext>
            </a:extLst>
          </p:cNvPr>
          <p:cNvSpPr>
            <a:spLocks noGrp="1"/>
          </p:cNvSpPr>
          <p:nvPr>
            <p:ph type="body" sz="quarter" idx="30" hasCustomPrompt="1"/>
            <p:custDataLst>
              <p:tags r:id="rId9"/>
            </p:custDataLst>
          </p:nvPr>
        </p:nvSpPr>
        <p:spPr>
          <a:xfrm>
            <a:off x="1063284" y="4719631"/>
            <a:ext cx="2916000" cy="1432941"/>
          </a:xfrm>
        </p:spPr>
        <p:txBody>
          <a:bodyPr lIns="0" tIns="288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1" name="Rechteck 10">
            <a:extLst>
              <a:ext uri="{FF2B5EF4-FFF2-40B4-BE49-F238E27FC236}">
                <a16:creationId xmlns:a16="http://schemas.microsoft.com/office/drawing/2014/main" id="{70623EFF-5BED-6DDC-AA21-542EA7D181B9}"/>
              </a:ext>
            </a:extLst>
          </p:cNvPr>
          <p:cNvSpPr/>
          <p:nvPr userDrawn="1">
            <p:custDataLst>
              <p:tags r:id="rId10"/>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2" name="Rechteck 11">
            <a:extLst>
              <a:ext uri="{FF2B5EF4-FFF2-40B4-BE49-F238E27FC236}">
                <a16:creationId xmlns:a16="http://schemas.microsoft.com/office/drawing/2014/main" id="{EFC604C2-A509-FDB4-57D1-D37C9123AD72}"/>
              </a:ext>
            </a:extLst>
          </p:cNvPr>
          <p:cNvSpPr>
            <a:spLocks/>
          </p:cNvSpPr>
          <p:nvPr userDrawn="1">
            <p:custDataLst>
              <p:tags r:id="rId11"/>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2903089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eam member (3)">
    <p:bg>
      <p:bgPr>
        <a:solidFill>
          <a:schemeClr val="tx2"/>
        </a:solidFill>
        <a:effectLst/>
      </p:bgPr>
    </p:bg>
    <p:spTree>
      <p:nvGrpSpPr>
        <p:cNvPr id="1" name=""/>
        <p:cNvGrpSpPr/>
        <p:nvPr/>
      </p:nvGrpSpPr>
      <p:grpSpPr>
        <a:xfrm>
          <a:off x="0" y="0"/>
          <a:ext cx="0" cy="0"/>
          <a:chOff x="0" y="0"/>
          <a:chExt cx="0" cy="0"/>
        </a:xfrm>
      </p:grpSpPr>
      <p:sp>
        <p:nvSpPr>
          <p:cNvPr id="22" name="Freihandform: Form 21">
            <a:extLst>
              <a:ext uri="{FF2B5EF4-FFF2-40B4-BE49-F238E27FC236}">
                <a16:creationId xmlns:a16="http://schemas.microsoft.com/office/drawing/2014/main" id="{D115A771-1D68-941B-EE50-C6423B122EE4}"/>
              </a:ext>
            </a:extLst>
          </p:cNvPr>
          <p:cNvSpPr/>
          <p:nvPr userDrawn="1">
            <p:custDataLst>
              <p:tags r:id="rId1"/>
            </p:custDataLst>
          </p:nvPr>
        </p:nvSpPr>
        <p:spPr>
          <a:xfrm>
            <a:off x="540000" y="0"/>
            <a:ext cx="11652000" cy="6858000"/>
          </a:xfrm>
          <a:custGeom>
            <a:avLst/>
            <a:gdLst>
              <a:gd name="connsiteX0" fmla="*/ 9278249 w 11652000"/>
              <a:gd name="connsiteY0" fmla="*/ 1869454 h 6858000"/>
              <a:gd name="connsiteX1" fmla="*/ 8252249 w 11652000"/>
              <a:gd name="connsiteY1" fmla="*/ 2895454 h 6858000"/>
              <a:gd name="connsiteX2" fmla="*/ 9278249 w 11652000"/>
              <a:gd name="connsiteY2" fmla="*/ 3921454 h 6858000"/>
              <a:gd name="connsiteX3" fmla="*/ 10304249 w 11652000"/>
              <a:gd name="connsiteY3" fmla="*/ 2895454 h 6858000"/>
              <a:gd name="connsiteX4" fmla="*/ 9278249 w 11652000"/>
              <a:gd name="connsiteY4" fmla="*/ 1869454 h 6858000"/>
              <a:gd name="connsiteX5" fmla="*/ 5556000 w 11652000"/>
              <a:gd name="connsiteY5" fmla="*/ 1869454 h 6858000"/>
              <a:gd name="connsiteX6" fmla="*/ 4530000 w 11652000"/>
              <a:gd name="connsiteY6" fmla="*/ 2895454 h 6858000"/>
              <a:gd name="connsiteX7" fmla="*/ 5556000 w 11652000"/>
              <a:gd name="connsiteY7" fmla="*/ 3921454 h 6858000"/>
              <a:gd name="connsiteX8" fmla="*/ 6582000 w 11652000"/>
              <a:gd name="connsiteY8" fmla="*/ 2895454 h 6858000"/>
              <a:gd name="connsiteX9" fmla="*/ 5556000 w 11652000"/>
              <a:gd name="connsiteY9" fmla="*/ 1869454 h 6858000"/>
              <a:gd name="connsiteX10" fmla="*/ 1833750 w 11652000"/>
              <a:gd name="connsiteY10" fmla="*/ 1869454 h 6858000"/>
              <a:gd name="connsiteX11" fmla="*/ 807750 w 11652000"/>
              <a:gd name="connsiteY11" fmla="*/ 2895454 h 6858000"/>
              <a:gd name="connsiteX12" fmla="*/ 1833750 w 11652000"/>
              <a:gd name="connsiteY12" fmla="*/ 3921454 h 6858000"/>
              <a:gd name="connsiteX13" fmla="*/ 2859750 w 11652000"/>
              <a:gd name="connsiteY13" fmla="*/ 2895454 h 6858000"/>
              <a:gd name="connsiteX14" fmla="*/ 1833750 w 11652000"/>
              <a:gd name="connsiteY14" fmla="*/ 1869454 h 6858000"/>
              <a:gd name="connsiteX15" fmla="*/ 0 w 11652000"/>
              <a:gd name="connsiteY15" fmla="*/ 0 h 6858000"/>
              <a:gd name="connsiteX16" fmla="*/ 11652000 w 11652000"/>
              <a:gd name="connsiteY16" fmla="*/ 0 h 6858000"/>
              <a:gd name="connsiteX17" fmla="*/ 11652000 w 11652000"/>
              <a:gd name="connsiteY17" fmla="*/ 6858000 h 6858000"/>
              <a:gd name="connsiteX18" fmla="*/ 0 w 11652000"/>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52000" h="6858000">
                <a:moveTo>
                  <a:pt x="9278249" y="1869454"/>
                </a:moveTo>
                <a:cubicBezTo>
                  <a:pt x="8711605" y="1869454"/>
                  <a:pt x="8252249" y="2328810"/>
                  <a:pt x="8252249" y="2895454"/>
                </a:cubicBezTo>
                <a:cubicBezTo>
                  <a:pt x="8252249" y="3462098"/>
                  <a:pt x="8711605" y="3921454"/>
                  <a:pt x="9278249" y="3921454"/>
                </a:cubicBezTo>
                <a:cubicBezTo>
                  <a:pt x="9844893" y="3921454"/>
                  <a:pt x="10304249" y="3462098"/>
                  <a:pt x="10304249" y="2895454"/>
                </a:cubicBezTo>
                <a:cubicBezTo>
                  <a:pt x="10304249" y="2328810"/>
                  <a:pt x="9844893" y="1869454"/>
                  <a:pt x="9278249" y="1869454"/>
                </a:cubicBezTo>
                <a:close/>
                <a:moveTo>
                  <a:pt x="5556000" y="1869454"/>
                </a:moveTo>
                <a:cubicBezTo>
                  <a:pt x="4989356" y="1869454"/>
                  <a:pt x="4530000" y="2328810"/>
                  <a:pt x="4530000" y="2895454"/>
                </a:cubicBezTo>
                <a:cubicBezTo>
                  <a:pt x="4530000" y="3462098"/>
                  <a:pt x="4989356" y="3921454"/>
                  <a:pt x="5556000" y="3921454"/>
                </a:cubicBezTo>
                <a:cubicBezTo>
                  <a:pt x="6122644" y="3921454"/>
                  <a:pt x="6582000" y="3462098"/>
                  <a:pt x="6582000" y="2895454"/>
                </a:cubicBezTo>
                <a:cubicBezTo>
                  <a:pt x="6582000" y="2328810"/>
                  <a:pt x="6122644" y="1869454"/>
                  <a:pt x="5556000" y="1869454"/>
                </a:cubicBezTo>
                <a:close/>
                <a:moveTo>
                  <a:pt x="1833750" y="1869454"/>
                </a:moveTo>
                <a:cubicBezTo>
                  <a:pt x="1267106" y="1869454"/>
                  <a:pt x="807750" y="2328810"/>
                  <a:pt x="807750" y="2895454"/>
                </a:cubicBezTo>
                <a:cubicBezTo>
                  <a:pt x="807750" y="3462098"/>
                  <a:pt x="1267106" y="3921454"/>
                  <a:pt x="1833750" y="3921454"/>
                </a:cubicBezTo>
                <a:cubicBezTo>
                  <a:pt x="2400394" y="3921454"/>
                  <a:pt x="2859750" y="3462098"/>
                  <a:pt x="2859750" y="2895454"/>
                </a:cubicBezTo>
                <a:cubicBezTo>
                  <a:pt x="2859750" y="2328810"/>
                  <a:pt x="2400394" y="1869454"/>
                  <a:pt x="1833750" y="1869454"/>
                </a:cubicBezTo>
                <a:close/>
                <a:moveTo>
                  <a:pt x="0" y="0"/>
                </a:moveTo>
                <a:lnTo>
                  <a:pt x="11652000" y="0"/>
                </a:lnTo>
                <a:lnTo>
                  <a:pt x="1165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3"/>
            </p:custDataLst>
          </p:nvPr>
        </p:nvSpPr>
        <p:spPr>
          <a:xfrm>
            <a:off x="1395084"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Bildplatzhalter 6">
            <a:extLst>
              <a:ext uri="{FF2B5EF4-FFF2-40B4-BE49-F238E27FC236}">
                <a16:creationId xmlns:a16="http://schemas.microsoft.com/office/drawing/2014/main" id="{6D0C79AE-2065-693C-F8F2-82AFFF5E82C3}"/>
              </a:ext>
            </a:extLst>
          </p:cNvPr>
          <p:cNvSpPr>
            <a:spLocks noGrp="1"/>
          </p:cNvSpPr>
          <p:nvPr>
            <p:ph type="pic" sz="quarter" idx="18" hasCustomPrompt="1"/>
            <p:custDataLst>
              <p:tags r:id="rId4"/>
            </p:custDataLst>
          </p:nvPr>
        </p:nvSpPr>
        <p:spPr>
          <a:xfrm>
            <a:off x="5117335"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2" name="Bildplatzhalter 6">
            <a:extLst>
              <a:ext uri="{FF2B5EF4-FFF2-40B4-BE49-F238E27FC236}">
                <a16:creationId xmlns:a16="http://schemas.microsoft.com/office/drawing/2014/main" id="{5FC05490-F038-1AA8-A3A1-FC73430773EC}"/>
              </a:ext>
            </a:extLst>
          </p:cNvPr>
          <p:cNvSpPr>
            <a:spLocks noGrp="1"/>
          </p:cNvSpPr>
          <p:nvPr>
            <p:ph type="pic" sz="quarter" idx="20" hasCustomPrompt="1"/>
            <p:custDataLst>
              <p:tags r:id="rId5"/>
            </p:custDataLst>
          </p:nvPr>
        </p:nvSpPr>
        <p:spPr>
          <a:xfrm>
            <a:off x="8839584"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6"/>
            </p:custDataLst>
          </p:nvPr>
        </p:nvSpPr>
        <p:spPr>
          <a:xfrm>
            <a:off x="898524" y="223535"/>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8" name="Datumsplatzhalter 7">
            <a:extLst>
              <a:ext uri="{FF2B5EF4-FFF2-40B4-BE49-F238E27FC236}">
                <a16:creationId xmlns:a16="http://schemas.microsoft.com/office/drawing/2014/main" id="{8B95CA18-62C5-8982-696F-7E2E7517CF02}"/>
              </a:ext>
            </a:extLst>
          </p:cNvPr>
          <p:cNvSpPr>
            <a:spLocks noGrp="1"/>
          </p:cNvSpPr>
          <p:nvPr>
            <p:ph type="dt" sz="half" idx="27"/>
            <p:custDataLst>
              <p:tags r:id="rId7"/>
            </p:custDataLst>
          </p:nvPr>
        </p:nvSpPr>
        <p:spPr/>
        <p:txBody>
          <a:bodyPr/>
          <a:lstStyle/>
          <a:p>
            <a:r>
              <a:rPr lang="en-US"/>
              <a:t>01.08.2023</a:t>
            </a:r>
            <a:endParaRPr lang="pl-PL" dirty="0"/>
          </a:p>
        </p:txBody>
      </p:sp>
      <p:sp>
        <p:nvSpPr>
          <p:cNvPr id="9" name="Fußzeilenplatzhalter 8">
            <a:extLst>
              <a:ext uri="{FF2B5EF4-FFF2-40B4-BE49-F238E27FC236}">
                <a16:creationId xmlns:a16="http://schemas.microsoft.com/office/drawing/2014/main" id="{04B42B20-741E-8CF4-5931-65F2AE6EAA63}"/>
              </a:ext>
            </a:extLst>
          </p:cNvPr>
          <p:cNvSpPr>
            <a:spLocks noGrp="1"/>
          </p:cNvSpPr>
          <p:nvPr>
            <p:ph type="ftr" sz="quarter" idx="28"/>
            <p:custDataLst>
              <p:tags r:id="rId8"/>
            </p:custDataLst>
          </p:nvPr>
        </p:nvSpPr>
        <p:spPr/>
        <p:txBody>
          <a:bodyPr/>
          <a:lstStyle/>
          <a:p>
            <a:r>
              <a:rPr lang="pl-PL"/>
              <a:t>Najważniejsze informacje o dawstwie szpiku - Prezentacja w ramach projektu #KOMÓRKOMANIA | C1 - publiczna</a:t>
            </a:r>
            <a:endParaRPr lang="pl-PL" dirty="0"/>
          </a:p>
        </p:txBody>
      </p:sp>
      <p:sp>
        <p:nvSpPr>
          <p:cNvPr id="11" name="Foliennummernplatzhalter 10">
            <a:extLst>
              <a:ext uri="{FF2B5EF4-FFF2-40B4-BE49-F238E27FC236}">
                <a16:creationId xmlns:a16="http://schemas.microsoft.com/office/drawing/2014/main" id="{1231504B-41E7-4E61-3CF2-E201124E12C4}"/>
              </a:ext>
            </a:extLst>
          </p:cNvPr>
          <p:cNvSpPr>
            <a:spLocks noGrp="1"/>
          </p:cNvSpPr>
          <p:nvPr>
            <p:ph type="sldNum" sz="quarter" idx="29"/>
            <p:custDataLst>
              <p:tags r:id="rId9"/>
            </p:custDataLst>
          </p:nvPr>
        </p:nvSpPr>
        <p:spPr/>
        <p:txBody>
          <a:bodyPr/>
          <a:lstStyle/>
          <a:p>
            <a:fld id="{92DB0D90-6264-4E90-9724-ABC670DBF4FB}" type="slidenum">
              <a:rPr lang="pl-PL" smtClean="0"/>
              <a:pPr/>
              <a:t>‹#›</a:t>
            </a:fld>
            <a:endParaRPr lang="pl-PL" dirty="0"/>
          </a:p>
        </p:txBody>
      </p:sp>
      <p:sp>
        <p:nvSpPr>
          <p:cNvPr id="15" name="Textplatzhalter 14">
            <a:extLst>
              <a:ext uri="{FF2B5EF4-FFF2-40B4-BE49-F238E27FC236}">
                <a16:creationId xmlns:a16="http://schemas.microsoft.com/office/drawing/2014/main" id="{D9223D02-3B2C-76FD-56DF-017F6EE2645F}"/>
              </a:ext>
            </a:extLst>
          </p:cNvPr>
          <p:cNvSpPr>
            <a:spLocks noGrp="1"/>
          </p:cNvSpPr>
          <p:nvPr>
            <p:ph type="body" sz="quarter" idx="30" hasCustomPrompt="1"/>
            <p:custDataLst>
              <p:tags r:id="rId10"/>
            </p:custDataLst>
          </p:nvPr>
        </p:nvSpPr>
        <p:spPr>
          <a:xfrm>
            <a:off x="915751"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6" name="Textplatzhalter 14">
            <a:extLst>
              <a:ext uri="{FF2B5EF4-FFF2-40B4-BE49-F238E27FC236}">
                <a16:creationId xmlns:a16="http://schemas.microsoft.com/office/drawing/2014/main" id="{79A2D2B6-31A0-0407-73D0-27672F5A6B88}"/>
              </a:ext>
            </a:extLst>
          </p:cNvPr>
          <p:cNvSpPr>
            <a:spLocks noGrp="1"/>
          </p:cNvSpPr>
          <p:nvPr>
            <p:ph type="body" sz="quarter" idx="31" hasCustomPrompt="1"/>
            <p:custDataLst>
              <p:tags r:id="rId11"/>
            </p:custDataLst>
          </p:nvPr>
        </p:nvSpPr>
        <p:spPr>
          <a:xfrm>
            <a:off x="4638000"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20" name="Textplatzhalter 14">
            <a:extLst>
              <a:ext uri="{FF2B5EF4-FFF2-40B4-BE49-F238E27FC236}">
                <a16:creationId xmlns:a16="http://schemas.microsoft.com/office/drawing/2014/main" id="{2EAC6821-7F26-E354-E40C-323D2FFFE1F1}"/>
              </a:ext>
            </a:extLst>
          </p:cNvPr>
          <p:cNvSpPr>
            <a:spLocks noGrp="1"/>
          </p:cNvSpPr>
          <p:nvPr>
            <p:ph type="body" sz="quarter" idx="32" hasCustomPrompt="1"/>
            <p:custDataLst>
              <p:tags r:id="rId12"/>
            </p:custDataLst>
          </p:nvPr>
        </p:nvSpPr>
        <p:spPr>
          <a:xfrm>
            <a:off x="8360249"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3" name="Rechteck 12">
            <a:extLst>
              <a:ext uri="{FF2B5EF4-FFF2-40B4-BE49-F238E27FC236}">
                <a16:creationId xmlns:a16="http://schemas.microsoft.com/office/drawing/2014/main" id="{7E8355A7-B4EA-D9F4-555F-B8026DB03CD2}"/>
              </a:ext>
            </a:extLst>
          </p:cNvPr>
          <p:cNvSpPr/>
          <p:nvPr userDrawn="1">
            <p:custDataLst>
              <p:tags r:id="rId13"/>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7" name="Rechteck 16">
            <a:extLst>
              <a:ext uri="{FF2B5EF4-FFF2-40B4-BE49-F238E27FC236}">
                <a16:creationId xmlns:a16="http://schemas.microsoft.com/office/drawing/2014/main" id="{DCE41DE3-49E6-7AA2-D041-FBB4D2592E18}"/>
              </a:ext>
            </a:extLst>
          </p:cNvPr>
          <p:cNvSpPr>
            <a:spLocks/>
          </p:cNvSpPr>
          <p:nvPr userDrawn="1">
            <p:custDataLst>
              <p:tags r:id="rId1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34016211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layou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Agenda </a:t>
            </a:r>
            <a:br>
              <a:rPr lang="pl-PL" sz="12000">
                <a:solidFill>
                  <a:schemeClr val="bg1"/>
                </a:solidFill>
              </a:rPr>
            </a:br>
            <a:r>
              <a:rPr lang="pl-PL" sz="12000">
                <a:solidFill>
                  <a:schemeClr val="bg1"/>
                </a:solidFill>
              </a:rPr>
              <a:t>layouts</a:t>
            </a:r>
            <a:endParaRPr lang="pl-PL" sz="12000" dirty="0">
              <a:solidFill>
                <a:schemeClr val="bg1"/>
              </a:solidFill>
            </a:endParaRPr>
          </a:p>
        </p:txBody>
      </p:sp>
    </p:spTree>
    <p:extLst>
      <p:ext uri="{BB962C8B-B14F-4D97-AF65-F5344CB8AC3E}">
        <p14:creationId xmlns:p14="http://schemas.microsoft.com/office/powerpoint/2010/main" val="18505481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eam member (4)">
    <p:bg>
      <p:bgPr>
        <a:solidFill>
          <a:schemeClr val="tx2"/>
        </a:solidFill>
        <a:effectLst/>
      </p:bgPr>
    </p:bg>
    <p:spTree>
      <p:nvGrpSpPr>
        <p:cNvPr id="1" name=""/>
        <p:cNvGrpSpPr/>
        <p:nvPr/>
      </p:nvGrpSpPr>
      <p:grpSpPr>
        <a:xfrm>
          <a:off x="0" y="0"/>
          <a:ext cx="0" cy="0"/>
          <a:chOff x="0" y="0"/>
          <a:chExt cx="0" cy="0"/>
        </a:xfrm>
      </p:grpSpPr>
      <p:sp>
        <p:nvSpPr>
          <p:cNvPr id="17" name="Freihandform: Form 16">
            <a:extLst>
              <a:ext uri="{FF2B5EF4-FFF2-40B4-BE49-F238E27FC236}">
                <a16:creationId xmlns:a16="http://schemas.microsoft.com/office/drawing/2014/main" id="{C132B7BC-6428-ED10-3897-C5DBE026EE78}"/>
              </a:ext>
            </a:extLst>
          </p:cNvPr>
          <p:cNvSpPr/>
          <p:nvPr userDrawn="1">
            <p:custDataLst>
              <p:tags r:id="rId1"/>
            </p:custDataLst>
          </p:nvPr>
        </p:nvSpPr>
        <p:spPr>
          <a:xfrm>
            <a:off x="540002" y="0"/>
            <a:ext cx="11651999" cy="6858000"/>
          </a:xfrm>
          <a:custGeom>
            <a:avLst/>
            <a:gdLst>
              <a:gd name="connsiteX0" fmla="*/ 9560561 w 11651999"/>
              <a:gd name="connsiteY0" fmla="*/ 1666006 h 6858000"/>
              <a:gd name="connsiteX1" fmla="*/ 8804478 w 11651999"/>
              <a:gd name="connsiteY1" fmla="*/ 2422006 h 6858000"/>
              <a:gd name="connsiteX2" fmla="*/ 9560561 w 11651999"/>
              <a:gd name="connsiteY2" fmla="*/ 3178005 h 6858000"/>
              <a:gd name="connsiteX3" fmla="*/ 10316644 w 11651999"/>
              <a:gd name="connsiteY3" fmla="*/ 2422006 h 6858000"/>
              <a:gd name="connsiteX4" fmla="*/ 9560561 w 11651999"/>
              <a:gd name="connsiteY4" fmla="*/ 1666006 h 6858000"/>
              <a:gd name="connsiteX5" fmla="*/ 3919599 w 11651999"/>
              <a:gd name="connsiteY5" fmla="*/ 1666005 h 6858000"/>
              <a:gd name="connsiteX6" fmla="*/ 3163517 w 11651999"/>
              <a:gd name="connsiteY6" fmla="*/ 2422005 h 6858000"/>
              <a:gd name="connsiteX7" fmla="*/ 3919599 w 11651999"/>
              <a:gd name="connsiteY7" fmla="*/ 3178005 h 6858000"/>
              <a:gd name="connsiteX8" fmla="*/ 4675682 w 11651999"/>
              <a:gd name="connsiteY8" fmla="*/ 2422005 h 6858000"/>
              <a:gd name="connsiteX9" fmla="*/ 3919599 w 11651999"/>
              <a:gd name="connsiteY9" fmla="*/ 1666005 h 6858000"/>
              <a:gd name="connsiteX10" fmla="*/ 6740080 w 11651999"/>
              <a:gd name="connsiteY10" fmla="*/ 1666004 h 6858000"/>
              <a:gd name="connsiteX11" fmla="*/ 5983997 w 11651999"/>
              <a:gd name="connsiteY11" fmla="*/ 2422004 h 6858000"/>
              <a:gd name="connsiteX12" fmla="*/ 6740080 w 11651999"/>
              <a:gd name="connsiteY12" fmla="*/ 3178004 h 6858000"/>
              <a:gd name="connsiteX13" fmla="*/ 7496163 w 11651999"/>
              <a:gd name="connsiteY13" fmla="*/ 2422004 h 6858000"/>
              <a:gd name="connsiteX14" fmla="*/ 6740080 w 11651999"/>
              <a:gd name="connsiteY14" fmla="*/ 1666004 h 6858000"/>
              <a:gd name="connsiteX15" fmla="*/ 1099119 w 11651999"/>
              <a:gd name="connsiteY15" fmla="*/ 1666004 h 6858000"/>
              <a:gd name="connsiteX16" fmla="*/ 343036 w 11651999"/>
              <a:gd name="connsiteY16" fmla="*/ 2422004 h 6858000"/>
              <a:gd name="connsiteX17" fmla="*/ 1099119 w 11651999"/>
              <a:gd name="connsiteY17" fmla="*/ 3178004 h 6858000"/>
              <a:gd name="connsiteX18" fmla="*/ 1855202 w 11651999"/>
              <a:gd name="connsiteY18" fmla="*/ 2422004 h 6858000"/>
              <a:gd name="connsiteX19" fmla="*/ 1099119 w 11651999"/>
              <a:gd name="connsiteY19" fmla="*/ 1666004 h 6858000"/>
              <a:gd name="connsiteX20" fmla="*/ 0 w 11651999"/>
              <a:gd name="connsiteY20" fmla="*/ 0 h 6858000"/>
              <a:gd name="connsiteX21" fmla="*/ 11651999 w 11651999"/>
              <a:gd name="connsiteY21" fmla="*/ 0 h 6858000"/>
              <a:gd name="connsiteX22" fmla="*/ 11651999 w 11651999"/>
              <a:gd name="connsiteY22" fmla="*/ 6858000 h 6858000"/>
              <a:gd name="connsiteX23" fmla="*/ 0 w 11651999"/>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651999" h="6858000">
                <a:moveTo>
                  <a:pt x="9560561" y="1666006"/>
                </a:moveTo>
                <a:cubicBezTo>
                  <a:pt x="9142988" y="1666006"/>
                  <a:pt x="8804478" y="2004479"/>
                  <a:pt x="8804478" y="2422006"/>
                </a:cubicBezTo>
                <a:cubicBezTo>
                  <a:pt x="8804478" y="2839532"/>
                  <a:pt x="9142988" y="3178005"/>
                  <a:pt x="9560561" y="3178005"/>
                </a:cubicBezTo>
                <a:cubicBezTo>
                  <a:pt x="9978134" y="3178005"/>
                  <a:pt x="10316644" y="2839532"/>
                  <a:pt x="10316644" y="2422006"/>
                </a:cubicBezTo>
                <a:cubicBezTo>
                  <a:pt x="10316644" y="2004479"/>
                  <a:pt x="9978134" y="1666006"/>
                  <a:pt x="9560561" y="1666006"/>
                </a:cubicBezTo>
                <a:close/>
                <a:moveTo>
                  <a:pt x="3919599" y="1666005"/>
                </a:moveTo>
                <a:cubicBezTo>
                  <a:pt x="3502026" y="1666005"/>
                  <a:pt x="3163517" y="2004478"/>
                  <a:pt x="3163517" y="2422005"/>
                </a:cubicBezTo>
                <a:cubicBezTo>
                  <a:pt x="3163517" y="2839532"/>
                  <a:pt x="3502026" y="3178005"/>
                  <a:pt x="3919599" y="3178005"/>
                </a:cubicBezTo>
                <a:cubicBezTo>
                  <a:pt x="4337173" y="3178005"/>
                  <a:pt x="4675682" y="2839532"/>
                  <a:pt x="4675682" y="2422005"/>
                </a:cubicBezTo>
                <a:cubicBezTo>
                  <a:pt x="4675682" y="2004478"/>
                  <a:pt x="4337173" y="1666005"/>
                  <a:pt x="3919599" y="1666005"/>
                </a:cubicBezTo>
                <a:close/>
                <a:moveTo>
                  <a:pt x="6740080" y="1666004"/>
                </a:moveTo>
                <a:cubicBezTo>
                  <a:pt x="6322507" y="1666004"/>
                  <a:pt x="5983997" y="2004477"/>
                  <a:pt x="5983997" y="2422004"/>
                </a:cubicBezTo>
                <a:cubicBezTo>
                  <a:pt x="5983997" y="2839532"/>
                  <a:pt x="6322507" y="3178004"/>
                  <a:pt x="6740080" y="3178004"/>
                </a:cubicBezTo>
                <a:cubicBezTo>
                  <a:pt x="7157653" y="3178004"/>
                  <a:pt x="7496163" y="2839532"/>
                  <a:pt x="7496163" y="2422004"/>
                </a:cubicBezTo>
                <a:cubicBezTo>
                  <a:pt x="7496163" y="2004477"/>
                  <a:pt x="7157653" y="1666004"/>
                  <a:pt x="6740080" y="1666004"/>
                </a:cubicBezTo>
                <a:close/>
                <a:moveTo>
                  <a:pt x="1099119" y="1666004"/>
                </a:moveTo>
                <a:cubicBezTo>
                  <a:pt x="681546" y="1666004"/>
                  <a:pt x="343036" y="2004477"/>
                  <a:pt x="343036" y="2422004"/>
                </a:cubicBezTo>
                <a:cubicBezTo>
                  <a:pt x="343036" y="2839531"/>
                  <a:pt x="681546" y="3178004"/>
                  <a:pt x="1099119" y="3178004"/>
                </a:cubicBezTo>
                <a:cubicBezTo>
                  <a:pt x="1516692" y="3178004"/>
                  <a:pt x="1855202" y="2839531"/>
                  <a:pt x="1855202" y="2422004"/>
                </a:cubicBezTo>
                <a:cubicBezTo>
                  <a:pt x="1855202" y="2004477"/>
                  <a:pt x="1516692" y="1666004"/>
                  <a:pt x="1099119" y="1666004"/>
                </a:cubicBezTo>
                <a:close/>
                <a:moveTo>
                  <a:pt x="0" y="0"/>
                </a:moveTo>
                <a:lnTo>
                  <a:pt x="11651999" y="0"/>
                </a:lnTo>
                <a:lnTo>
                  <a:pt x="11651999"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3"/>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4"/>
            </p:custDataLst>
          </p:nvPr>
        </p:nvSpPr>
        <p:spPr>
          <a:xfrm>
            <a:off x="934480" y="1717366"/>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0" name="Bildplatzhalter 6">
            <a:extLst>
              <a:ext uri="{FF2B5EF4-FFF2-40B4-BE49-F238E27FC236}">
                <a16:creationId xmlns:a16="http://schemas.microsoft.com/office/drawing/2014/main" id="{3068B7DF-D1E1-4E1F-4044-3FC6A26B79EB}"/>
              </a:ext>
            </a:extLst>
          </p:cNvPr>
          <p:cNvSpPr>
            <a:spLocks noGrp="1"/>
          </p:cNvSpPr>
          <p:nvPr>
            <p:ph type="pic" sz="quarter" idx="25" hasCustomPrompt="1"/>
            <p:custDataLst>
              <p:tags r:id="rId5"/>
            </p:custDataLst>
          </p:nvPr>
        </p:nvSpPr>
        <p:spPr>
          <a:xfrm>
            <a:off x="3754960" y="1717367"/>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9" name="Textplatzhalter 8">
            <a:extLst>
              <a:ext uri="{FF2B5EF4-FFF2-40B4-BE49-F238E27FC236}">
                <a16:creationId xmlns:a16="http://schemas.microsoft.com/office/drawing/2014/main" id="{A5ECCE35-16F4-36DD-DB66-6DED467DC826}"/>
              </a:ext>
            </a:extLst>
          </p:cNvPr>
          <p:cNvSpPr>
            <a:spLocks noGrp="1"/>
          </p:cNvSpPr>
          <p:nvPr>
            <p:ph type="body" sz="quarter" idx="30" hasCustomPrompt="1"/>
            <p:custDataLst>
              <p:tags r:id="rId6"/>
            </p:custDataLst>
          </p:nvPr>
        </p:nvSpPr>
        <p:spPr>
          <a:xfrm>
            <a:off x="1307438"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18" name="Textplatzhalter 8">
            <a:extLst>
              <a:ext uri="{FF2B5EF4-FFF2-40B4-BE49-F238E27FC236}">
                <a16:creationId xmlns:a16="http://schemas.microsoft.com/office/drawing/2014/main" id="{1EAC27A7-7691-4350-43C5-6B6CB5F92B2C}"/>
              </a:ext>
            </a:extLst>
          </p:cNvPr>
          <p:cNvSpPr>
            <a:spLocks noGrp="1"/>
          </p:cNvSpPr>
          <p:nvPr>
            <p:ph type="body" sz="quarter" idx="31" hasCustomPrompt="1"/>
            <p:custDataLst>
              <p:tags r:id="rId7"/>
            </p:custDataLst>
          </p:nvPr>
        </p:nvSpPr>
        <p:spPr>
          <a:xfrm>
            <a:off x="4127919"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30" name="Textplatzhalter 8">
            <a:extLst>
              <a:ext uri="{FF2B5EF4-FFF2-40B4-BE49-F238E27FC236}">
                <a16:creationId xmlns:a16="http://schemas.microsoft.com/office/drawing/2014/main" id="{77D24433-C7A0-DCCF-802A-407C4B93BDCD}"/>
              </a:ext>
            </a:extLst>
          </p:cNvPr>
          <p:cNvSpPr>
            <a:spLocks noGrp="1"/>
          </p:cNvSpPr>
          <p:nvPr>
            <p:ph type="body" sz="quarter" idx="32" hasCustomPrompt="1"/>
            <p:custDataLst>
              <p:tags r:id="rId8"/>
            </p:custDataLst>
          </p:nvPr>
        </p:nvSpPr>
        <p:spPr>
          <a:xfrm>
            <a:off x="6948401"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31" name="Textplatzhalter 8">
            <a:extLst>
              <a:ext uri="{FF2B5EF4-FFF2-40B4-BE49-F238E27FC236}">
                <a16:creationId xmlns:a16="http://schemas.microsoft.com/office/drawing/2014/main" id="{A021F369-23AA-50F4-5510-BF8495646D67}"/>
              </a:ext>
            </a:extLst>
          </p:cNvPr>
          <p:cNvSpPr>
            <a:spLocks noGrp="1"/>
          </p:cNvSpPr>
          <p:nvPr>
            <p:ph type="body" sz="quarter" idx="33" hasCustomPrompt="1"/>
            <p:custDataLst>
              <p:tags r:id="rId9"/>
            </p:custDataLst>
          </p:nvPr>
        </p:nvSpPr>
        <p:spPr>
          <a:xfrm>
            <a:off x="9768882"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5" name="Datumsplatzhalter 4">
            <a:extLst>
              <a:ext uri="{FF2B5EF4-FFF2-40B4-BE49-F238E27FC236}">
                <a16:creationId xmlns:a16="http://schemas.microsoft.com/office/drawing/2014/main" id="{7C7D7102-6AF4-7B88-FF02-01A0673EAB56}"/>
              </a:ext>
            </a:extLst>
          </p:cNvPr>
          <p:cNvSpPr>
            <a:spLocks noGrp="1"/>
          </p:cNvSpPr>
          <p:nvPr>
            <p:ph type="dt" sz="half" idx="34"/>
            <p:custDataLst>
              <p:tags r:id="rId10"/>
            </p:custDataLst>
          </p:nvPr>
        </p:nvSpPr>
        <p:spPr/>
        <p:txBody>
          <a:bodyPr/>
          <a:lstStyle/>
          <a:p>
            <a:r>
              <a:rPr lang="en-US"/>
              <a:t>01.08.2023</a:t>
            </a:r>
            <a:endParaRPr lang="pl-PL" dirty="0"/>
          </a:p>
        </p:txBody>
      </p:sp>
      <p:sp>
        <p:nvSpPr>
          <p:cNvPr id="6" name="Fußzeilenplatzhalter 5">
            <a:extLst>
              <a:ext uri="{FF2B5EF4-FFF2-40B4-BE49-F238E27FC236}">
                <a16:creationId xmlns:a16="http://schemas.microsoft.com/office/drawing/2014/main" id="{6C2CF1F2-0B93-10C3-414C-AD26EAE73531}"/>
              </a:ext>
            </a:extLst>
          </p:cNvPr>
          <p:cNvSpPr>
            <a:spLocks noGrp="1"/>
          </p:cNvSpPr>
          <p:nvPr>
            <p:ph type="ftr" sz="quarter" idx="35"/>
            <p:custDataLst>
              <p:tags r:id="rId11"/>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1B438321-B4A3-3AD4-6952-C27449CD5739}"/>
              </a:ext>
            </a:extLst>
          </p:cNvPr>
          <p:cNvSpPr>
            <a:spLocks noGrp="1"/>
          </p:cNvSpPr>
          <p:nvPr>
            <p:ph type="sldNum" sz="quarter" idx="36"/>
            <p:custDataLst>
              <p:tags r:id="rId12"/>
            </p:custDataLst>
          </p:nvPr>
        </p:nvSpPr>
        <p:spPr/>
        <p:txBody>
          <a:bodyPr/>
          <a:lstStyle/>
          <a:p>
            <a:fld id="{92DB0D90-6264-4E90-9724-ABC670DBF4FB}" type="slidenum">
              <a:rPr lang="pl-PL" smtClean="0"/>
              <a:pPr/>
              <a:t>‹#›</a:t>
            </a:fld>
            <a:endParaRPr lang="pl-PL" dirty="0"/>
          </a:p>
        </p:txBody>
      </p:sp>
      <p:sp>
        <p:nvSpPr>
          <p:cNvPr id="13" name="Rechteck 12">
            <a:extLst>
              <a:ext uri="{FF2B5EF4-FFF2-40B4-BE49-F238E27FC236}">
                <a16:creationId xmlns:a16="http://schemas.microsoft.com/office/drawing/2014/main" id="{82BA7842-4012-E451-0CFA-98EEA7749C94}"/>
              </a:ext>
            </a:extLst>
          </p:cNvPr>
          <p:cNvSpPr/>
          <p:nvPr userDrawn="1">
            <p:custDataLst>
              <p:tags r:id="rId13"/>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5" name="Rechteck 14">
            <a:extLst>
              <a:ext uri="{FF2B5EF4-FFF2-40B4-BE49-F238E27FC236}">
                <a16:creationId xmlns:a16="http://schemas.microsoft.com/office/drawing/2014/main" id="{EBD56F67-F300-40CF-9D4C-A4AF682BD7A8}"/>
              </a:ext>
            </a:extLst>
          </p:cNvPr>
          <p:cNvSpPr>
            <a:spLocks/>
          </p:cNvSpPr>
          <p:nvPr userDrawn="1">
            <p:custDataLst>
              <p:tags r:id="rId1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29" name="Bildplatzhalter 6">
            <a:extLst>
              <a:ext uri="{FF2B5EF4-FFF2-40B4-BE49-F238E27FC236}">
                <a16:creationId xmlns:a16="http://schemas.microsoft.com/office/drawing/2014/main" id="{B5801B77-1BF5-4284-B177-F42C3470E181}"/>
              </a:ext>
            </a:extLst>
          </p:cNvPr>
          <p:cNvSpPr>
            <a:spLocks noGrp="1"/>
          </p:cNvSpPr>
          <p:nvPr>
            <p:ph type="pic" sz="quarter" idx="29" hasCustomPrompt="1"/>
            <p:custDataLst>
              <p:tags r:id="rId15"/>
            </p:custDataLst>
          </p:nvPr>
        </p:nvSpPr>
        <p:spPr>
          <a:xfrm>
            <a:off x="9395923" y="1717367"/>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3" name="Bildplatzhalter 6">
            <a:extLst>
              <a:ext uri="{FF2B5EF4-FFF2-40B4-BE49-F238E27FC236}">
                <a16:creationId xmlns:a16="http://schemas.microsoft.com/office/drawing/2014/main" id="{FDD64EA0-00F4-23AA-A634-959066C43B47}"/>
              </a:ext>
            </a:extLst>
          </p:cNvPr>
          <p:cNvSpPr>
            <a:spLocks noGrp="1"/>
          </p:cNvSpPr>
          <p:nvPr>
            <p:ph type="pic" sz="quarter" idx="27" hasCustomPrompt="1"/>
            <p:custDataLst>
              <p:tags r:id="rId16"/>
            </p:custDataLst>
          </p:nvPr>
        </p:nvSpPr>
        <p:spPr>
          <a:xfrm>
            <a:off x="6575442" y="1717368"/>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11910545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pecial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Special </a:t>
            </a:r>
            <a:br>
              <a:rPr lang="pl-PL" sz="12000">
                <a:solidFill>
                  <a:schemeClr val="bg1"/>
                </a:solidFill>
              </a:rPr>
            </a:br>
            <a:r>
              <a:rPr lang="pl-PL" sz="12000">
                <a:solidFill>
                  <a:schemeClr val="bg1"/>
                </a:solidFill>
              </a:rPr>
              <a:t>layouts</a:t>
            </a:r>
            <a:endParaRPr lang="pl-PL" sz="12000" dirty="0">
              <a:solidFill>
                <a:schemeClr val="bg1"/>
              </a:solidFill>
            </a:endParaRPr>
          </a:p>
        </p:txBody>
      </p:sp>
    </p:spTree>
    <p:extLst>
      <p:ext uri="{BB962C8B-B14F-4D97-AF65-F5344CB8AC3E}">
        <p14:creationId xmlns:p14="http://schemas.microsoft.com/office/powerpoint/2010/main" val="33036174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WOT flexible">
    <p:bg>
      <p:bgPr>
        <a:solidFill>
          <a:schemeClr val="tx2"/>
        </a:solidFill>
        <a:effectLst/>
      </p:bgPr>
    </p:bg>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578EAAC7-BB1D-1C15-879F-7B80603F002B}"/>
              </a:ext>
            </a:extLst>
          </p:cNvPr>
          <p:cNvSpPr>
            <a:spLocks noGrp="1"/>
          </p:cNvSpPr>
          <p:nvPr>
            <p:ph type="title" hasCustomPrompt="1"/>
            <p:custDataLst>
              <p:tags r:id="rId1"/>
            </p:custDataLst>
          </p:nvPr>
        </p:nvSpPr>
        <p:spPr/>
        <p:txBody>
          <a:bodyPr/>
          <a:lstStyle>
            <a:lvl1pPr>
              <a:defRPr/>
            </a:lvl1pPr>
          </a:lstStyle>
          <a:p>
            <a:r>
              <a:rPr lang="pl-PL"/>
              <a:t>Headline</a:t>
            </a:r>
            <a:endParaRPr lang="pl-PL" dirty="0"/>
          </a:p>
        </p:txBody>
      </p:sp>
      <p:sp>
        <p:nvSpPr>
          <p:cNvPr id="11" name="Overline">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extplatzhalter 1">
            <a:extLst>
              <a:ext uri="{FF2B5EF4-FFF2-40B4-BE49-F238E27FC236}">
                <a16:creationId xmlns:a16="http://schemas.microsoft.com/office/drawing/2014/main" id="{A89BE514-BE1F-65B7-93D0-919BE0DDAA43}"/>
              </a:ext>
            </a:extLst>
          </p:cNvPr>
          <p:cNvSpPr>
            <a:spLocks noGrp="1"/>
          </p:cNvSpPr>
          <p:nvPr>
            <p:ph type="body" sz="quarter" idx="45" hasCustomPrompt="1"/>
            <p:custDataLst>
              <p:tags r:id="rId3"/>
            </p:custDataLst>
          </p:nvPr>
        </p:nvSpPr>
        <p:spPr>
          <a:xfrm>
            <a:off x="898524" y="1773236"/>
            <a:ext cx="3784312" cy="2087564"/>
          </a:xfrm>
        </p:spPr>
        <p:txBody>
          <a:bodyPr anchor="b"/>
          <a:lstStyle>
            <a:lvl1pPr algn="r">
              <a:defRPr sz="1400" b="1">
                <a:solidFill>
                  <a:schemeClr val="tx1"/>
                </a:solidFill>
              </a:defRPr>
            </a:lvl1pPr>
            <a:lvl2pPr marL="0" indent="0" algn="r">
              <a:buNone/>
              <a:defRPr sz="1400"/>
            </a:lvl2pPr>
            <a:lvl3pPr marL="285750" indent="-285750" algn="r">
              <a:buFont typeface="Arial" panose="020B0604020202020204" pitchFamily="34" charset="0"/>
              <a:buChar char="•"/>
              <a:defRPr sz="1400"/>
            </a:lvl3pPr>
            <a:lvl4pPr marL="504000" indent="-252000" algn="r">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9" name="Textplatzhalter 2">
            <a:extLst>
              <a:ext uri="{FF2B5EF4-FFF2-40B4-BE49-F238E27FC236}">
                <a16:creationId xmlns:a16="http://schemas.microsoft.com/office/drawing/2014/main" id="{98C197C5-32D6-B47D-6E89-F9BFA57D124F}"/>
              </a:ext>
            </a:extLst>
          </p:cNvPr>
          <p:cNvSpPr>
            <a:spLocks noGrp="1"/>
          </p:cNvSpPr>
          <p:nvPr>
            <p:ph type="body" sz="quarter" idx="49" hasCustomPrompt="1"/>
            <p:custDataLst>
              <p:tags r:id="rId4"/>
            </p:custDataLst>
          </p:nvPr>
        </p:nvSpPr>
        <p:spPr>
          <a:xfrm>
            <a:off x="8047327" y="1809962"/>
            <a:ext cx="3784312" cy="2050838"/>
          </a:xfrm>
        </p:spPr>
        <p:txBody>
          <a:bodyPr anchor="b"/>
          <a:lstStyle>
            <a:lvl1pPr algn="l">
              <a:defRPr sz="1400" b="1">
                <a:solidFill>
                  <a:schemeClr val="tx1"/>
                </a:solidFill>
              </a:defRPr>
            </a:lvl1pPr>
            <a:lvl2pPr marL="0" indent="0" algn="l">
              <a:buNone/>
              <a:defRPr sz="1400"/>
            </a:lvl2pPr>
            <a:lvl3pPr marL="285750" indent="-285750" algn="l">
              <a:buFont typeface="Arial" panose="020B0604020202020204" pitchFamily="34" charset="0"/>
              <a:buChar char="•"/>
              <a:defRPr sz="1400"/>
            </a:lvl3pPr>
            <a:lvl4pPr marL="504000" indent="-252000" algn="l">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12" name="Textplatzhalter 3">
            <a:extLst>
              <a:ext uri="{FF2B5EF4-FFF2-40B4-BE49-F238E27FC236}">
                <a16:creationId xmlns:a16="http://schemas.microsoft.com/office/drawing/2014/main" id="{92BADE8F-FC12-8C2F-6BF3-283A6CEC50EF}"/>
              </a:ext>
            </a:extLst>
          </p:cNvPr>
          <p:cNvSpPr>
            <a:spLocks noGrp="1"/>
          </p:cNvSpPr>
          <p:nvPr>
            <p:ph type="body" sz="quarter" idx="51" hasCustomPrompt="1"/>
            <p:custDataLst>
              <p:tags r:id="rId5"/>
            </p:custDataLst>
          </p:nvPr>
        </p:nvSpPr>
        <p:spPr>
          <a:xfrm>
            <a:off x="898524" y="4086436"/>
            <a:ext cx="3784312" cy="2050838"/>
          </a:xfrm>
        </p:spPr>
        <p:txBody>
          <a:bodyPr anchor="t"/>
          <a:lstStyle>
            <a:lvl1pPr algn="r">
              <a:defRPr sz="1400" b="1">
                <a:solidFill>
                  <a:schemeClr val="tx1"/>
                </a:solidFill>
              </a:defRPr>
            </a:lvl1pPr>
            <a:lvl2pPr marL="0" indent="0" algn="r">
              <a:buNone/>
              <a:defRPr sz="1400"/>
            </a:lvl2pPr>
            <a:lvl3pPr marL="285750" indent="-285750" algn="r">
              <a:buFont typeface="Arial" panose="020B0604020202020204" pitchFamily="34" charset="0"/>
              <a:buChar char="•"/>
              <a:defRPr sz="1400"/>
            </a:lvl3pPr>
            <a:lvl4pPr marL="504000" indent="-252000" algn="r">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10" name="Textplatzhalter 4">
            <a:extLst>
              <a:ext uri="{FF2B5EF4-FFF2-40B4-BE49-F238E27FC236}">
                <a16:creationId xmlns:a16="http://schemas.microsoft.com/office/drawing/2014/main" id="{7D466678-9C6C-889D-BBDB-F2D94BD21774}"/>
              </a:ext>
            </a:extLst>
          </p:cNvPr>
          <p:cNvSpPr>
            <a:spLocks noGrp="1"/>
          </p:cNvSpPr>
          <p:nvPr>
            <p:ph type="body" sz="quarter" idx="50" hasCustomPrompt="1"/>
            <p:custDataLst>
              <p:tags r:id="rId6"/>
            </p:custDataLst>
          </p:nvPr>
        </p:nvSpPr>
        <p:spPr>
          <a:xfrm>
            <a:off x="8047327" y="4086436"/>
            <a:ext cx="3784312" cy="2050838"/>
          </a:xfrm>
        </p:spPr>
        <p:txBody>
          <a:bodyPr anchor="t"/>
          <a:lstStyle>
            <a:lvl1pPr algn="l">
              <a:defRPr sz="1400" b="1">
                <a:solidFill>
                  <a:schemeClr val="tx1"/>
                </a:solidFill>
              </a:defRPr>
            </a:lvl1pPr>
            <a:lvl2pPr marL="0" indent="0" algn="l">
              <a:buNone/>
              <a:defRPr sz="1400"/>
            </a:lvl2pPr>
            <a:lvl3pPr marL="285750" indent="-285750" algn="l">
              <a:buFont typeface="Arial" panose="020B0604020202020204" pitchFamily="34" charset="0"/>
              <a:buChar char="•"/>
              <a:defRPr sz="1400"/>
            </a:lvl3pPr>
            <a:lvl4pPr marL="504000" indent="-252000" algn="l">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7" name="S">
            <a:extLst>
              <a:ext uri="{FF2B5EF4-FFF2-40B4-BE49-F238E27FC236}">
                <a16:creationId xmlns:a16="http://schemas.microsoft.com/office/drawing/2014/main" id="{3173A70D-89E8-CBF8-0663-16F0778CE87A}"/>
              </a:ext>
            </a:extLst>
          </p:cNvPr>
          <p:cNvSpPr>
            <a:spLocks noGrp="1"/>
          </p:cNvSpPr>
          <p:nvPr>
            <p:ph type="body" sz="quarter" idx="23" hasCustomPrompt="1"/>
            <p:custDataLst>
              <p:tags r:id="rId7"/>
            </p:custDataLst>
          </p:nvPr>
        </p:nvSpPr>
        <p:spPr>
          <a:xfrm>
            <a:off x="5156399" y="2745657"/>
            <a:ext cx="1209600" cy="1209600"/>
          </a:xfrm>
          <a:solidFill>
            <a:schemeClr val="accent2"/>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S</a:t>
            </a:r>
            <a:endParaRPr lang="pl-PL" dirty="0"/>
          </a:p>
        </p:txBody>
      </p:sp>
      <p:sp>
        <p:nvSpPr>
          <p:cNvPr id="4" name="W">
            <a:extLst>
              <a:ext uri="{FF2B5EF4-FFF2-40B4-BE49-F238E27FC236}">
                <a16:creationId xmlns:a16="http://schemas.microsoft.com/office/drawing/2014/main" id="{EE61E0CB-35B0-C558-A845-1BD1F1087955}"/>
              </a:ext>
            </a:extLst>
          </p:cNvPr>
          <p:cNvSpPr>
            <a:spLocks noGrp="1"/>
          </p:cNvSpPr>
          <p:nvPr>
            <p:ph type="body" sz="quarter" idx="28" hasCustomPrompt="1"/>
            <p:custDataLst>
              <p:tags r:id="rId8"/>
            </p:custDataLst>
          </p:nvPr>
        </p:nvSpPr>
        <p:spPr>
          <a:xfrm>
            <a:off x="6365999" y="2745657"/>
            <a:ext cx="1209600" cy="1209600"/>
          </a:xfrm>
          <a:solidFill>
            <a:schemeClr val="accent5"/>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W</a:t>
            </a:r>
            <a:endParaRPr lang="pl-PL" dirty="0"/>
          </a:p>
        </p:txBody>
      </p:sp>
      <p:sp>
        <p:nvSpPr>
          <p:cNvPr id="5" name="O">
            <a:extLst>
              <a:ext uri="{FF2B5EF4-FFF2-40B4-BE49-F238E27FC236}">
                <a16:creationId xmlns:a16="http://schemas.microsoft.com/office/drawing/2014/main" id="{A649B666-8BCB-0332-4F85-76ABF148B0AB}"/>
              </a:ext>
            </a:extLst>
          </p:cNvPr>
          <p:cNvSpPr>
            <a:spLocks noGrp="1"/>
          </p:cNvSpPr>
          <p:nvPr>
            <p:ph type="body" sz="quarter" idx="29" hasCustomPrompt="1"/>
            <p:custDataLst>
              <p:tags r:id="rId9"/>
            </p:custDataLst>
          </p:nvPr>
        </p:nvSpPr>
        <p:spPr>
          <a:xfrm>
            <a:off x="5156399" y="3955257"/>
            <a:ext cx="1209600" cy="1209600"/>
          </a:xfrm>
          <a:solidFill>
            <a:schemeClr val="accent3"/>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o</a:t>
            </a:r>
            <a:endParaRPr lang="pl-PL" dirty="0"/>
          </a:p>
        </p:txBody>
      </p:sp>
      <p:sp>
        <p:nvSpPr>
          <p:cNvPr id="8" name="T">
            <a:extLst>
              <a:ext uri="{FF2B5EF4-FFF2-40B4-BE49-F238E27FC236}">
                <a16:creationId xmlns:a16="http://schemas.microsoft.com/office/drawing/2014/main" id="{1B2986EB-C06E-6F40-34EA-01770762131B}"/>
              </a:ext>
            </a:extLst>
          </p:cNvPr>
          <p:cNvSpPr>
            <a:spLocks noGrp="1"/>
          </p:cNvSpPr>
          <p:nvPr>
            <p:ph type="body" sz="quarter" idx="30" hasCustomPrompt="1"/>
            <p:custDataLst>
              <p:tags r:id="rId10"/>
            </p:custDataLst>
          </p:nvPr>
        </p:nvSpPr>
        <p:spPr>
          <a:xfrm>
            <a:off x="6365999" y="3955257"/>
            <a:ext cx="1209600" cy="1209600"/>
          </a:xfrm>
          <a:solidFill>
            <a:srgbClr val="EE6676"/>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T</a:t>
            </a:r>
            <a:endParaRPr lang="pl-PL" dirty="0"/>
          </a:p>
        </p:txBody>
      </p:sp>
      <p:sp>
        <p:nvSpPr>
          <p:cNvPr id="17" name="Datumsplatzhalter 16">
            <a:extLst>
              <a:ext uri="{FF2B5EF4-FFF2-40B4-BE49-F238E27FC236}">
                <a16:creationId xmlns:a16="http://schemas.microsoft.com/office/drawing/2014/main" id="{1D5D9FF5-C75B-8EB6-385C-96DA50D9DFA9}"/>
              </a:ext>
            </a:extLst>
          </p:cNvPr>
          <p:cNvSpPr>
            <a:spLocks noGrp="1"/>
          </p:cNvSpPr>
          <p:nvPr>
            <p:ph type="dt" sz="half" idx="31"/>
            <p:custDataLst>
              <p:tags r:id="rId11"/>
            </p:custDataLst>
          </p:nvPr>
        </p:nvSpPr>
        <p:spPr/>
        <p:txBody>
          <a:bodyPr/>
          <a:lstStyle/>
          <a:p>
            <a:r>
              <a:rPr lang="en-US"/>
              <a:t>01.08.2023</a:t>
            </a:r>
            <a:endParaRPr lang="pl-PL" dirty="0"/>
          </a:p>
        </p:txBody>
      </p:sp>
      <p:sp>
        <p:nvSpPr>
          <p:cNvPr id="18" name="Fußzeilenplatzhalter 17">
            <a:extLst>
              <a:ext uri="{FF2B5EF4-FFF2-40B4-BE49-F238E27FC236}">
                <a16:creationId xmlns:a16="http://schemas.microsoft.com/office/drawing/2014/main" id="{143BF3AD-90A8-6394-07BF-4C8DBEE70A6A}"/>
              </a:ext>
            </a:extLst>
          </p:cNvPr>
          <p:cNvSpPr>
            <a:spLocks noGrp="1"/>
          </p:cNvSpPr>
          <p:nvPr>
            <p:ph type="ftr" sz="quarter" idx="32"/>
            <p:custDataLst>
              <p:tags r:id="rId12"/>
            </p:custDataLst>
          </p:nvPr>
        </p:nvSpPr>
        <p:spPr/>
        <p:txBody>
          <a:bodyPr/>
          <a:lstStyle/>
          <a:p>
            <a:r>
              <a:rPr lang="pl-PL"/>
              <a:t>Najważniejsze informacje o dawstwie szpiku - Prezentacja w ramach projektu #KOMÓRKOMANIA | C1 - publiczna</a:t>
            </a:r>
            <a:endParaRPr lang="pl-PL" dirty="0"/>
          </a:p>
        </p:txBody>
      </p:sp>
      <p:sp>
        <p:nvSpPr>
          <p:cNvPr id="19" name="Foliennummernplatzhalter 18">
            <a:extLst>
              <a:ext uri="{FF2B5EF4-FFF2-40B4-BE49-F238E27FC236}">
                <a16:creationId xmlns:a16="http://schemas.microsoft.com/office/drawing/2014/main" id="{0EB6C869-F8F4-EDAD-26A8-3CEFDCC5D078}"/>
              </a:ext>
            </a:extLst>
          </p:cNvPr>
          <p:cNvSpPr>
            <a:spLocks noGrp="1"/>
          </p:cNvSpPr>
          <p:nvPr>
            <p:ph type="sldNum" sz="quarter" idx="33"/>
            <p:custDataLst>
              <p:tags r:id="rId13"/>
            </p:custDataLst>
          </p:nvPr>
        </p:nvSpPr>
        <p:spPr/>
        <p:txBody>
          <a:bodyPr/>
          <a:lstStyle/>
          <a:p>
            <a:fld id="{92DB0D90-6264-4E90-9724-ABC670DBF4FB}" type="slidenum">
              <a:rPr lang="pl-PL" smtClean="0"/>
              <a:pPr/>
              <a:t>‹#›</a:t>
            </a:fld>
            <a:endParaRPr lang="pl-PL" dirty="0"/>
          </a:p>
        </p:txBody>
      </p:sp>
      <p:sp>
        <p:nvSpPr>
          <p:cNvPr id="26" name="Freihandform: Form 25">
            <a:extLst>
              <a:ext uri="{FF2B5EF4-FFF2-40B4-BE49-F238E27FC236}">
                <a16:creationId xmlns:a16="http://schemas.microsoft.com/office/drawing/2014/main" id="{BDADE2DB-F26A-14C7-2D00-757A79D00523}"/>
              </a:ext>
            </a:extLst>
          </p:cNvPr>
          <p:cNvSpPr>
            <a:spLocks/>
          </p:cNvSpPr>
          <p:nvPr userDrawn="1">
            <p:custDataLst>
              <p:tags r:id="rId14"/>
            </p:custDataLst>
          </p:nvPr>
        </p:nvSpPr>
        <p:spPr>
          <a:xfrm>
            <a:off x="4975715" y="2564973"/>
            <a:ext cx="2780568" cy="2780568"/>
          </a:xfrm>
          <a:custGeom>
            <a:avLst/>
            <a:gdLst>
              <a:gd name="connsiteX0" fmla="*/ 0 w 2780568"/>
              <a:gd name="connsiteY0" fmla="*/ 0 h 2780568"/>
              <a:gd name="connsiteX1" fmla="*/ 2780568 w 2780568"/>
              <a:gd name="connsiteY1" fmla="*/ 0 h 2780568"/>
              <a:gd name="connsiteX2" fmla="*/ 2780568 w 2780568"/>
              <a:gd name="connsiteY2" fmla="*/ 2780568 h 2780568"/>
              <a:gd name="connsiteX3" fmla="*/ 0 w 2780568"/>
              <a:gd name="connsiteY3" fmla="*/ 2780568 h 2780568"/>
              <a:gd name="connsiteX4" fmla="*/ 0 w 2780568"/>
              <a:gd name="connsiteY4" fmla="*/ 1995084 h 2780568"/>
              <a:gd name="connsiteX5" fmla="*/ 113521 w 2780568"/>
              <a:gd name="connsiteY5" fmla="*/ 1995084 h 2780568"/>
              <a:gd name="connsiteX6" fmla="*/ 113521 w 2780568"/>
              <a:gd name="connsiteY6" fmla="*/ 2219463 h 2780568"/>
              <a:gd name="connsiteX7" fmla="*/ 1191606 w 2780568"/>
              <a:gd name="connsiteY7" fmla="*/ 2219463 h 2780568"/>
              <a:gd name="connsiteX8" fmla="*/ 1191606 w 2780568"/>
              <a:gd name="connsiteY8" fmla="*/ 501500 h 2780568"/>
              <a:gd name="connsiteX9" fmla="*/ 113521 w 2780568"/>
              <a:gd name="connsiteY9" fmla="*/ 501500 h 2780568"/>
              <a:gd name="connsiteX10" fmla="*/ 113521 w 2780568"/>
              <a:gd name="connsiteY10" fmla="*/ 785484 h 2780568"/>
              <a:gd name="connsiteX11" fmla="*/ 0 w 2780568"/>
              <a:gd name="connsiteY11" fmla="*/ 785484 h 2780568"/>
              <a:gd name="connsiteX0" fmla="*/ 1191606 w 2780568"/>
              <a:gd name="connsiteY0" fmla="*/ 501500 h 2780568"/>
              <a:gd name="connsiteX1" fmla="*/ 113521 w 2780568"/>
              <a:gd name="connsiteY1" fmla="*/ 501500 h 2780568"/>
              <a:gd name="connsiteX2" fmla="*/ 113521 w 2780568"/>
              <a:gd name="connsiteY2" fmla="*/ 785484 h 2780568"/>
              <a:gd name="connsiteX3" fmla="*/ 0 w 2780568"/>
              <a:gd name="connsiteY3" fmla="*/ 785484 h 2780568"/>
              <a:gd name="connsiteX4" fmla="*/ 0 w 2780568"/>
              <a:gd name="connsiteY4" fmla="*/ 0 h 2780568"/>
              <a:gd name="connsiteX5" fmla="*/ 2780568 w 2780568"/>
              <a:gd name="connsiteY5" fmla="*/ 0 h 2780568"/>
              <a:gd name="connsiteX6" fmla="*/ 2780568 w 2780568"/>
              <a:gd name="connsiteY6" fmla="*/ 2780568 h 2780568"/>
              <a:gd name="connsiteX7" fmla="*/ 0 w 2780568"/>
              <a:gd name="connsiteY7" fmla="*/ 2780568 h 2780568"/>
              <a:gd name="connsiteX8" fmla="*/ 0 w 2780568"/>
              <a:gd name="connsiteY8" fmla="*/ 1995084 h 2780568"/>
              <a:gd name="connsiteX9" fmla="*/ 113521 w 2780568"/>
              <a:gd name="connsiteY9" fmla="*/ 1995084 h 2780568"/>
              <a:gd name="connsiteX10" fmla="*/ 113521 w 2780568"/>
              <a:gd name="connsiteY10" fmla="*/ 2219463 h 2780568"/>
              <a:gd name="connsiteX11" fmla="*/ 1191606 w 2780568"/>
              <a:gd name="connsiteY11" fmla="*/ 2219463 h 2780568"/>
              <a:gd name="connsiteX12" fmla="*/ 1283046 w 2780568"/>
              <a:gd name="connsiteY12" fmla="*/ 592940 h 2780568"/>
              <a:gd name="connsiteX0" fmla="*/ 1191606 w 2780568"/>
              <a:gd name="connsiteY0" fmla="*/ 501500 h 2780568"/>
              <a:gd name="connsiteX1" fmla="*/ 113521 w 2780568"/>
              <a:gd name="connsiteY1" fmla="*/ 501500 h 2780568"/>
              <a:gd name="connsiteX2" fmla="*/ 113521 w 2780568"/>
              <a:gd name="connsiteY2" fmla="*/ 785484 h 2780568"/>
              <a:gd name="connsiteX3" fmla="*/ 0 w 2780568"/>
              <a:gd name="connsiteY3" fmla="*/ 785484 h 2780568"/>
              <a:gd name="connsiteX4" fmla="*/ 0 w 2780568"/>
              <a:gd name="connsiteY4" fmla="*/ 0 h 2780568"/>
              <a:gd name="connsiteX5" fmla="*/ 2780568 w 2780568"/>
              <a:gd name="connsiteY5" fmla="*/ 0 h 2780568"/>
              <a:gd name="connsiteX6" fmla="*/ 2780568 w 2780568"/>
              <a:gd name="connsiteY6" fmla="*/ 2780568 h 2780568"/>
              <a:gd name="connsiteX7" fmla="*/ 0 w 2780568"/>
              <a:gd name="connsiteY7" fmla="*/ 2780568 h 2780568"/>
              <a:gd name="connsiteX8" fmla="*/ 0 w 2780568"/>
              <a:gd name="connsiteY8" fmla="*/ 1995084 h 2780568"/>
              <a:gd name="connsiteX9" fmla="*/ 113521 w 2780568"/>
              <a:gd name="connsiteY9" fmla="*/ 1995084 h 2780568"/>
              <a:gd name="connsiteX10" fmla="*/ 113521 w 2780568"/>
              <a:gd name="connsiteY10" fmla="*/ 2219463 h 2780568"/>
              <a:gd name="connsiteX11" fmla="*/ 1191606 w 2780568"/>
              <a:gd name="connsiteY11"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9" fmla="*/ 113521 w 2780568"/>
              <a:gd name="connsiteY9" fmla="*/ 2219463 h 2780568"/>
              <a:gd name="connsiteX10" fmla="*/ 1191606 w 2780568"/>
              <a:gd name="connsiteY10"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9" fmla="*/ 113521 w 2780568"/>
              <a:gd name="connsiteY9"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0" fmla="*/ 113521 w 2780568"/>
              <a:gd name="connsiteY0" fmla="*/ 785484 h 2780568"/>
              <a:gd name="connsiteX1" fmla="*/ 0 w 2780568"/>
              <a:gd name="connsiteY1" fmla="*/ 785484 h 2780568"/>
              <a:gd name="connsiteX2" fmla="*/ 0 w 2780568"/>
              <a:gd name="connsiteY2" fmla="*/ 0 h 2780568"/>
              <a:gd name="connsiteX3" fmla="*/ 2780568 w 2780568"/>
              <a:gd name="connsiteY3" fmla="*/ 0 h 2780568"/>
              <a:gd name="connsiteX4" fmla="*/ 2780568 w 2780568"/>
              <a:gd name="connsiteY4" fmla="*/ 2780568 h 2780568"/>
              <a:gd name="connsiteX5" fmla="*/ 0 w 2780568"/>
              <a:gd name="connsiteY5" fmla="*/ 2780568 h 2780568"/>
              <a:gd name="connsiteX6" fmla="*/ 0 w 2780568"/>
              <a:gd name="connsiteY6" fmla="*/ 1995084 h 2780568"/>
              <a:gd name="connsiteX7" fmla="*/ 113521 w 2780568"/>
              <a:gd name="connsiteY7" fmla="*/ 1995084 h 2780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0568" h="2780568">
                <a:moveTo>
                  <a:pt x="113521" y="785484"/>
                </a:moveTo>
                <a:lnTo>
                  <a:pt x="0" y="785484"/>
                </a:lnTo>
                <a:lnTo>
                  <a:pt x="0" y="0"/>
                </a:lnTo>
                <a:lnTo>
                  <a:pt x="2780568" y="0"/>
                </a:lnTo>
                <a:lnTo>
                  <a:pt x="2780568" y="2780568"/>
                </a:lnTo>
                <a:lnTo>
                  <a:pt x="0" y="2780568"/>
                </a:lnTo>
                <a:lnTo>
                  <a:pt x="0" y="1995084"/>
                </a:lnTo>
                <a:lnTo>
                  <a:pt x="113521" y="1995084"/>
                </a:lnTo>
              </a:path>
            </a:pathLst>
          </a:custGeom>
          <a:noFill/>
          <a:ln w="9525">
            <a:solidFill>
              <a:schemeClr val="tx1"/>
            </a:soli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wrap="square" lIns="96012" tIns="48006" rIns="96012" bIns="48006" rtlCol="0" anchor="ctr">
            <a:noAutofit/>
          </a:bodyPr>
          <a:lstStyle/>
          <a:p>
            <a:pPr algn="ctr"/>
            <a:endParaRPr lang="pl-PL" dirty="0"/>
          </a:p>
        </p:txBody>
      </p:sp>
    </p:spTree>
    <p:extLst>
      <p:ext uri="{BB962C8B-B14F-4D97-AF65-F5344CB8AC3E}">
        <p14:creationId xmlns:p14="http://schemas.microsoft.com/office/powerpoint/2010/main" val="16082277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Quote</a:t>
            </a:r>
            <a:endParaRPr lang="pl-PL" sz="12000" dirty="0">
              <a:solidFill>
                <a:schemeClr val="bg1"/>
              </a:solidFill>
            </a:endParaRPr>
          </a:p>
        </p:txBody>
      </p:sp>
    </p:spTree>
    <p:extLst>
      <p:ext uri="{BB962C8B-B14F-4D97-AF65-F5344CB8AC3E}">
        <p14:creationId xmlns:p14="http://schemas.microsoft.com/office/powerpoint/2010/main" val="13659235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Textplatzhalter 5">
            <a:extLst>
              <a:ext uri="{FF2B5EF4-FFF2-40B4-BE49-F238E27FC236}">
                <a16:creationId xmlns:a16="http://schemas.microsoft.com/office/drawing/2014/main" id="{2EEA5206-A69A-5F0D-E0AA-06479AE9D50F}"/>
              </a:ext>
            </a:extLst>
          </p:cNvPr>
          <p:cNvSpPr>
            <a:spLocks noGrp="1"/>
          </p:cNvSpPr>
          <p:nvPr>
            <p:ph type="body" sz="quarter" idx="13" hasCustomPrompt="1"/>
            <p:custDataLst>
              <p:tags r:id="rId2"/>
            </p:custDataLst>
          </p:nvPr>
        </p:nvSpPr>
        <p:spPr>
          <a:xfrm>
            <a:off x="2304000" y="1086263"/>
            <a:ext cx="81153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
        <p:nvSpPr>
          <p:cNvPr id="11" name="Datumsplatzhalter 10">
            <a:extLst>
              <a:ext uri="{FF2B5EF4-FFF2-40B4-BE49-F238E27FC236}">
                <a16:creationId xmlns:a16="http://schemas.microsoft.com/office/drawing/2014/main" id="{8EA5207E-B3B0-7E1D-BFD4-1642C7531B77}"/>
              </a:ext>
            </a:extLst>
          </p:cNvPr>
          <p:cNvSpPr>
            <a:spLocks noGrp="1"/>
          </p:cNvSpPr>
          <p:nvPr>
            <p:ph type="dt" sz="half" idx="10"/>
            <p:custDataLst>
              <p:tags r:id="rId3"/>
            </p:custDataLst>
          </p:nvPr>
        </p:nvSpPr>
        <p:spPr/>
        <p:txBody>
          <a:bodyPr/>
          <a:lstStyle/>
          <a:p>
            <a:r>
              <a:rPr lang="en-US"/>
              <a:t>01.08.2023</a:t>
            </a:r>
            <a:endParaRPr lang="pl-PL" dirty="0"/>
          </a:p>
        </p:txBody>
      </p:sp>
      <p:sp>
        <p:nvSpPr>
          <p:cNvPr id="13" name="Foliennummernplatzhalter 12">
            <a:extLst>
              <a:ext uri="{FF2B5EF4-FFF2-40B4-BE49-F238E27FC236}">
                <a16:creationId xmlns:a16="http://schemas.microsoft.com/office/drawing/2014/main" id="{1B3D9205-258A-F2CB-6F68-CFCDDB08812F}"/>
              </a:ext>
            </a:extLst>
          </p:cNvPr>
          <p:cNvSpPr>
            <a:spLocks noGrp="1"/>
          </p:cNvSpPr>
          <p:nvPr>
            <p:ph type="sldNum" sz="quarter" idx="12"/>
            <p:custDataLst>
              <p:tags r:id="rId4"/>
            </p:custDataLst>
          </p:nvPr>
        </p:nvSpPr>
        <p:spPr/>
        <p:txBody>
          <a:bodyPr/>
          <a:lstStyle/>
          <a:p>
            <a:fld id="{92DB0D90-6264-4E90-9724-ABC670DBF4FB}" type="slidenum">
              <a:rPr lang="pl-PL" smtClean="0"/>
              <a:pPr/>
              <a:t>‹#›</a:t>
            </a:fld>
            <a:endParaRPr lang="pl-PL" dirty="0"/>
          </a:p>
        </p:txBody>
      </p:sp>
      <p:sp>
        <p:nvSpPr>
          <p:cNvPr id="15" name="Rechteck 14">
            <a:extLst>
              <a:ext uri="{FF2B5EF4-FFF2-40B4-BE49-F238E27FC236}">
                <a16:creationId xmlns:a16="http://schemas.microsoft.com/office/drawing/2014/main" id="{C8DD7778-4024-771F-26B0-2C793A8BD789}"/>
              </a:ext>
            </a:extLst>
          </p:cNvPr>
          <p:cNvSpPr>
            <a:spLocks/>
          </p:cNvSpPr>
          <p:nvPr userDrawn="1">
            <p:custDataLst>
              <p:tags r:id="rId5"/>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2" name="Fußzeilenplatzhalter 27">
            <a:extLst>
              <a:ext uri="{FF2B5EF4-FFF2-40B4-BE49-F238E27FC236}">
                <a16:creationId xmlns:a16="http://schemas.microsoft.com/office/drawing/2014/main" id="{F81C24CD-9B46-D3E6-EB2A-203250E74C47}"/>
              </a:ext>
            </a:extLst>
          </p:cNvPr>
          <p:cNvSpPr>
            <a:spLocks noGrp="1"/>
          </p:cNvSpPr>
          <p:nvPr>
            <p:ph type="ftr" sz="quarter" idx="14"/>
            <p:custDataLst>
              <p:tags r:id="rId6"/>
            </p:custDataLst>
          </p:nvPr>
        </p:nvSpPr>
        <p:spPr>
          <a:xfrm>
            <a:off x="1498061" y="6470705"/>
            <a:ext cx="9253577" cy="281691"/>
          </a:xfrm>
        </p:spPr>
        <p:txBody>
          <a:bodyPr/>
          <a:lstStyle/>
          <a:p>
            <a:r>
              <a:rPr lang="pl-PL"/>
              <a:t>Najważniejsze informacje o dawstwie szpiku - Prezentacja w ramach projektu #KOMÓRKOMANIA | C1 - publiczna</a:t>
            </a:r>
            <a:endParaRPr lang="pl-PL" dirty="0"/>
          </a:p>
        </p:txBody>
      </p:sp>
    </p:spTree>
    <p:extLst>
      <p:ext uri="{BB962C8B-B14F-4D97-AF65-F5344CB8AC3E}">
        <p14:creationId xmlns:p14="http://schemas.microsoft.com/office/powerpoint/2010/main" val="37367661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 image">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046AA2C2-96D3-7504-4A22-89F27423BFCC}"/>
              </a:ext>
            </a:extLst>
          </p:cNvPr>
          <p:cNvSpPr>
            <a:spLocks noGrp="1"/>
          </p:cNvSpPr>
          <p:nvPr>
            <p:ph type="pic" sz="quarter" idx="19" hasCustomPrompt="1"/>
            <p:custDataLst>
              <p:tags r:id="rId2"/>
            </p:custDataLst>
          </p:nvPr>
        </p:nvSpPr>
        <p:spPr>
          <a:xfrm>
            <a:off x="7962899" y="0"/>
            <a:ext cx="4229101" cy="6858000"/>
          </a:xfrm>
          <a:solidFill>
            <a:schemeClr val="bg2"/>
          </a:solidFill>
        </p:spPr>
        <p:txBody>
          <a:bodyPr tIns="25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 name="Rechteck 2">
            <a:extLst>
              <a:ext uri="{FF2B5EF4-FFF2-40B4-BE49-F238E27FC236}">
                <a16:creationId xmlns:a16="http://schemas.microsoft.com/office/drawing/2014/main" id="{BD3FAF95-1C4A-BB78-593F-B2D718E67428}"/>
              </a:ext>
            </a:extLst>
          </p:cNvPr>
          <p:cNvSpPr>
            <a:spLocks/>
          </p:cNvSpPr>
          <p:nvPr userDrawn="1">
            <p:custDataLst>
              <p:tags r:id="rId3"/>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5" name="Textplatzhalter 5">
            <a:extLst>
              <a:ext uri="{FF2B5EF4-FFF2-40B4-BE49-F238E27FC236}">
                <a16:creationId xmlns:a16="http://schemas.microsoft.com/office/drawing/2014/main" id="{8F0E0997-2A34-B280-87BF-F98E06DCFC76}"/>
              </a:ext>
            </a:extLst>
          </p:cNvPr>
          <p:cNvSpPr>
            <a:spLocks noGrp="1"/>
          </p:cNvSpPr>
          <p:nvPr>
            <p:ph type="body" sz="quarter" idx="13" hasCustomPrompt="1"/>
            <p:custDataLst>
              <p:tags r:id="rId4"/>
            </p:custDataLst>
          </p:nvPr>
        </p:nvSpPr>
        <p:spPr>
          <a:xfrm>
            <a:off x="901700" y="1086263"/>
            <a:ext cx="56388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39060499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 Quote">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046AA2C2-96D3-7504-4A22-89F27423BFCC}"/>
              </a:ext>
            </a:extLst>
          </p:cNvPr>
          <p:cNvSpPr>
            <a:spLocks noGrp="1"/>
          </p:cNvSpPr>
          <p:nvPr>
            <p:ph type="pic" sz="quarter" idx="19" hasCustomPrompt="1"/>
            <p:custDataLst>
              <p:tags r:id="rId2"/>
            </p:custDataLst>
          </p:nvPr>
        </p:nvSpPr>
        <p:spPr>
          <a:xfrm>
            <a:off x="540000" y="0"/>
            <a:ext cx="4229101" cy="6858000"/>
          </a:xfrm>
          <a:solidFill>
            <a:schemeClr val="bg2"/>
          </a:solidFill>
        </p:spPr>
        <p:txBody>
          <a:bodyPr tIns="25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3" name="Datumsplatzhalter 12">
            <a:extLst>
              <a:ext uri="{FF2B5EF4-FFF2-40B4-BE49-F238E27FC236}">
                <a16:creationId xmlns:a16="http://schemas.microsoft.com/office/drawing/2014/main" id="{413EC0D9-C10C-0E35-66CE-CBFF996189DA}"/>
              </a:ext>
            </a:extLst>
          </p:cNvPr>
          <p:cNvSpPr>
            <a:spLocks noGrp="1"/>
          </p:cNvSpPr>
          <p:nvPr>
            <p:ph type="dt" sz="half" idx="20"/>
            <p:custDataLst>
              <p:tags r:id="rId3"/>
            </p:custDataLst>
          </p:nvPr>
        </p:nvSpPr>
        <p:spPr/>
        <p:txBody>
          <a:bodyPr/>
          <a:lstStyle/>
          <a:p>
            <a:r>
              <a:rPr lang="en-US"/>
              <a:t>01.08.2023</a:t>
            </a:r>
            <a:endParaRPr lang="pl-PL" dirty="0"/>
          </a:p>
        </p:txBody>
      </p:sp>
      <p:sp>
        <p:nvSpPr>
          <p:cNvPr id="15" name="Foliennummernplatzhalter 14">
            <a:extLst>
              <a:ext uri="{FF2B5EF4-FFF2-40B4-BE49-F238E27FC236}">
                <a16:creationId xmlns:a16="http://schemas.microsoft.com/office/drawing/2014/main" id="{CEB54746-541F-BA5A-9731-E1F4E686E548}"/>
              </a:ext>
            </a:extLst>
          </p:cNvPr>
          <p:cNvSpPr>
            <a:spLocks noGrp="1"/>
          </p:cNvSpPr>
          <p:nvPr>
            <p:ph type="sldNum" sz="quarter" idx="22"/>
            <p:custDataLst>
              <p:tags r:id="rId4"/>
            </p:custDataLst>
          </p:nvPr>
        </p:nvSpPr>
        <p:spPr/>
        <p:txBody>
          <a:bodyPr/>
          <a:lstStyle/>
          <a:p>
            <a:fld id="{92DB0D90-6264-4E90-9724-ABC670DBF4FB}" type="slidenum">
              <a:rPr lang="pl-PL" smtClean="0"/>
              <a:pPr/>
              <a:t>‹#›</a:t>
            </a:fld>
            <a:endParaRPr lang="pl-PL" dirty="0"/>
          </a:p>
        </p:txBody>
      </p:sp>
      <p:sp>
        <p:nvSpPr>
          <p:cNvPr id="3" name="Textplatzhalter 5">
            <a:extLst>
              <a:ext uri="{FF2B5EF4-FFF2-40B4-BE49-F238E27FC236}">
                <a16:creationId xmlns:a16="http://schemas.microsoft.com/office/drawing/2014/main" id="{AB9D0DDE-6354-B1E6-55F5-C832BD92E0C8}"/>
              </a:ext>
            </a:extLst>
          </p:cNvPr>
          <p:cNvSpPr>
            <a:spLocks noGrp="1"/>
          </p:cNvSpPr>
          <p:nvPr>
            <p:ph type="body" sz="quarter" idx="13" hasCustomPrompt="1"/>
            <p:custDataLst>
              <p:tags r:id="rId5"/>
            </p:custDataLst>
          </p:nvPr>
        </p:nvSpPr>
        <p:spPr>
          <a:xfrm>
            <a:off x="5489101" y="1086263"/>
            <a:ext cx="6334599"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26932057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Quote + X-image">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8B588A94-756A-3088-6075-D3C321991BBE}"/>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57046E4B-4228-D690-36DF-C4B34519AE63}"/>
              </a:ext>
            </a:extLst>
          </p:cNvPr>
          <p:cNvSpPr>
            <a:spLocks noGrp="1"/>
          </p:cNvSpPr>
          <p:nvPr>
            <p:ph type="pic" sz="quarter" idx="11" hasCustomPrompt="1"/>
            <p:custDataLst>
              <p:tags r:id="rId2"/>
            </p:custDataLst>
          </p:nvPr>
        </p:nvSpPr>
        <p:spPr>
          <a:xfrm>
            <a:off x="5357336" y="0"/>
            <a:ext cx="6834663" cy="6858000"/>
          </a:xfrm>
          <a:custGeom>
            <a:avLst/>
            <a:gdLst>
              <a:gd name="connsiteX0" fmla="*/ 0 w 6834663"/>
              <a:gd name="connsiteY0" fmla="*/ 0 h 6858000"/>
              <a:gd name="connsiteX1" fmla="*/ 6231840 w 6834663"/>
              <a:gd name="connsiteY1" fmla="*/ 0 h 6858000"/>
              <a:gd name="connsiteX2" fmla="*/ 6495154 w 6834663"/>
              <a:gd name="connsiteY2" fmla="*/ 342774 h 6858000"/>
              <a:gd name="connsiteX3" fmla="*/ 6831905 w 6834663"/>
              <a:gd name="connsiteY3" fmla="*/ 781149 h 6858000"/>
              <a:gd name="connsiteX4" fmla="*/ 6834663 w 6834663"/>
              <a:gd name="connsiteY4" fmla="*/ 777561 h 6858000"/>
              <a:gd name="connsiteX5" fmla="*/ 6834663 w 6834663"/>
              <a:gd name="connsiteY5" fmla="*/ 6858000 h 6858000"/>
              <a:gd name="connsiteX6" fmla="*/ 2167761 w 6834663"/>
              <a:gd name="connsiteY6" fmla="*/ 6858000 h 6858000"/>
              <a:gd name="connsiteX7" fmla="*/ 2200974 w 6834663"/>
              <a:gd name="connsiteY7" fmla="*/ 6814710 h 6858000"/>
              <a:gd name="connsiteX8" fmla="*/ 3714693 w 6834663"/>
              <a:gd name="connsiteY8" fmla="*/ 4842285 h 6858000"/>
              <a:gd name="connsiteX9" fmla="*/ 190454 w 6834663"/>
              <a:gd name="connsiteY9" fmla="*/ 2483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34663" h="6858000">
                <a:moveTo>
                  <a:pt x="0" y="0"/>
                </a:moveTo>
                <a:lnTo>
                  <a:pt x="6231840" y="0"/>
                </a:lnTo>
                <a:lnTo>
                  <a:pt x="6495154" y="342774"/>
                </a:lnTo>
                <a:cubicBezTo>
                  <a:pt x="6605652" y="486619"/>
                  <a:pt x="6717977" y="632841"/>
                  <a:pt x="6831905" y="781149"/>
                </a:cubicBezTo>
                <a:lnTo>
                  <a:pt x="6834663" y="777561"/>
                </a:lnTo>
                <a:lnTo>
                  <a:pt x="6834663" y="6858000"/>
                </a:lnTo>
                <a:lnTo>
                  <a:pt x="2167761" y="6858000"/>
                </a:lnTo>
                <a:lnTo>
                  <a:pt x="2200974" y="6814710"/>
                </a:lnTo>
                <a:cubicBezTo>
                  <a:pt x="2690215" y="6177074"/>
                  <a:pt x="3199977" y="5512826"/>
                  <a:pt x="3714693" y="4842285"/>
                </a:cubicBezTo>
                <a:cubicBezTo>
                  <a:pt x="2427903" y="3165003"/>
                  <a:pt x="1172074" y="1528325"/>
                  <a:pt x="190454" y="248352"/>
                </a:cubicBezTo>
                <a:close/>
              </a:path>
            </a:pathLst>
          </a:custGeom>
          <a:solidFill>
            <a:schemeClr val="bg2"/>
          </a:solidFill>
        </p:spPr>
        <p:txBody>
          <a:bodyPr wrap="square" tIns="2520000">
            <a:noAutofit/>
          </a:bodyPr>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Textplatzhalter 9">
            <a:extLst>
              <a:ext uri="{FF2B5EF4-FFF2-40B4-BE49-F238E27FC236}">
                <a16:creationId xmlns:a16="http://schemas.microsoft.com/office/drawing/2014/main" id="{4ED4B32C-9E87-7E45-DF8A-2AC697DFFF97}"/>
              </a:ext>
            </a:extLst>
          </p:cNvPr>
          <p:cNvSpPr>
            <a:spLocks noGrp="1"/>
          </p:cNvSpPr>
          <p:nvPr>
            <p:ph type="body" sz="quarter" idx="15"/>
            <p:custDataLst>
              <p:tags r:id="rId3"/>
            </p:custDataLst>
          </p:nvPr>
        </p:nvSpPr>
        <p:spPr>
          <a:xfrm>
            <a:off x="7528861" y="783314"/>
            <a:ext cx="4663138" cy="6074687"/>
          </a:xfrm>
          <a:custGeom>
            <a:avLst/>
            <a:gdLst>
              <a:gd name="connsiteX0" fmla="*/ 4663138 w 4663138"/>
              <a:gd name="connsiteY0" fmla="*/ 0 h 6074687"/>
              <a:gd name="connsiteX1" fmla="*/ 4663138 w 4663138"/>
              <a:gd name="connsiteY1" fmla="*/ 6074687 h 6074687"/>
              <a:gd name="connsiteX2" fmla="*/ 0 w 4663138"/>
              <a:gd name="connsiteY2" fmla="*/ 6074687 h 6074687"/>
              <a:gd name="connsiteX3" fmla="*/ 403363 w 4663138"/>
              <a:gd name="connsiteY3" fmla="*/ 5549148 h 6074687"/>
              <a:gd name="connsiteX4" fmla="*/ 4209826 w 4663138"/>
              <a:gd name="connsiteY4" fmla="*/ 590438 h 607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3138" h="6074687">
                <a:moveTo>
                  <a:pt x="4663138" y="0"/>
                </a:moveTo>
                <a:lnTo>
                  <a:pt x="4663138" y="6074687"/>
                </a:lnTo>
                <a:lnTo>
                  <a:pt x="0" y="6074687"/>
                </a:lnTo>
                <a:lnTo>
                  <a:pt x="403363" y="5549148"/>
                </a:lnTo>
                <a:cubicBezTo>
                  <a:pt x="1649367" y="3925768"/>
                  <a:pt x="2999193" y="2167324"/>
                  <a:pt x="4209826" y="590438"/>
                </a:cubicBezTo>
                <a:close/>
              </a:path>
            </a:pathLst>
          </a:custGeom>
          <a:solidFill>
            <a:schemeClr val="tx2">
              <a:alpha val="50000"/>
            </a:schemeClr>
          </a:solidFill>
        </p:spPr>
        <p:txBody>
          <a:bodyPr vert="horz" wrap="square" lIns="0" tIns="0" rIns="0" bIns="0" rtlCol="0">
            <a:noAutofit/>
          </a:bodyPr>
          <a:lstStyle>
            <a:lvl1pPr>
              <a:defRPr lang="es-CL" dirty="0"/>
            </a:lvl1pPr>
          </a:lstStyle>
          <a:p>
            <a:pPr lvl="0"/>
            <a:r>
              <a:rPr lang="en-US"/>
              <a:t>Edit Master text styles</a:t>
            </a:r>
          </a:p>
        </p:txBody>
      </p:sp>
      <p:sp>
        <p:nvSpPr>
          <p:cNvPr id="5" name="Rechteck 4">
            <a:extLst>
              <a:ext uri="{FF2B5EF4-FFF2-40B4-BE49-F238E27FC236}">
                <a16:creationId xmlns:a16="http://schemas.microsoft.com/office/drawing/2014/main" id="{58F51B76-DBCC-B228-FB04-AB0F148BBE4D}"/>
              </a:ext>
            </a:extLst>
          </p:cNvPr>
          <p:cNvSpPr>
            <a:spLocks/>
          </p:cNvSpPr>
          <p:nvPr userDrawn="1">
            <p:custDataLst>
              <p:tags r:id="rId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8" name="Textplatzhalter 5">
            <a:extLst>
              <a:ext uri="{FF2B5EF4-FFF2-40B4-BE49-F238E27FC236}">
                <a16:creationId xmlns:a16="http://schemas.microsoft.com/office/drawing/2014/main" id="{1C56628C-AFA9-69E6-B4BE-FF4AEDAD8A8C}"/>
              </a:ext>
            </a:extLst>
          </p:cNvPr>
          <p:cNvSpPr>
            <a:spLocks noGrp="1"/>
          </p:cNvSpPr>
          <p:nvPr>
            <p:ph type="body" sz="quarter" idx="14" hasCustomPrompt="1"/>
            <p:custDataLst>
              <p:tags r:id="rId5"/>
            </p:custDataLst>
          </p:nvPr>
        </p:nvSpPr>
        <p:spPr>
          <a:xfrm>
            <a:off x="901700" y="1086263"/>
            <a:ext cx="56388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normalizeH="0"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31381982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hank you – Char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Thank you</a:t>
            </a:r>
          </a:p>
          <a:p>
            <a:pPr algn="ctr"/>
            <a:r>
              <a:rPr lang="pl-PL" sz="12000">
                <a:solidFill>
                  <a:schemeClr val="bg1"/>
                </a:solidFill>
              </a:rPr>
              <a:t>Welcome</a:t>
            </a:r>
            <a:endParaRPr lang="pl-PL" sz="12000" dirty="0">
              <a:solidFill>
                <a:schemeClr val="bg1"/>
              </a:solidFill>
            </a:endParaRPr>
          </a:p>
        </p:txBody>
      </p:sp>
    </p:spTree>
    <p:extLst>
      <p:ext uri="{BB962C8B-B14F-4D97-AF65-F5344CB8AC3E}">
        <p14:creationId xmlns:p14="http://schemas.microsoft.com/office/powerpoint/2010/main" val="38829632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hank you 3">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B538DFD6-CB5C-6822-2E93-F67F315A9D3D}"/>
              </a:ext>
            </a:extLst>
          </p:cNvPr>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3" name="Textfeld 2">
            <a:extLst>
              <a:ext uri="{FF2B5EF4-FFF2-40B4-BE49-F238E27FC236}">
                <a16:creationId xmlns:a16="http://schemas.microsoft.com/office/drawing/2014/main" id="{D9ADEC18-C71E-FF1A-266B-FA60F306A576}"/>
              </a:ext>
            </a:extLst>
          </p:cNvPr>
          <p:cNvSpPr txBox="1"/>
          <p:nvPr userDrawn="1">
            <p:custDataLst>
              <p:tags r:id="rId3"/>
            </p:custDataLst>
          </p:nvPr>
        </p:nvSpPr>
        <p:spPr>
          <a:xfrm>
            <a:off x="2277880" y="2736503"/>
            <a:ext cx="7633854" cy="1384995"/>
          </a:xfrm>
          <a:prstGeom prst="rect">
            <a:avLst/>
          </a:prstGeom>
        </p:spPr>
        <p:txBody>
          <a:bodyPr vert="horz" lIns="0" tIns="0" rIns="0" bIns="0" rtlCol="0" anchor="b">
            <a:spAutoFit/>
          </a:bodyPr>
          <a:lstStyle>
            <a:lvl1pPr>
              <a:lnSpc>
                <a:spcPct val="90000"/>
              </a:lnSpc>
              <a:spcBef>
                <a:spcPct val="0"/>
              </a:spcBef>
              <a:buNone/>
              <a:defRPr sz="4000" b="1" spc="30" baseline="0">
                <a:solidFill>
                  <a:schemeClr val="tx2"/>
                </a:solidFill>
                <a:latin typeface="+mj-lt"/>
                <a:ea typeface="+mj-ea"/>
                <a:cs typeface="+mj-cs"/>
              </a:defRPr>
            </a:lvl1pPr>
          </a:lstStyle>
          <a:p>
            <a:pPr lvl="0" algn="ctr"/>
            <a:r>
              <a:rPr lang="pl-PL" sz="10000"/>
              <a:t>Thank you</a:t>
            </a:r>
            <a:endParaRPr lang="pl-PL" sz="10000" dirty="0"/>
          </a:p>
        </p:txBody>
      </p:sp>
    </p:spTree>
    <p:extLst>
      <p:ext uri="{BB962C8B-B14F-4D97-AF65-F5344CB8AC3E}">
        <p14:creationId xmlns:p14="http://schemas.microsoft.com/office/powerpoint/2010/main" val="24023085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7B0EA-262C-77D5-C7A0-379F5FDB2925}"/>
              </a:ext>
            </a:extLst>
          </p:cNvPr>
          <p:cNvSpPr>
            <a:spLocks noGrp="1"/>
          </p:cNvSpPr>
          <p:nvPr>
            <p:ph type="title" hasCustomPrompt="1"/>
            <p:custDataLst>
              <p:tags r:id="rId1"/>
            </p:custDataLst>
          </p:nvPr>
        </p:nvSpPr>
        <p:spPr/>
        <p:txBody>
          <a:bodyPr/>
          <a:lstStyle>
            <a:lvl1pPr>
              <a:defRPr/>
            </a:lvl1pPr>
          </a:lstStyle>
          <a:p>
            <a:r>
              <a:rPr lang="pl-PL"/>
              <a:t>Agenda</a:t>
            </a:r>
            <a:endParaRPr lang="pl-PL" dirty="0"/>
          </a:p>
        </p:txBody>
      </p:sp>
      <p:sp>
        <p:nvSpPr>
          <p:cNvPr id="11" name="Textplatzhalter 10">
            <a:extLst>
              <a:ext uri="{FF2B5EF4-FFF2-40B4-BE49-F238E27FC236}">
                <a16:creationId xmlns:a16="http://schemas.microsoft.com/office/drawing/2014/main" id="{2F44C45B-292A-EE30-BF72-F9C1DF9B06AE}"/>
              </a:ext>
            </a:extLst>
          </p:cNvPr>
          <p:cNvSpPr>
            <a:spLocks noGrp="1"/>
          </p:cNvSpPr>
          <p:nvPr>
            <p:ph type="body" sz="quarter" idx="13" hasCustomPrompt="1"/>
            <p:custDataLst>
              <p:tags r:id="rId2"/>
            </p:custDataLst>
          </p:nvPr>
        </p:nvSpPr>
        <p:spPr>
          <a:xfrm>
            <a:off x="1999676" y="1874099"/>
            <a:ext cx="0" cy="691694"/>
          </a:xfrm>
          <a:prstGeom prst="rect">
            <a:avLst/>
          </a:prstGeom>
          <a:ln w="12700">
            <a:solidFill>
              <a:schemeClr val="tx1"/>
            </a:solidFill>
          </a:ln>
        </p:spPr>
        <p:txBody>
          <a:bodyPr wrap="none" lIns="0" tIns="0" rIns="0" bIns="25200" anchor="ctr">
            <a:noAutofit/>
          </a:bodyPr>
          <a:lstStyle>
            <a:lvl1pPr marL="0" indent="0" algn="r">
              <a:lnSpc>
                <a:spcPct val="100000"/>
              </a:lnSpc>
              <a:spcBef>
                <a:spcPts val="0"/>
              </a:spcBef>
              <a:buFont typeface="Arial" panose="020B0604020202020204" pitchFamily="34" charset="0"/>
              <a:buNone/>
              <a:defRPr sz="75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1</a:t>
            </a:r>
            <a:endParaRPr lang="pl-PL" dirty="0"/>
          </a:p>
        </p:txBody>
      </p:sp>
      <p:sp>
        <p:nvSpPr>
          <p:cNvPr id="12" name="Textplatzhalter 11">
            <a:extLst>
              <a:ext uri="{FF2B5EF4-FFF2-40B4-BE49-F238E27FC236}">
                <a16:creationId xmlns:a16="http://schemas.microsoft.com/office/drawing/2014/main" id="{8C488003-CE45-2EAA-62F7-703B990983A1}"/>
              </a:ext>
            </a:extLst>
          </p:cNvPr>
          <p:cNvSpPr>
            <a:spLocks noGrp="1"/>
          </p:cNvSpPr>
          <p:nvPr>
            <p:ph type="body" sz="quarter" idx="15" hasCustomPrompt="1"/>
            <p:custDataLst>
              <p:tags r:id="rId3"/>
            </p:custDataLst>
          </p:nvPr>
        </p:nvSpPr>
        <p:spPr>
          <a:xfrm>
            <a:off x="7640780" y="1874099"/>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4</a:t>
            </a:r>
            <a:endParaRPr lang="pl-PL" dirty="0"/>
          </a:p>
        </p:txBody>
      </p:sp>
      <p:sp>
        <p:nvSpPr>
          <p:cNvPr id="16" name="Textplatzhalter 15">
            <a:extLst>
              <a:ext uri="{FF2B5EF4-FFF2-40B4-BE49-F238E27FC236}">
                <a16:creationId xmlns:a16="http://schemas.microsoft.com/office/drawing/2014/main" id="{7DC518CE-B095-B87F-549B-801A366F15AA}"/>
              </a:ext>
            </a:extLst>
          </p:cNvPr>
          <p:cNvSpPr>
            <a:spLocks noGrp="1"/>
          </p:cNvSpPr>
          <p:nvPr>
            <p:ph type="body" sz="quarter" idx="19" hasCustomPrompt="1"/>
            <p:custDataLst>
              <p:tags r:id="rId4"/>
            </p:custDataLst>
          </p:nvPr>
        </p:nvSpPr>
        <p:spPr>
          <a:xfrm>
            <a:off x="1999676" y="3494964"/>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2</a:t>
            </a:r>
            <a:endParaRPr lang="pl-PL" dirty="0"/>
          </a:p>
        </p:txBody>
      </p:sp>
      <p:sp>
        <p:nvSpPr>
          <p:cNvPr id="18" name="Textplatzhalter 17">
            <a:extLst>
              <a:ext uri="{FF2B5EF4-FFF2-40B4-BE49-F238E27FC236}">
                <a16:creationId xmlns:a16="http://schemas.microsoft.com/office/drawing/2014/main" id="{D695D963-BBAB-B8F7-2748-9853FFC81699}"/>
              </a:ext>
            </a:extLst>
          </p:cNvPr>
          <p:cNvSpPr>
            <a:spLocks noGrp="1"/>
          </p:cNvSpPr>
          <p:nvPr>
            <p:ph type="body" sz="quarter" idx="21" hasCustomPrompt="1"/>
            <p:custDataLst>
              <p:tags r:id="rId5"/>
            </p:custDataLst>
          </p:nvPr>
        </p:nvSpPr>
        <p:spPr>
          <a:xfrm>
            <a:off x="7640780" y="3494964"/>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5</a:t>
            </a:r>
            <a:endParaRPr lang="pl-PL" dirty="0"/>
          </a:p>
        </p:txBody>
      </p:sp>
      <p:sp>
        <p:nvSpPr>
          <p:cNvPr id="22" name="Textplatzhalter 21">
            <a:extLst>
              <a:ext uri="{FF2B5EF4-FFF2-40B4-BE49-F238E27FC236}">
                <a16:creationId xmlns:a16="http://schemas.microsoft.com/office/drawing/2014/main" id="{DE8125E5-DF43-EDF6-850D-48A75028AD08}"/>
              </a:ext>
            </a:extLst>
          </p:cNvPr>
          <p:cNvSpPr>
            <a:spLocks noGrp="1"/>
          </p:cNvSpPr>
          <p:nvPr>
            <p:ph type="body" sz="quarter" idx="25" hasCustomPrompt="1"/>
            <p:custDataLst>
              <p:tags r:id="rId6"/>
            </p:custDataLst>
          </p:nvPr>
        </p:nvSpPr>
        <p:spPr>
          <a:xfrm>
            <a:off x="1999676" y="5115831"/>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3</a:t>
            </a:r>
            <a:endParaRPr lang="pl-PL" dirty="0"/>
          </a:p>
        </p:txBody>
      </p:sp>
      <p:sp>
        <p:nvSpPr>
          <p:cNvPr id="24" name="Textplatzhalter 23">
            <a:extLst>
              <a:ext uri="{FF2B5EF4-FFF2-40B4-BE49-F238E27FC236}">
                <a16:creationId xmlns:a16="http://schemas.microsoft.com/office/drawing/2014/main" id="{F53124D2-8D37-CBBB-5F9C-6ADCD612BC02}"/>
              </a:ext>
            </a:extLst>
          </p:cNvPr>
          <p:cNvSpPr>
            <a:spLocks noGrp="1"/>
          </p:cNvSpPr>
          <p:nvPr>
            <p:ph type="body" sz="quarter" idx="27" hasCustomPrompt="1"/>
            <p:custDataLst>
              <p:tags r:id="rId7"/>
            </p:custDataLst>
          </p:nvPr>
        </p:nvSpPr>
        <p:spPr>
          <a:xfrm>
            <a:off x="7640780" y="5115830"/>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6</a:t>
            </a:r>
            <a:endParaRPr lang="pl-PL" dirty="0"/>
          </a:p>
        </p:txBody>
      </p:sp>
      <p:sp>
        <p:nvSpPr>
          <p:cNvPr id="8" name="Textplatzhalter 6">
            <a:extLst>
              <a:ext uri="{FF2B5EF4-FFF2-40B4-BE49-F238E27FC236}">
                <a16:creationId xmlns:a16="http://schemas.microsoft.com/office/drawing/2014/main" id="{0904E236-B9F6-3BBC-A2C6-39313C076A46}"/>
              </a:ext>
            </a:extLst>
          </p:cNvPr>
          <p:cNvSpPr>
            <a:spLocks noGrp="1"/>
          </p:cNvSpPr>
          <p:nvPr>
            <p:ph type="body" sz="quarter" idx="14" hasCustomPrompt="1"/>
            <p:custDataLst>
              <p:tags r:id="rId8"/>
            </p:custDataLst>
          </p:nvPr>
        </p:nvSpPr>
        <p:spPr>
          <a:xfrm>
            <a:off x="1999675" y="1548000"/>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7" name="Textplatzhalter 6">
            <a:extLst>
              <a:ext uri="{FF2B5EF4-FFF2-40B4-BE49-F238E27FC236}">
                <a16:creationId xmlns:a16="http://schemas.microsoft.com/office/drawing/2014/main" id="{30357EFF-90CA-E1D7-BA33-48A9A566F2F2}"/>
              </a:ext>
            </a:extLst>
          </p:cNvPr>
          <p:cNvSpPr>
            <a:spLocks noGrp="1"/>
          </p:cNvSpPr>
          <p:nvPr>
            <p:ph type="body" sz="quarter" idx="34" hasCustomPrompt="1"/>
            <p:custDataLst>
              <p:tags r:id="rId9"/>
            </p:custDataLst>
          </p:nvPr>
        </p:nvSpPr>
        <p:spPr>
          <a:xfrm>
            <a:off x="1999676" y="3168866"/>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9" name="Textplatzhalter 6">
            <a:extLst>
              <a:ext uri="{FF2B5EF4-FFF2-40B4-BE49-F238E27FC236}">
                <a16:creationId xmlns:a16="http://schemas.microsoft.com/office/drawing/2014/main" id="{B8495873-12FA-19EE-6EF0-60CD546FEF81}"/>
              </a:ext>
            </a:extLst>
          </p:cNvPr>
          <p:cNvSpPr>
            <a:spLocks noGrp="1"/>
          </p:cNvSpPr>
          <p:nvPr>
            <p:ph type="body" sz="quarter" idx="35" hasCustomPrompt="1"/>
            <p:custDataLst>
              <p:tags r:id="rId10"/>
            </p:custDataLst>
          </p:nvPr>
        </p:nvSpPr>
        <p:spPr>
          <a:xfrm>
            <a:off x="1999676" y="4789732"/>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10" name="Textplatzhalter 6">
            <a:extLst>
              <a:ext uri="{FF2B5EF4-FFF2-40B4-BE49-F238E27FC236}">
                <a16:creationId xmlns:a16="http://schemas.microsoft.com/office/drawing/2014/main" id="{89B84C54-B00C-472C-AD94-5A5952ADC9B6}"/>
              </a:ext>
            </a:extLst>
          </p:cNvPr>
          <p:cNvSpPr>
            <a:spLocks noGrp="1"/>
          </p:cNvSpPr>
          <p:nvPr>
            <p:ph type="body" sz="quarter" idx="36" hasCustomPrompt="1"/>
            <p:custDataLst>
              <p:tags r:id="rId11"/>
            </p:custDataLst>
          </p:nvPr>
        </p:nvSpPr>
        <p:spPr>
          <a:xfrm>
            <a:off x="7640780" y="1548000"/>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28" name="Textplatzhalter 6">
            <a:extLst>
              <a:ext uri="{FF2B5EF4-FFF2-40B4-BE49-F238E27FC236}">
                <a16:creationId xmlns:a16="http://schemas.microsoft.com/office/drawing/2014/main" id="{FF47FC94-EA60-66FB-5BA2-3D2C15C95158}"/>
              </a:ext>
            </a:extLst>
          </p:cNvPr>
          <p:cNvSpPr>
            <a:spLocks noGrp="1"/>
          </p:cNvSpPr>
          <p:nvPr>
            <p:ph type="body" sz="quarter" idx="37" hasCustomPrompt="1"/>
            <p:custDataLst>
              <p:tags r:id="rId12"/>
            </p:custDataLst>
          </p:nvPr>
        </p:nvSpPr>
        <p:spPr>
          <a:xfrm>
            <a:off x="7640780" y="3168866"/>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31" name="Textplatzhalter 6">
            <a:extLst>
              <a:ext uri="{FF2B5EF4-FFF2-40B4-BE49-F238E27FC236}">
                <a16:creationId xmlns:a16="http://schemas.microsoft.com/office/drawing/2014/main" id="{BF567C26-0943-FEEA-4B91-4C8BE0C70A25}"/>
              </a:ext>
            </a:extLst>
          </p:cNvPr>
          <p:cNvSpPr>
            <a:spLocks noGrp="1"/>
          </p:cNvSpPr>
          <p:nvPr>
            <p:ph type="body" sz="quarter" idx="38" hasCustomPrompt="1"/>
            <p:custDataLst>
              <p:tags r:id="rId13"/>
            </p:custDataLst>
          </p:nvPr>
        </p:nvSpPr>
        <p:spPr>
          <a:xfrm>
            <a:off x="7640780" y="4789732"/>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3" name="Datumsplatzhalter 2">
            <a:extLst>
              <a:ext uri="{FF2B5EF4-FFF2-40B4-BE49-F238E27FC236}">
                <a16:creationId xmlns:a16="http://schemas.microsoft.com/office/drawing/2014/main" id="{B4F1B6CF-BE53-B3F8-8FF2-C24B667FA2C6}"/>
              </a:ext>
            </a:extLst>
          </p:cNvPr>
          <p:cNvSpPr>
            <a:spLocks noGrp="1"/>
          </p:cNvSpPr>
          <p:nvPr>
            <p:ph type="dt" sz="half" idx="42"/>
            <p:custDataLst>
              <p:tags r:id="rId14"/>
            </p:custDataLst>
          </p:nvPr>
        </p:nvSpPr>
        <p:spPr/>
        <p:txBody>
          <a:bodyPr/>
          <a:lstStyle/>
          <a:p>
            <a:r>
              <a:rPr lang="en-US"/>
              <a:t>01.08.2023</a:t>
            </a:r>
            <a:endParaRPr lang="pl-PL" dirty="0"/>
          </a:p>
        </p:txBody>
      </p:sp>
      <p:sp>
        <p:nvSpPr>
          <p:cNvPr id="13" name="Fußzeilenplatzhalter 12">
            <a:extLst>
              <a:ext uri="{FF2B5EF4-FFF2-40B4-BE49-F238E27FC236}">
                <a16:creationId xmlns:a16="http://schemas.microsoft.com/office/drawing/2014/main" id="{03B78E85-F180-447A-6252-C32A17B73951}"/>
              </a:ext>
            </a:extLst>
          </p:cNvPr>
          <p:cNvSpPr>
            <a:spLocks noGrp="1"/>
          </p:cNvSpPr>
          <p:nvPr>
            <p:ph type="ftr" sz="quarter" idx="43"/>
            <p:custDataLst>
              <p:tags r:id="rId15"/>
            </p:custDataLst>
          </p:nvPr>
        </p:nvSpPr>
        <p:spPr/>
        <p:txBody>
          <a:bodyPr/>
          <a:lstStyle/>
          <a:p>
            <a:r>
              <a:rPr lang="pl-PL"/>
              <a:t>Najważniejsze informacje o dawstwie szpiku - Prezentacja w ramach projektu #KOMÓRKOMANIA | C1 - publiczna</a:t>
            </a:r>
            <a:endParaRPr lang="pl-PL" dirty="0"/>
          </a:p>
        </p:txBody>
      </p:sp>
      <p:sp>
        <p:nvSpPr>
          <p:cNvPr id="15" name="Foliennummernplatzhalter 14">
            <a:extLst>
              <a:ext uri="{FF2B5EF4-FFF2-40B4-BE49-F238E27FC236}">
                <a16:creationId xmlns:a16="http://schemas.microsoft.com/office/drawing/2014/main" id="{99BD2C93-3E06-36D8-D1A8-DDDFC8D0C049}"/>
              </a:ext>
            </a:extLst>
          </p:cNvPr>
          <p:cNvSpPr>
            <a:spLocks noGrp="1"/>
          </p:cNvSpPr>
          <p:nvPr>
            <p:ph type="sldNum" sz="quarter" idx="44"/>
            <p:custDataLst>
              <p:tags r:id="rId1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6961781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Wellcome">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CE3285B1-E7E6-3C0A-E13F-B5565B2F1E84}"/>
              </a:ext>
            </a:extLst>
          </p:cNvPr>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3" name="Textfeld 2">
            <a:extLst>
              <a:ext uri="{FF2B5EF4-FFF2-40B4-BE49-F238E27FC236}">
                <a16:creationId xmlns:a16="http://schemas.microsoft.com/office/drawing/2014/main" id="{D9ADEC18-C71E-FF1A-266B-FA60F306A576}"/>
              </a:ext>
            </a:extLst>
          </p:cNvPr>
          <p:cNvSpPr txBox="1"/>
          <p:nvPr userDrawn="1">
            <p:custDataLst>
              <p:tags r:id="rId3"/>
            </p:custDataLst>
          </p:nvPr>
        </p:nvSpPr>
        <p:spPr>
          <a:xfrm>
            <a:off x="2277880" y="2736503"/>
            <a:ext cx="7633854" cy="1384995"/>
          </a:xfrm>
          <a:prstGeom prst="rect">
            <a:avLst/>
          </a:prstGeom>
        </p:spPr>
        <p:txBody>
          <a:bodyPr vert="horz" lIns="0" tIns="0" rIns="0" bIns="0" rtlCol="0" anchor="b">
            <a:spAutoFit/>
          </a:bodyPr>
          <a:lstStyle>
            <a:lvl1pPr>
              <a:lnSpc>
                <a:spcPct val="90000"/>
              </a:lnSpc>
              <a:spcBef>
                <a:spcPct val="0"/>
              </a:spcBef>
              <a:buNone/>
              <a:defRPr sz="4000" b="1" spc="30" baseline="0">
                <a:solidFill>
                  <a:schemeClr val="tx2"/>
                </a:solidFill>
                <a:latin typeface="+mj-lt"/>
                <a:ea typeface="+mj-ea"/>
                <a:cs typeface="+mj-cs"/>
              </a:defRPr>
            </a:lvl1pPr>
          </a:lstStyle>
          <a:p>
            <a:pPr lvl="0" algn="ctr"/>
            <a:r>
              <a:rPr lang="pl-PL" sz="10000"/>
              <a:t>Welcome</a:t>
            </a:r>
            <a:endParaRPr lang="pl-PL" sz="10000" dirty="0"/>
          </a:p>
        </p:txBody>
      </p:sp>
    </p:spTree>
    <p:extLst>
      <p:ext uri="{BB962C8B-B14F-4D97-AF65-F5344CB8AC3E}">
        <p14:creationId xmlns:p14="http://schemas.microsoft.com/office/powerpoint/2010/main" val="11799625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End of Slide master">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End of Slide master</a:t>
            </a:r>
            <a:endParaRPr lang="pl-PL" sz="12000" dirty="0">
              <a:solidFill>
                <a:schemeClr val="bg1"/>
              </a:solidFill>
            </a:endParaRPr>
          </a:p>
        </p:txBody>
      </p:sp>
    </p:spTree>
    <p:extLst>
      <p:ext uri="{BB962C8B-B14F-4D97-AF65-F5344CB8AC3E}">
        <p14:creationId xmlns:p14="http://schemas.microsoft.com/office/powerpoint/2010/main" val="21274891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 you 2">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87FD18D-8996-69AD-CF39-1C7BB1707FE1}"/>
              </a:ext>
            </a:extLst>
          </p:cNvPr>
          <p:cNvSpPr/>
          <p:nvPr userDrawn="1">
            <p:custDataLst>
              <p:tags r:id="rId1"/>
            </p:custDataLst>
          </p:nvPr>
        </p:nvSpPr>
        <p:spPr>
          <a:xfrm>
            <a:off x="529262"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pic>
        <p:nvPicPr>
          <p:cNvPr id="13" name="Grafik 12">
            <a:extLst>
              <a:ext uri="{FF2B5EF4-FFF2-40B4-BE49-F238E27FC236}">
                <a16:creationId xmlns:a16="http://schemas.microsoft.com/office/drawing/2014/main" id="{D52FA78E-E528-4CE1-A9D1-29B68C4123A7}"/>
              </a:ext>
            </a:extLst>
          </p:cNvPr>
          <p:cNvPicPr>
            <a:picLocks noChangeAspect="1"/>
          </p:cNvPicPr>
          <p:nvPr userDrawn="1"/>
        </p:nvPicPr>
        <p:blipFill>
          <a:blip r:embed="rId5"/>
          <a:stretch>
            <a:fillRect/>
          </a:stretch>
        </p:blipFill>
        <p:spPr>
          <a:xfrm>
            <a:off x="896340" y="448674"/>
            <a:ext cx="2460376" cy="727764"/>
          </a:xfrm>
          <a:prstGeom prst="rect">
            <a:avLst/>
          </a:prstGeom>
        </p:spPr>
      </p:pic>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8" name="Text Placeholder 12">
            <a:extLst>
              <a:ext uri="{FF2B5EF4-FFF2-40B4-BE49-F238E27FC236}">
                <a16:creationId xmlns:a16="http://schemas.microsoft.com/office/drawing/2014/main" id="{388FDC1D-98C3-A793-A32D-1FBEBA6D4069}"/>
              </a:ext>
            </a:extLst>
          </p:cNvPr>
          <p:cNvSpPr>
            <a:spLocks noGrp="1"/>
          </p:cNvSpPr>
          <p:nvPr>
            <p:ph type="body" sz="quarter" idx="10" hasCustomPrompt="1"/>
            <p:custDataLst>
              <p:tags r:id="rId3"/>
            </p:custDataLst>
          </p:nvPr>
        </p:nvSpPr>
        <p:spPr>
          <a:xfrm>
            <a:off x="900000" y="3599246"/>
            <a:ext cx="3798107" cy="2534854"/>
          </a:xfrm>
        </p:spPr>
        <p:txBody>
          <a:bodyPr anchor="t">
            <a:noAutofit/>
          </a:bodyPr>
          <a:lstStyle>
            <a:lvl1pPr algn="l">
              <a:lnSpc>
                <a:spcPct val="100000"/>
              </a:lnSpc>
              <a:spcAft>
                <a:spcPts val="300"/>
              </a:spcAft>
              <a:defRPr sz="1200" b="0">
                <a:solidFill>
                  <a:schemeClr val="tx1"/>
                </a:solidFill>
              </a:defRPr>
            </a:lvl1pPr>
            <a:lvl2pPr marL="0" indent="0">
              <a:lnSpc>
                <a:spcPct val="100000"/>
              </a:lnSpc>
              <a:spcAft>
                <a:spcPts val="300"/>
              </a:spcAft>
              <a:buFont typeface="Arial" panose="020B0604020202020204" pitchFamily="34" charset="0"/>
              <a:buNone/>
              <a:defRPr sz="1200" b="0">
                <a:solidFill>
                  <a:schemeClr val="tx1"/>
                </a:solidFill>
              </a:defRPr>
            </a:lvl2pPr>
            <a:lvl3pPr marL="0" indent="0">
              <a:lnSpc>
                <a:spcPct val="100000"/>
              </a:lnSpc>
              <a:buNone/>
              <a:defRPr sz="1200" b="0">
                <a:solidFill>
                  <a:schemeClr val="tx1"/>
                </a:solidFill>
              </a:defRPr>
            </a:lvl3pPr>
            <a:lvl4pPr marL="0" indent="0">
              <a:lnSpc>
                <a:spcPct val="100000"/>
              </a:lnSpc>
              <a:buNone/>
              <a:defRPr sz="1200" b="0">
                <a:solidFill>
                  <a:schemeClr val="tx1"/>
                </a:solidFill>
              </a:defRPr>
            </a:lvl4pPr>
            <a:lvl5pPr>
              <a:lnSpc>
                <a:spcPct val="100000"/>
              </a:lnSpc>
              <a:defRPr sz="1200" b="0">
                <a:solidFill>
                  <a:schemeClr val="tx1"/>
                </a:solidFill>
              </a:defRPr>
            </a:lvl5pPr>
            <a:lvl6pPr>
              <a:lnSpc>
                <a:spcPct val="100000"/>
              </a:lnSpc>
              <a:defRPr sz="1200" b="0">
                <a:solidFill>
                  <a:schemeClr val="tx1"/>
                </a:solidFill>
              </a:defRPr>
            </a:lvl6pPr>
            <a:lvl7pPr marL="0" indent="0">
              <a:lnSpc>
                <a:spcPct val="100000"/>
              </a:lnSpc>
              <a:buNone/>
              <a:defRPr sz="1200" b="0">
                <a:solidFill>
                  <a:schemeClr val="tx1"/>
                </a:solidFill>
              </a:defRPr>
            </a:lvl7pPr>
            <a:lvl8pPr marL="0" indent="0">
              <a:lnSpc>
                <a:spcPct val="100000"/>
              </a:lnSpc>
              <a:buNone/>
              <a:defRPr sz="1200" b="0">
                <a:solidFill>
                  <a:schemeClr val="tx1"/>
                </a:solidFill>
              </a:defRPr>
            </a:lvl8pPr>
            <a:lvl9pPr>
              <a:lnSpc>
                <a:spcPct val="100000"/>
              </a:lnSpc>
              <a:defRPr sz="1200" b="0">
                <a:solidFill>
                  <a:schemeClr val="tx1"/>
                </a:solidFill>
              </a:defRPr>
            </a:lvl9pPr>
          </a:lstStyle>
          <a:p>
            <a:r>
              <a:rPr lang="pl-PL" dirty="0"/>
              <a:t>Funda</a:t>
            </a:r>
            <a:r>
              <a:rPr lang="de-DE" dirty="0" err="1"/>
              <a:t>cja</a:t>
            </a:r>
            <a:r>
              <a:rPr lang="pl-PL" dirty="0"/>
              <a:t> </a:t>
            </a:r>
            <a:r>
              <a:rPr lang="pl-PL" b="1" dirty="0">
                <a:solidFill>
                  <a:schemeClr val="accent1"/>
                </a:solidFill>
              </a:rPr>
              <a:t>DKMS</a:t>
            </a:r>
            <a:endParaRPr lang="pl-PL" dirty="0"/>
          </a:p>
          <a:p>
            <a:r>
              <a:rPr lang="pl-PL" dirty="0"/>
              <a:t>ul. Altowa 6/9</a:t>
            </a:r>
          </a:p>
          <a:p>
            <a:r>
              <a:rPr lang="pl-PL" dirty="0"/>
              <a:t>02-386 Warszawa</a:t>
            </a:r>
          </a:p>
          <a:p>
            <a:r>
              <a:rPr lang="pl-PL" dirty="0"/>
              <a:t>Polska</a:t>
            </a:r>
          </a:p>
          <a:p>
            <a:r>
              <a:rPr lang="pl-PL" dirty="0"/>
              <a:t>T +48 22 882 94 00 </a:t>
            </a:r>
            <a:br>
              <a:rPr lang="pl-PL" dirty="0"/>
            </a:br>
            <a:r>
              <a:rPr lang="pl-PL" dirty="0"/>
              <a:t>F +48 22 882 94 02 </a:t>
            </a:r>
          </a:p>
          <a:p>
            <a:r>
              <a:rPr lang="de-DE" dirty="0"/>
              <a:t>kontakt</a:t>
            </a:r>
            <a:r>
              <a:rPr lang="pl-PL" dirty="0"/>
              <a:t>@dkms.pl</a:t>
            </a:r>
            <a:endParaRPr lang="de-DE" dirty="0"/>
          </a:p>
          <a:p>
            <a:pPr lvl="1"/>
            <a:endParaRPr lang="pl-PL" dirty="0"/>
          </a:p>
          <a:p>
            <a:pPr lvl="1"/>
            <a:r>
              <a:rPr lang="pl-PL" dirty="0" err="1"/>
              <a:t>dkms</a:t>
            </a:r>
            <a:r>
              <a:rPr lang="pl-PL" dirty="0"/>
              <a:t>.</a:t>
            </a:r>
            <a:r>
              <a:rPr lang="de-DE" dirty="0"/>
              <a:t>p</a:t>
            </a:r>
            <a:r>
              <a:rPr lang="pl-PL" dirty="0"/>
              <a:t>l</a:t>
            </a:r>
          </a:p>
          <a:p>
            <a:pPr lvl="1"/>
            <a:br>
              <a:rPr lang="pl-PL" dirty="0"/>
            </a:br>
            <a:r>
              <a:rPr lang="pl-PL" dirty="0"/>
              <a:t>© DKMS 2023</a:t>
            </a:r>
          </a:p>
        </p:txBody>
      </p:sp>
    </p:spTree>
    <p:extLst>
      <p:ext uri="{BB962C8B-B14F-4D97-AF65-F5344CB8AC3E}">
        <p14:creationId xmlns:p14="http://schemas.microsoft.com/office/powerpoint/2010/main" val="3658428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Agenda ">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7B0EA-262C-77D5-C7A0-379F5FDB2925}"/>
              </a:ext>
            </a:extLst>
          </p:cNvPr>
          <p:cNvSpPr>
            <a:spLocks noGrp="1"/>
          </p:cNvSpPr>
          <p:nvPr>
            <p:ph type="title" hasCustomPrompt="1"/>
            <p:custDataLst>
              <p:tags r:id="rId1"/>
            </p:custDataLst>
          </p:nvPr>
        </p:nvSpPr>
        <p:spPr>
          <a:xfrm>
            <a:off x="962024" y="684000"/>
            <a:ext cx="9820275" cy="758396"/>
          </a:xfrm>
        </p:spPr>
        <p:txBody>
          <a:bodyPr/>
          <a:lstStyle>
            <a:lvl1pPr>
              <a:defRPr/>
            </a:lvl1pPr>
          </a:lstStyle>
          <a:p>
            <a:r>
              <a:rPr lang="pl-PL"/>
              <a:t>Agenda</a:t>
            </a:r>
            <a:endParaRPr lang="pl-PL" dirty="0"/>
          </a:p>
        </p:txBody>
      </p:sp>
      <p:sp>
        <p:nvSpPr>
          <p:cNvPr id="11" name="Textplatzhalter 10">
            <a:extLst>
              <a:ext uri="{FF2B5EF4-FFF2-40B4-BE49-F238E27FC236}">
                <a16:creationId xmlns:a16="http://schemas.microsoft.com/office/drawing/2014/main" id="{2F44C45B-292A-EE30-BF72-F9C1DF9B06AE}"/>
              </a:ext>
            </a:extLst>
          </p:cNvPr>
          <p:cNvSpPr>
            <a:spLocks noGrp="1"/>
          </p:cNvSpPr>
          <p:nvPr>
            <p:ph type="body" sz="quarter" idx="13" hasCustomPrompt="1"/>
            <p:custDataLst>
              <p:tags r:id="rId2"/>
            </p:custDataLst>
          </p:nvPr>
        </p:nvSpPr>
        <p:spPr>
          <a:xfrm>
            <a:off x="1651441" y="1830699"/>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1</a:t>
            </a:r>
            <a:endParaRPr lang="pl-PL" dirty="0"/>
          </a:p>
        </p:txBody>
      </p:sp>
      <p:sp>
        <p:nvSpPr>
          <p:cNvPr id="8" name="Textplatzhalter 6">
            <a:extLst>
              <a:ext uri="{FF2B5EF4-FFF2-40B4-BE49-F238E27FC236}">
                <a16:creationId xmlns:a16="http://schemas.microsoft.com/office/drawing/2014/main" id="{0904E236-B9F6-3BBC-A2C6-39313C076A46}"/>
              </a:ext>
            </a:extLst>
          </p:cNvPr>
          <p:cNvSpPr>
            <a:spLocks noGrp="1"/>
          </p:cNvSpPr>
          <p:nvPr>
            <p:ph type="body" sz="quarter" idx="14" hasCustomPrompt="1"/>
            <p:custDataLst>
              <p:tags r:id="rId3"/>
            </p:custDataLst>
          </p:nvPr>
        </p:nvSpPr>
        <p:spPr>
          <a:xfrm>
            <a:off x="1651441" y="1704699"/>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3" name="Datumsplatzhalter 2">
            <a:extLst>
              <a:ext uri="{FF2B5EF4-FFF2-40B4-BE49-F238E27FC236}">
                <a16:creationId xmlns:a16="http://schemas.microsoft.com/office/drawing/2014/main" id="{B4F1B6CF-BE53-B3F8-8FF2-C24B667FA2C6}"/>
              </a:ext>
            </a:extLst>
          </p:cNvPr>
          <p:cNvSpPr>
            <a:spLocks noGrp="1"/>
          </p:cNvSpPr>
          <p:nvPr>
            <p:ph type="dt" sz="half" idx="42"/>
            <p:custDataLst>
              <p:tags r:id="rId4"/>
            </p:custDataLst>
          </p:nvPr>
        </p:nvSpPr>
        <p:spPr/>
        <p:txBody>
          <a:bodyPr/>
          <a:lstStyle/>
          <a:p>
            <a:r>
              <a:rPr lang="en-US"/>
              <a:t>01.08.2023</a:t>
            </a:r>
            <a:endParaRPr lang="pl-PL" dirty="0"/>
          </a:p>
        </p:txBody>
      </p:sp>
      <p:sp>
        <p:nvSpPr>
          <p:cNvPr id="13" name="Fußzeilenplatzhalter 12">
            <a:extLst>
              <a:ext uri="{FF2B5EF4-FFF2-40B4-BE49-F238E27FC236}">
                <a16:creationId xmlns:a16="http://schemas.microsoft.com/office/drawing/2014/main" id="{03B78E85-F180-447A-6252-C32A17B73951}"/>
              </a:ext>
            </a:extLst>
          </p:cNvPr>
          <p:cNvSpPr>
            <a:spLocks noGrp="1"/>
          </p:cNvSpPr>
          <p:nvPr>
            <p:ph type="ftr" sz="quarter" idx="43"/>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5" name="Foliennummernplatzhalter 14">
            <a:extLst>
              <a:ext uri="{FF2B5EF4-FFF2-40B4-BE49-F238E27FC236}">
                <a16:creationId xmlns:a16="http://schemas.microsoft.com/office/drawing/2014/main" id="{99BD2C93-3E06-36D8-D1A8-DDDFC8D0C049}"/>
              </a:ext>
            </a:extLst>
          </p:cNvPr>
          <p:cNvSpPr>
            <a:spLocks noGrp="1"/>
          </p:cNvSpPr>
          <p:nvPr>
            <p:ph type="sldNum" sz="quarter" idx="44"/>
            <p:custDataLst>
              <p:tags r:id="rId6"/>
            </p:custDataLst>
          </p:nvPr>
        </p:nvSpPr>
        <p:spPr/>
        <p:txBody>
          <a:bodyPr/>
          <a:lstStyle/>
          <a:p>
            <a:fld id="{92DB0D90-6264-4E90-9724-ABC670DBF4FB}" type="slidenum">
              <a:rPr lang="pl-PL" smtClean="0"/>
              <a:pPr/>
              <a:t>‹#›</a:t>
            </a:fld>
            <a:endParaRPr lang="pl-PL" dirty="0"/>
          </a:p>
        </p:txBody>
      </p:sp>
      <p:sp>
        <p:nvSpPr>
          <p:cNvPr id="6" name="Textplatzhalter 10">
            <a:extLst>
              <a:ext uri="{FF2B5EF4-FFF2-40B4-BE49-F238E27FC236}">
                <a16:creationId xmlns:a16="http://schemas.microsoft.com/office/drawing/2014/main" id="{5397AEE5-D688-CFFA-C9CA-65B42041E5F3}"/>
              </a:ext>
            </a:extLst>
          </p:cNvPr>
          <p:cNvSpPr>
            <a:spLocks noGrp="1"/>
          </p:cNvSpPr>
          <p:nvPr>
            <p:ph type="body" sz="quarter" idx="45" hasCustomPrompt="1"/>
            <p:custDataLst>
              <p:tags r:id="rId7"/>
            </p:custDataLst>
          </p:nvPr>
        </p:nvSpPr>
        <p:spPr>
          <a:xfrm>
            <a:off x="1651441" y="2816968"/>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2</a:t>
            </a:r>
            <a:endParaRPr lang="pl-PL" dirty="0"/>
          </a:p>
        </p:txBody>
      </p:sp>
      <p:sp>
        <p:nvSpPr>
          <p:cNvPr id="10" name="Textplatzhalter 6">
            <a:extLst>
              <a:ext uri="{FF2B5EF4-FFF2-40B4-BE49-F238E27FC236}">
                <a16:creationId xmlns:a16="http://schemas.microsoft.com/office/drawing/2014/main" id="{014F6DB2-08EC-1B27-A868-912C245B3D57}"/>
              </a:ext>
            </a:extLst>
          </p:cNvPr>
          <p:cNvSpPr>
            <a:spLocks noGrp="1"/>
          </p:cNvSpPr>
          <p:nvPr>
            <p:ph type="body" sz="quarter" idx="46" hasCustomPrompt="1"/>
            <p:custDataLst>
              <p:tags r:id="rId8"/>
            </p:custDataLst>
          </p:nvPr>
        </p:nvSpPr>
        <p:spPr>
          <a:xfrm>
            <a:off x="1651441" y="2690968"/>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12" name="Textplatzhalter 10">
            <a:extLst>
              <a:ext uri="{FF2B5EF4-FFF2-40B4-BE49-F238E27FC236}">
                <a16:creationId xmlns:a16="http://schemas.microsoft.com/office/drawing/2014/main" id="{F0FFE843-D148-A681-8D9E-305FF941EABD}"/>
              </a:ext>
            </a:extLst>
          </p:cNvPr>
          <p:cNvSpPr>
            <a:spLocks noGrp="1"/>
          </p:cNvSpPr>
          <p:nvPr>
            <p:ph type="body" sz="quarter" idx="47" hasCustomPrompt="1"/>
            <p:custDataLst>
              <p:tags r:id="rId9"/>
            </p:custDataLst>
          </p:nvPr>
        </p:nvSpPr>
        <p:spPr>
          <a:xfrm>
            <a:off x="1651441" y="3803237"/>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3</a:t>
            </a:r>
            <a:endParaRPr lang="pl-PL" dirty="0"/>
          </a:p>
        </p:txBody>
      </p:sp>
      <p:sp>
        <p:nvSpPr>
          <p:cNvPr id="14" name="Textplatzhalter 6">
            <a:extLst>
              <a:ext uri="{FF2B5EF4-FFF2-40B4-BE49-F238E27FC236}">
                <a16:creationId xmlns:a16="http://schemas.microsoft.com/office/drawing/2014/main" id="{87B7FB0D-FB7B-D8AB-37D2-9DB3DDA35730}"/>
              </a:ext>
            </a:extLst>
          </p:cNvPr>
          <p:cNvSpPr>
            <a:spLocks noGrp="1"/>
          </p:cNvSpPr>
          <p:nvPr>
            <p:ph type="body" sz="quarter" idx="48" hasCustomPrompt="1"/>
            <p:custDataLst>
              <p:tags r:id="rId10"/>
            </p:custDataLst>
          </p:nvPr>
        </p:nvSpPr>
        <p:spPr>
          <a:xfrm>
            <a:off x="1651441" y="3677237"/>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17" name="Textplatzhalter 10">
            <a:extLst>
              <a:ext uri="{FF2B5EF4-FFF2-40B4-BE49-F238E27FC236}">
                <a16:creationId xmlns:a16="http://schemas.microsoft.com/office/drawing/2014/main" id="{046B28AD-163E-857C-078E-9F84F7AD769D}"/>
              </a:ext>
            </a:extLst>
          </p:cNvPr>
          <p:cNvSpPr>
            <a:spLocks noGrp="1"/>
          </p:cNvSpPr>
          <p:nvPr>
            <p:ph type="body" sz="quarter" idx="49" hasCustomPrompt="1"/>
            <p:custDataLst>
              <p:tags r:id="rId11"/>
            </p:custDataLst>
          </p:nvPr>
        </p:nvSpPr>
        <p:spPr>
          <a:xfrm>
            <a:off x="1651441" y="4789506"/>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4</a:t>
            </a:r>
            <a:endParaRPr lang="pl-PL" dirty="0"/>
          </a:p>
        </p:txBody>
      </p:sp>
      <p:sp>
        <p:nvSpPr>
          <p:cNvPr id="18" name="Textplatzhalter 6">
            <a:extLst>
              <a:ext uri="{FF2B5EF4-FFF2-40B4-BE49-F238E27FC236}">
                <a16:creationId xmlns:a16="http://schemas.microsoft.com/office/drawing/2014/main" id="{53C2CCEB-07CD-5601-7A79-C4CE830CA7D9}"/>
              </a:ext>
            </a:extLst>
          </p:cNvPr>
          <p:cNvSpPr>
            <a:spLocks noGrp="1"/>
          </p:cNvSpPr>
          <p:nvPr>
            <p:ph type="body" sz="quarter" idx="50" hasCustomPrompt="1"/>
            <p:custDataLst>
              <p:tags r:id="rId12"/>
            </p:custDataLst>
          </p:nvPr>
        </p:nvSpPr>
        <p:spPr>
          <a:xfrm>
            <a:off x="1651441" y="4663506"/>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Tree>
    <p:extLst>
      <p:ext uri="{BB962C8B-B14F-4D97-AF65-F5344CB8AC3E}">
        <p14:creationId xmlns:p14="http://schemas.microsoft.com/office/powerpoint/2010/main" val="19256696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Chapter layouts</a:t>
            </a:r>
            <a:endParaRPr lang="pl-PL" sz="12000" dirty="0">
              <a:solidFill>
                <a:schemeClr val="bg1"/>
              </a:solidFill>
            </a:endParaRPr>
          </a:p>
        </p:txBody>
      </p:sp>
    </p:spTree>
    <p:extLst>
      <p:ext uri="{BB962C8B-B14F-4D97-AF65-F5344CB8AC3E}">
        <p14:creationId xmlns:p14="http://schemas.microsoft.com/office/powerpoint/2010/main" val="11813537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pter 1">
    <p:bg>
      <p:bgPr>
        <a:solidFill>
          <a:schemeClr val="tx2"/>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CB2EFA5-64D8-8F50-F9DD-2145A084BA6D}"/>
              </a:ext>
            </a:extLst>
          </p:cNvPr>
          <p:cNvSpPr/>
          <p:nvPr userDrawn="1">
            <p:custDataLst>
              <p:tags r:id="rId1"/>
            </p:custDataLst>
          </p:nvPr>
        </p:nvSpPr>
        <p:spPr>
          <a:xfrm>
            <a:off x="4828031" y="0"/>
            <a:ext cx="7363969" cy="6858000"/>
          </a:xfrm>
          <a:prstGeom prst="rect">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8" name="Freihandform: Form 17">
            <a:extLst>
              <a:ext uri="{FF2B5EF4-FFF2-40B4-BE49-F238E27FC236}">
                <a16:creationId xmlns:a16="http://schemas.microsoft.com/office/drawing/2014/main" id="{5152A634-EA19-A234-C16C-B0D8C7EEBD0E}"/>
              </a:ext>
            </a:extLst>
          </p:cNvPr>
          <p:cNvSpPr/>
          <p:nvPr userDrawn="1">
            <p:custDataLst>
              <p:tags r:id="rId2"/>
            </p:custDataLst>
          </p:nvPr>
        </p:nvSpPr>
        <p:spPr>
          <a:xfrm>
            <a:off x="540000" y="0"/>
            <a:ext cx="11652000" cy="6858000"/>
          </a:xfrm>
          <a:custGeom>
            <a:avLst/>
            <a:gdLst>
              <a:gd name="connsiteX0" fmla="*/ 9177445 w 11652000"/>
              <a:gd name="connsiteY0" fmla="*/ 6273532 h 6858000"/>
              <a:gd name="connsiteX1" fmla="*/ 9413637 w 11652000"/>
              <a:gd name="connsiteY1" fmla="*/ 6581099 h 6858000"/>
              <a:gd name="connsiteX2" fmla="*/ 9626307 w 11652000"/>
              <a:gd name="connsiteY2" fmla="*/ 6858000 h 6858000"/>
              <a:gd name="connsiteX3" fmla="*/ 8728767 w 11652000"/>
              <a:gd name="connsiteY3" fmla="*/ 6858000 h 6858000"/>
              <a:gd name="connsiteX4" fmla="*/ 8941354 w 11652000"/>
              <a:gd name="connsiteY4" fmla="*/ 6581099 h 6858000"/>
              <a:gd name="connsiteX5" fmla="*/ 9177445 w 11652000"/>
              <a:gd name="connsiteY5" fmla="*/ 6273532 h 6858000"/>
              <a:gd name="connsiteX6" fmla="*/ 11652000 w 11652000"/>
              <a:gd name="connsiteY6" fmla="*/ 3050339 h 6858000"/>
              <a:gd name="connsiteX7" fmla="*/ 11652000 w 11652000"/>
              <a:gd name="connsiteY7" fmla="*/ 3802395 h 6858000"/>
              <a:gd name="connsiteX8" fmla="*/ 11363446 w 11652000"/>
              <a:gd name="connsiteY8" fmla="*/ 3426453 h 6858000"/>
              <a:gd name="connsiteX9" fmla="*/ 8732469 w 11652000"/>
              <a:gd name="connsiteY9" fmla="*/ 0 h 6858000"/>
              <a:gd name="connsiteX10" fmla="*/ 9622603 w 11652000"/>
              <a:gd name="connsiteY10" fmla="*/ 0 h 6858000"/>
              <a:gd name="connsiteX11" fmla="*/ 9413637 w 11652000"/>
              <a:gd name="connsiteY11" fmla="*/ 271921 h 6858000"/>
              <a:gd name="connsiteX12" fmla="*/ 9177445 w 11652000"/>
              <a:gd name="connsiteY12" fmla="*/ 579259 h 6858000"/>
              <a:gd name="connsiteX13" fmla="*/ 8941354 w 11652000"/>
              <a:gd name="connsiteY13" fmla="*/ 271921 h 6858000"/>
              <a:gd name="connsiteX14" fmla="*/ 0 w 11652000"/>
              <a:gd name="connsiteY14" fmla="*/ 0 h 6858000"/>
              <a:gd name="connsiteX15" fmla="*/ 4363472 w 11652000"/>
              <a:gd name="connsiteY15" fmla="*/ 0 h 6858000"/>
              <a:gd name="connsiteX16" fmla="*/ 4386207 w 11652000"/>
              <a:gd name="connsiteY16" fmla="*/ 29649 h 6858000"/>
              <a:gd name="connsiteX17" fmla="*/ 6992019 w 11652000"/>
              <a:gd name="connsiteY17" fmla="*/ 3426453 h 6858000"/>
              <a:gd name="connsiteX18" fmla="*/ 4386207 w 11652000"/>
              <a:gd name="connsiteY18" fmla="*/ 6823041 h 6858000"/>
              <a:gd name="connsiteX19" fmla="*/ 4359404 w 11652000"/>
              <a:gd name="connsiteY19" fmla="*/ 6858000 h 6858000"/>
              <a:gd name="connsiteX20" fmla="*/ 0 w 11652000"/>
              <a:gd name="connsiteY2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652000" h="6858000">
                <a:moveTo>
                  <a:pt x="9177445" y="6273532"/>
                </a:moveTo>
                <a:cubicBezTo>
                  <a:pt x="9257354" y="6377595"/>
                  <a:pt x="9336136" y="6480185"/>
                  <a:pt x="9413637" y="6581099"/>
                </a:cubicBezTo>
                <a:lnTo>
                  <a:pt x="9626307" y="6858000"/>
                </a:lnTo>
                <a:lnTo>
                  <a:pt x="8728767" y="6858000"/>
                </a:lnTo>
                <a:lnTo>
                  <a:pt x="8941354" y="6581099"/>
                </a:lnTo>
                <a:cubicBezTo>
                  <a:pt x="9018823" y="6480185"/>
                  <a:pt x="9097572" y="6377595"/>
                  <a:pt x="9177445" y="6273532"/>
                </a:cubicBezTo>
                <a:close/>
                <a:moveTo>
                  <a:pt x="11652000" y="3050339"/>
                </a:moveTo>
                <a:lnTo>
                  <a:pt x="11652000" y="3802395"/>
                </a:lnTo>
                <a:lnTo>
                  <a:pt x="11363446" y="3426453"/>
                </a:lnTo>
                <a:close/>
                <a:moveTo>
                  <a:pt x="8732469" y="0"/>
                </a:moveTo>
                <a:lnTo>
                  <a:pt x="9622603" y="0"/>
                </a:lnTo>
                <a:lnTo>
                  <a:pt x="9413637" y="271921"/>
                </a:lnTo>
                <a:cubicBezTo>
                  <a:pt x="9336136" y="372769"/>
                  <a:pt x="9257354" y="475283"/>
                  <a:pt x="9177445" y="579259"/>
                </a:cubicBezTo>
                <a:cubicBezTo>
                  <a:pt x="9097572" y="475283"/>
                  <a:pt x="9018823" y="372769"/>
                  <a:pt x="8941354" y="271921"/>
                </a:cubicBezTo>
                <a:close/>
                <a:moveTo>
                  <a:pt x="0" y="0"/>
                </a:moveTo>
                <a:lnTo>
                  <a:pt x="4363472" y="0"/>
                </a:lnTo>
                <a:lnTo>
                  <a:pt x="4386207" y="29649"/>
                </a:lnTo>
                <a:cubicBezTo>
                  <a:pt x="5092136" y="950225"/>
                  <a:pt x="6029729" y="2172145"/>
                  <a:pt x="6992019" y="3426453"/>
                </a:cubicBezTo>
                <a:cubicBezTo>
                  <a:pt x="6029729" y="4680068"/>
                  <a:pt x="5092136" y="5902306"/>
                  <a:pt x="4386207" y="6823041"/>
                </a:cubicBezTo>
                <a:lnTo>
                  <a:pt x="4359404"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3"/>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8" name="Untertitel 2">
            <a:extLst>
              <a:ext uri="{FF2B5EF4-FFF2-40B4-BE49-F238E27FC236}">
                <a16:creationId xmlns:a16="http://schemas.microsoft.com/office/drawing/2014/main" id="{75D84EF0-58B0-018F-3EF2-D06675807FEF}"/>
              </a:ext>
            </a:extLst>
          </p:cNvPr>
          <p:cNvSpPr>
            <a:spLocks noGrp="1"/>
          </p:cNvSpPr>
          <p:nvPr>
            <p:ph type="subTitle" idx="1" hasCustomPrompt="1"/>
            <p:custDataLst>
              <p:tags r:id="rId4"/>
            </p:custDataLst>
          </p:nvPr>
        </p:nvSpPr>
        <p:spPr>
          <a:xfrm>
            <a:off x="899999" y="4572000"/>
            <a:ext cx="7269639"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a:t>Additional information</a:t>
            </a:r>
          </a:p>
          <a:p>
            <a:endParaRPr lang="pl-PL" dirty="0"/>
          </a:p>
        </p:txBody>
      </p:sp>
      <p:sp>
        <p:nvSpPr>
          <p:cNvPr id="9" name="Titel 1">
            <a:extLst>
              <a:ext uri="{FF2B5EF4-FFF2-40B4-BE49-F238E27FC236}">
                <a16:creationId xmlns:a16="http://schemas.microsoft.com/office/drawing/2014/main" id="{6A1F042E-A599-AD8C-2274-BA125A4C63AF}"/>
              </a:ext>
            </a:extLst>
          </p:cNvPr>
          <p:cNvSpPr>
            <a:spLocks noGrp="1"/>
          </p:cNvSpPr>
          <p:nvPr>
            <p:ph type="ctrTitle" hasCustomPrompt="1"/>
            <p:custDataLst>
              <p:tags r:id="rId5"/>
            </p:custDataLst>
          </p:nvPr>
        </p:nvSpPr>
        <p:spPr>
          <a:xfrm>
            <a:off x="899999" y="1925926"/>
            <a:ext cx="7269639" cy="2474623"/>
          </a:xfrm>
        </p:spPr>
        <p:txBody>
          <a:bodyPr anchor="b"/>
          <a:lstStyle>
            <a:lvl1pPr algn="l">
              <a:lnSpc>
                <a:spcPct val="90000"/>
              </a:lnSpc>
              <a:defRPr sz="4000"/>
            </a:lvl1pPr>
          </a:lstStyle>
          <a:p>
            <a:r>
              <a:rPr lang="pl-PL"/>
              <a:t>Chapter</a:t>
            </a:r>
            <a:endParaRPr lang="pl-PL" dirty="0"/>
          </a:p>
        </p:txBody>
      </p:sp>
    </p:spTree>
    <p:extLst>
      <p:ext uri="{BB962C8B-B14F-4D97-AF65-F5344CB8AC3E}">
        <p14:creationId xmlns:p14="http://schemas.microsoft.com/office/powerpoint/2010/main" val="26771719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asic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Basic layouts</a:t>
            </a:r>
            <a:endParaRPr lang="pl-PL" sz="12000" dirty="0">
              <a:solidFill>
                <a:schemeClr val="bg1"/>
              </a:solidFill>
            </a:endParaRPr>
          </a:p>
        </p:txBody>
      </p:sp>
    </p:spTree>
    <p:extLst>
      <p:ext uri="{BB962C8B-B14F-4D97-AF65-F5344CB8AC3E}">
        <p14:creationId xmlns:p14="http://schemas.microsoft.com/office/powerpoint/2010/main" val="368498717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8" Type="http://schemas.openxmlformats.org/officeDocument/2006/relationships/tags" Target="../tags/tag6.xml"/><Relationship Id="rId5" Type="http://schemas.openxmlformats.org/officeDocument/2006/relationships/slideLayout" Target="../slideLayouts/slideLayout5.xml"/><Relationship Id="rId61" Type="http://schemas.openxmlformats.org/officeDocument/2006/relationships/tags" Target="../tags/tag9.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5.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6" name="Maske">
            <a:extLst>
              <a:ext uri="{FF2B5EF4-FFF2-40B4-BE49-F238E27FC236}">
                <a16:creationId xmlns:a16="http://schemas.microsoft.com/office/drawing/2014/main" id="{AB513FDC-D4D0-D159-2337-8C1F523D9F8B}"/>
              </a:ext>
            </a:extLst>
          </p:cNvPr>
          <p:cNvSpPr>
            <a:spLocks noGrp="1" noRot="1" noMove="1" noResize="1" noEditPoints="1" noAdjustHandles="1" noChangeArrowheads="1" noChangeShapeType="1"/>
          </p:cNvSpPr>
          <p:nvPr userDrawn="1">
            <p:custDataLst>
              <p:tags r:id="rId54"/>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2" name="Titelplatzhalter 1">
            <a:extLst>
              <a:ext uri="{FF2B5EF4-FFF2-40B4-BE49-F238E27FC236}">
                <a16:creationId xmlns:a16="http://schemas.microsoft.com/office/drawing/2014/main" id="{8AF40300-215D-052F-D1EC-6CF5D84DE51F}"/>
              </a:ext>
            </a:extLst>
          </p:cNvPr>
          <p:cNvSpPr>
            <a:spLocks noGrp="1"/>
          </p:cNvSpPr>
          <p:nvPr>
            <p:ph type="title"/>
            <p:custDataLst>
              <p:tags r:id="rId55"/>
            </p:custDataLst>
          </p:nvPr>
        </p:nvSpPr>
        <p:spPr>
          <a:xfrm>
            <a:off x="898524" y="684000"/>
            <a:ext cx="9521825" cy="758396"/>
          </a:xfrm>
          <a:prstGeom prst="rect">
            <a:avLst/>
          </a:prstGeom>
        </p:spPr>
        <p:txBody>
          <a:bodyPr vert="horz" lIns="0" tIns="0" rIns="0" bIns="0" rtlCol="0" anchor="t">
            <a:noAutofit/>
          </a:bodyPr>
          <a:lstStyle/>
          <a:p>
            <a:r>
              <a:rPr lang="pl-PL" noProof="0"/>
              <a:t>Headline</a:t>
            </a:r>
            <a:endParaRPr lang="pl-PL" noProof="0" dirty="0"/>
          </a:p>
        </p:txBody>
      </p:sp>
      <p:sp>
        <p:nvSpPr>
          <p:cNvPr id="3" name="Textplatzhalter 2">
            <a:extLst>
              <a:ext uri="{FF2B5EF4-FFF2-40B4-BE49-F238E27FC236}">
                <a16:creationId xmlns:a16="http://schemas.microsoft.com/office/drawing/2014/main" id="{87917898-E3DE-23FB-39FF-77378FA7B8BD}"/>
              </a:ext>
            </a:extLst>
          </p:cNvPr>
          <p:cNvSpPr>
            <a:spLocks noGrp="1"/>
          </p:cNvSpPr>
          <p:nvPr>
            <p:ph type="body" idx="1"/>
            <p:custDataLst>
              <p:tags r:id="rId56"/>
            </p:custDataLst>
          </p:nvPr>
        </p:nvSpPr>
        <p:spPr>
          <a:xfrm>
            <a:off x="898525" y="1548000"/>
            <a:ext cx="9521825" cy="4586100"/>
          </a:xfrm>
          <a:prstGeom prst="rect">
            <a:avLst/>
          </a:prstGeom>
        </p:spPr>
        <p:txBody>
          <a:bodyPr vert="horz" lIns="0" tIns="0" rIns="0" bIns="0" rtlCol="0">
            <a:noAutofit/>
          </a:bodyPr>
          <a:lstStyle/>
          <a:p>
            <a:pPr lvl="0"/>
            <a:r>
              <a:rPr lang="pl-PL" noProof="0"/>
              <a:t>Copy 16pt</a:t>
            </a:r>
          </a:p>
          <a:p>
            <a:pPr lvl="1"/>
            <a:r>
              <a:rPr lang="pl-PL" noProof="0"/>
              <a:t>Bullet 16pt</a:t>
            </a:r>
          </a:p>
          <a:p>
            <a:pPr lvl="2"/>
            <a:r>
              <a:rPr lang="pl-PL" noProof="0"/>
              <a:t>Bullet 2 16pt</a:t>
            </a:r>
          </a:p>
          <a:p>
            <a:pPr lvl="3"/>
            <a:r>
              <a:rPr lang="pl-PL" noProof="0"/>
              <a:t>Bullet 3 16pt</a:t>
            </a:r>
          </a:p>
          <a:p>
            <a:pPr lvl="4"/>
            <a:r>
              <a:rPr lang="pl-PL" noProof="0"/>
              <a:t>Subheading 16pt</a:t>
            </a:r>
          </a:p>
          <a:p>
            <a:pPr lvl="5"/>
            <a:r>
              <a:rPr lang="pl-PL" noProof="0"/>
              <a:t>Copy 22pt</a:t>
            </a:r>
          </a:p>
          <a:p>
            <a:pPr lvl="6"/>
            <a:r>
              <a:rPr lang="pl-PL" noProof="0"/>
              <a:t>Bullet 22pt</a:t>
            </a:r>
          </a:p>
          <a:p>
            <a:pPr lvl="7"/>
            <a:r>
              <a:rPr lang="pl-PL" noProof="0"/>
              <a:t>Bullet 2 22pt</a:t>
            </a:r>
          </a:p>
          <a:p>
            <a:pPr lvl="8"/>
            <a:r>
              <a:rPr lang="pl-PL" noProof="0"/>
              <a:t>Subheading 22pt</a:t>
            </a:r>
            <a:endParaRPr lang="pl-PL" noProof="0" dirty="0"/>
          </a:p>
        </p:txBody>
      </p:sp>
      <p:sp>
        <p:nvSpPr>
          <p:cNvPr id="10" name="Rechteck 9">
            <a:extLst>
              <a:ext uri="{FF2B5EF4-FFF2-40B4-BE49-F238E27FC236}">
                <a16:creationId xmlns:a16="http://schemas.microsoft.com/office/drawing/2014/main" id="{C1F2130D-ECEC-E495-256B-C00000B3D24E}"/>
              </a:ext>
            </a:extLst>
          </p:cNvPr>
          <p:cNvSpPr/>
          <p:nvPr userDrawn="1">
            <p:custDataLst>
              <p:tags r:id="rId57"/>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23" name="Fußzeilenplatzhalter 22">
            <a:extLst>
              <a:ext uri="{FF2B5EF4-FFF2-40B4-BE49-F238E27FC236}">
                <a16:creationId xmlns:a16="http://schemas.microsoft.com/office/drawing/2014/main" id="{6CB2D5BE-646C-708D-DDA2-016226E76F4F}"/>
              </a:ext>
            </a:extLst>
          </p:cNvPr>
          <p:cNvSpPr>
            <a:spLocks noGrp="1"/>
          </p:cNvSpPr>
          <p:nvPr>
            <p:ph type="ftr" sz="quarter" idx="3"/>
            <p:custDataLst>
              <p:tags r:id="rId58"/>
            </p:custDataLst>
          </p:nvPr>
        </p:nvSpPr>
        <p:spPr>
          <a:xfrm>
            <a:off x="1498061" y="6470705"/>
            <a:ext cx="9253577" cy="281691"/>
          </a:xfrm>
          <a:prstGeom prst="rect">
            <a:avLst/>
          </a:prstGeom>
        </p:spPr>
        <p:txBody>
          <a:bodyPr vert="horz" lIns="0" tIns="0" rIns="0" bIns="0" rtlCol="0" anchor="t"/>
          <a:lstStyle>
            <a:lvl1pPr algn="ctr">
              <a:defRPr sz="1000">
                <a:solidFill>
                  <a:srgbClr val="999999"/>
                </a:solidFill>
              </a:defRPr>
            </a:lvl1pPr>
          </a:lstStyle>
          <a:p>
            <a:r>
              <a:rPr lang="pl-PL" noProof="0"/>
              <a:t>Najważniejsze informacje o dawstwie szpiku - Prezentacja w ramach projektu #KOMÓRKOMANIA | C1 - publiczna</a:t>
            </a:r>
            <a:endParaRPr lang="pl-PL" noProof="0" dirty="0"/>
          </a:p>
        </p:txBody>
      </p:sp>
      <p:sp>
        <p:nvSpPr>
          <p:cNvPr id="24" name="Foliennummernplatzhalter 23">
            <a:extLst>
              <a:ext uri="{FF2B5EF4-FFF2-40B4-BE49-F238E27FC236}">
                <a16:creationId xmlns:a16="http://schemas.microsoft.com/office/drawing/2014/main" id="{0D2BA931-A1B8-0AAF-FFD2-CFA13168AF68}"/>
              </a:ext>
            </a:extLst>
          </p:cNvPr>
          <p:cNvSpPr>
            <a:spLocks noGrp="1"/>
          </p:cNvSpPr>
          <p:nvPr>
            <p:ph type="sldNum" sz="quarter" idx="4"/>
            <p:custDataLst>
              <p:tags r:id="rId59"/>
            </p:custDataLst>
          </p:nvPr>
        </p:nvSpPr>
        <p:spPr>
          <a:xfrm>
            <a:off x="11543495" y="171744"/>
            <a:ext cx="288143" cy="281691"/>
          </a:xfrm>
          <a:prstGeom prst="rect">
            <a:avLst/>
          </a:prstGeom>
        </p:spPr>
        <p:txBody>
          <a:bodyPr vert="horz" lIns="0" tIns="0" rIns="0" bIns="0" rtlCol="0" anchor="ctr"/>
          <a:lstStyle>
            <a:lvl1pPr algn="r">
              <a:defRPr sz="1000">
                <a:solidFill>
                  <a:srgbClr val="999999"/>
                </a:solidFill>
              </a:defRPr>
            </a:lvl1pPr>
          </a:lstStyle>
          <a:p>
            <a:fld id="{92DB0D90-6264-4E90-9724-ABC670DBF4FB}" type="slidenum">
              <a:rPr lang="pl-PL" noProof="0" smtClean="0"/>
              <a:pPr/>
              <a:t>‹#›</a:t>
            </a:fld>
            <a:endParaRPr lang="pl-PL" noProof="0" dirty="0"/>
          </a:p>
        </p:txBody>
      </p:sp>
      <p:sp>
        <p:nvSpPr>
          <p:cNvPr id="4" name="Rechteck 3">
            <a:extLst>
              <a:ext uri="{FF2B5EF4-FFF2-40B4-BE49-F238E27FC236}">
                <a16:creationId xmlns:a16="http://schemas.microsoft.com/office/drawing/2014/main" id="{B7591410-FC32-03D2-1CDE-502BC4BF4DAE}"/>
              </a:ext>
            </a:extLst>
          </p:cNvPr>
          <p:cNvSpPr>
            <a:spLocks/>
          </p:cNvSpPr>
          <p:nvPr userDrawn="1">
            <p:custDataLst>
              <p:tags r:id="rId60"/>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7" name="Datumsplatzhalter 6">
            <a:extLst>
              <a:ext uri="{FF2B5EF4-FFF2-40B4-BE49-F238E27FC236}">
                <a16:creationId xmlns:a16="http://schemas.microsoft.com/office/drawing/2014/main" id="{19A14587-8D69-6727-19C0-97F487DB5CE7}"/>
              </a:ext>
            </a:extLst>
          </p:cNvPr>
          <p:cNvSpPr>
            <a:spLocks noGrp="1"/>
          </p:cNvSpPr>
          <p:nvPr>
            <p:ph type="dt" sz="half" idx="2"/>
            <p:custDataLst>
              <p:tags r:id="rId61"/>
            </p:custDataLst>
          </p:nvPr>
        </p:nvSpPr>
        <p:spPr>
          <a:xfrm>
            <a:off x="10751638" y="6470705"/>
            <a:ext cx="1080000" cy="281691"/>
          </a:xfrm>
          <a:prstGeom prst="rect">
            <a:avLst/>
          </a:prstGeom>
        </p:spPr>
        <p:txBody>
          <a:bodyPr vert="horz" lIns="0" tIns="0" rIns="0" bIns="0" rtlCol="0" anchor="t"/>
          <a:lstStyle>
            <a:lvl1pPr algn="r">
              <a:defRPr sz="1000">
                <a:solidFill>
                  <a:srgbClr val="999999"/>
                </a:solidFill>
              </a:defRPr>
            </a:lvl1pPr>
          </a:lstStyle>
          <a:p>
            <a:r>
              <a:rPr lang="en-US" noProof="0"/>
              <a:t>01.08.2023</a:t>
            </a:r>
            <a:endParaRPr lang="pl-PL" noProof="0" dirty="0"/>
          </a:p>
        </p:txBody>
      </p:sp>
    </p:spTree>
    <p:extLst>
      <p:ext uri="{BB962C8B-B14F-4D97-AF65-F5344CB8AC3E}">
        <p14:creationId xmlns:p14="http://schemas.microsoft.com/office/powerpoint/2010/main" val="1944181577"/>
      </p:ext>
    </p:extLst>
  </p:cSld>
  <p:clrMap bg1="lt1" tx1="dk1" bg2="lt2" tx2="dk2" accent1="accent1" accent2="accent2" accent3="accent3" accent4="accent4" accent5="accent5" accent6="accent6" hlink="hlink" folHlink="folHlink"/>
  <p:sldLayoutIdLst>
    <p:sldLayoutId id="2147483754" r:id="rId1"/>
    <p:sldLayoutId id="2147483663" r:id="rId2"/>
    <p:sldLayoutId id="2147483742" r:id="rId3"/>
    <p:sldLayoutId id="2147483747" r:id="rId4"/>
    <p:sldLayoutId id="2147483669" r:id="rId5"/>
    <p:sldLayoutId id="2147483774" r:id="rId6"/>
    <p:sldLayoutId id="2147483755" r:id="rId7"/>
    <p:sldLayoutId id="2147483744" r:id="rId8"/>
    <p:sldLayoutId id="2147483749" r:id="rId9"/>
    <p:sldLayoutId id="2147483679" r:id="rId10"/>
    <p:sldLayoutId id="2147483771" r:id="rId11"/>
    <p:sldLayoutId id="2147483664" r:id="rId12"/>
    <p:sldLayoutId id="2147483714" r:id="rId13"/>
    <p:sldLayoutId id="2147483776" r:id="rId14"/>
    <p:sldLayoutId id="2147483770" r:id="rId15"/>
    <p:sldLayoutId id="2147483701" r:id="rId16"/>
    <p:sldLayoutId id="2147483702" r:id="rId17"/>
    <p:sldLayoutId id="2147483746" r:id="rId18"/>
    <p:sldLayoutId id="2147483683" r:id="rId19"/>
    <p:sldLayoutId id="2147483681" r:id="rId20"/>
    <p:sldLayoutId id="2147483712" r:id="rId21"/>
    <p:sldLayoutId id="2147483720" r:id="rId22"/>
    <p:sldLayoutId id="2147483731" r:id="rId23"/>
    <p:sldLayoutId id="2147483750" r:id="rId24"/>
    <p:sldLayoutId id="2147483727" r:id="rId25"/>
    <p:sldLayoutId id="2147483728" r:id="rId26"/>
    <p:sldLayoutId id="2147483753" r:id="rId27"/>
    <p:sldLayoutId id="2147483684" r:id="rId28"/>
    <p:sldLayoutId id="2147483715" r:id="rId29"/>
    <p:sldLayoutId id="2147483718" r:id="rId30"/>
    <p:sldLayoutId id="2147483752" r:id="rId31"/>
    <p:sldLayoutId id="2147483713" r:id="rId32"/>
    <p:sldLayoutId id="2147483779" r:id="rId33"/>
    <p:sldLayoutId id="2147483708" r:id="rId34"/>
    <p:sldLayoutId id="2147483685" r:id="rId35"/>
    <p:sldLayoutId id="2147483778" r:id="rId36"/>
    <p:sldLayoutId id="2147483748" r:id="rId37"/>
    <p:sldLayoutId id="2147483692" r:id="rId38"/>
    <p:sldLayoutId id="2147483676" r:id="rId39"/>
    <p:sldLayoutId id="2147483691" r:id="rId40"/>
    <p:sldLayoutId id="2147483767" r:id="rId41"/>
    <p:sldLayoutId id="2147483717" r:id="rId42"/>
    <p:sldLayoutId id="2147483745" r:id="rId43"/>
    <p:sldLayoutId id="2147483765" r:id="rId44"/>
    <p:sldLayoutId id="2147483697" r:id="rId45"/>
    <p:sldLayoutId id="2147483737" r:id="rId46"/>
    <p:sldLayoutId id="2147483696" r:id="rId47"/>
    <p:sldLayoutId id="2147483781" r:id="rId48"/>
    <p:sldLayoutId id="2147483785" r:id="rId49"/>
    <p:sldLayoutId id="2147483786" r:id="rId50"/>
    <p:sldLayoutId id="2147483773" r:id="rId51"/>
    <p:sldLayoutId id="2147483784" r:id="rId52"/>
  </p:sldLayoutIdLst>
  <p:hf hdr="0"/>
  <p:txStyles>
    <p:titleStyle>
      <a:lvl1pPr algn="l" defTabSz="914400" rtl="0" eaLnBrk="1" latinLnBrk="0" hangingPunct="1">
        <a:lnSpc>
          <a:spcPct val="83000"/>
        </a:lnSpc>
        <a:spcBef>
          <a:spcPct val="0"/>
        </a:spcBef>
        <a:buNone/>
        <a:defRPr sz="2800" b="1" kern="1200" spc="30" baseline="0">
          <a:solidFill>
            <a:schemeClr val="tx2"/>
          </a:solidFill>
          <a:latin typeface="+mj-lt"/>
          <a:ea typeface="+mj-ea"/>
          <a:cs typeface="+mj-cs"/>
        </a:defRPr>
      </a:lvl1pPr>
    </p:titleStyle>
    <p:body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userDrawn="1">
          <p15:clr>
            <a:srgbClr val="F26B43"/>
          </p15:clr>
        </p15:guide>
        <p15:guide id="2" pos="7680" userDrawn="1">
          <p15:clr>
            <a:srgbClr val="F26B43"/>
          </p15:clr>
        </p15:guide>
        <p15:guide id="3" pos="568" userDrawn="1">
          <p15:clr>
            <a:srgbClr val="F26B43"/>
          </p15:clr>
        </p15:guide>
        <p15:guide id="10" pos="3896" userDrawn="1">
          <p15:clr>
            <a:srgbClr val="F26B43"/>
          </p15:clr>
        </p15:guide>
        <p15:guide id="11" pos="4120" userDrawn="1">
          <p15:clr>
            <a:srgbClr val="F26B43"/>
          </p15:clr>
        </p15:guide>
        <p15:guide id="18" pos="7456" userDrawn="1">
          <p15:clr>
            <a:srgbClr val="F26B43"/>
          </p15:clr>
        </p15:guide>
        <p15:guide id="19" orient="horz" userDrawn="1">
          <p15:clr>
            <a:srgbClr val="F26B43"/>
          </p15:clr>
        </p15:guide>
        <p15:guide id="20" orient="horz" pos="4320" userDrawn="1">
          <p15:clr>
            <a:srgbClr val="F26B43"/>
          </p15:clr>
        </p15:guide>
        <p15:guide id="21" orient="horz" pos="224" userDrawn="1">
          <p15:clr>
            <a:srgbClr val="F26B43"/>
          </p15:clr>
        </p15:guide>
        <p15:guide id="22" orient="horz" pos="3864" userDrawn="1">
          <p15:clr>
            <a:srgbClr val="F26B43"/>
          </p15:clr>
        </p15:guide>
        <p15:guide id="23" orient="horz" pos="97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365.xml"/><Relationship Id="rId7" Type="http://schemas.openxmlformats.org/officeDocument/2006/relationships/notesSlide" Target="../notesSlides/notesSlide1.xml"/><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slideLayout" Target="../slideLayouts/slideLayout2.xml"/><Relationship Id="rId5" Type="http://schemas.openxmlformats.org/officeDocument/2006/relationships/tags" Target="../tags/tag367.xml"/><Relationship Id="rId4" Type="http://schemas.openxmlformats.org/officeDocument/2006/relationships/tags" Target="../tags/tag366.xml"/></Relationships>
</file>

<file path=ppt/slides/_rels/slide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676.xml"/><Relationship Id="rId7" Type="http://schemas.openxmlformats.org/officeDocument/2006/relationships/notesSlide" Target="../notesSlides/notesSlide10.xml"/><Relationship Id="rId2" Type="http://schemas.openxmlformats.org/officeDocument/2006/relationships/tags" Target="../tags/tag675.xml"/><Relationship Id="rId1" Type="http://schemas.openxmlformats.org/officeDocument/2006/relationships/tags" Target="../tags/tag674.xml"/><Relationship Id="rId6" Type="http://schemas.openxmlformats.org/officeDocument/2006/relationships/slideLayout" Target="../slideLayouts/slideLayout20.xml"/><Relationship Id="rId5" Type="http://schemas.openxmlformats.org/officeDocument/2006/relationships/tags" Target="../tags/tag678.xml"/><Relationship Id="rId10" Type="http://schemas.openxmlformats.org/officeDocument/2006/relationships/image" Target="../media/image5.svg"/><Relationship Id="rId4" Type="http://schemas.openxmlformats.org/officeDocument/2006/relationships/tags" Target="../tags/tag677.xml"/><Relationship Id="rId9" Type="http://schemas.openxmlformats.org/officeDocument/2006/relationships/image" Target="../media/image4.png"/></Relationships>
</file>

<file path=ppt/slides/_rels/slide11.xml.rels><?xml version="1.0" encoding="UTF-8" standalone="yes"?>
<Relationships xmlns="http://schemas.openxmlformats.org/package/2006/relationships"><Relationship Id="rId8" Type="http://schemas.openxmlformats.org/officeDocument/2006/relationships/tags" Target="../tags/tag689.xml"/><Relationship Id="rId13" Type="http://schemas.openxmlformats.org/officeDocument/2006/relationships/notesSlide" Target="../notesSlides/notesSlide11.xml"/><Relationship Id="rId3" Type="http://schemas.openxmlformats.org/officeDocument/2006/relationships/tags" Target="../tags/tag684.xml"/><Relationship Id="rId7" Type="http://schemas.openxmlformats.org/officeDocument/2006/relationships/tags" Target="../tags/tag688.xml"/><Relationship Id="rId12" Type="http://schemas.openxmlformats.org/officeDocument/2006/relationships/slideLayout" Target="../slideLayouts/slideLayout15.xml"/><Relationship Id="rId2" Type="http://schemas.openxmlformats.org/officeDocument/2006/relationships/tags" Target="../tags/tag683.xml"/><Relationship Id="rId1" Type="http://schemas.openxmlformats.org/officeDocument/2006/relationships/tags" Target="../tags/tag682.xml"/><Relationship Id="rId6" Type="http://schemas.openxmlformats.org/officeDocument/2006/relationships/tags" Target="../tags/tag687.xml"/><Relationship Id="rId11" Type="http://schemas.openxmlformats.org/officeDocument/2006/relationships/tags" Target="../tags/tag692.xml"/><Relationship Id="rId5" Type="http://schemas.openxmlformats.org/officeDocument/2006/relationships/tags" Target="../tags/tag686.xml"/><Relationship Id="rId10" Type="http://schemas.openxmlformats.org/officeDocument/2006/relationships/tags" Target="../tags/tag691.xml"/><Relationship Id="rId4" Type="http://schemas.openxmlformats.org/officeDocument/2006/relationships/tags" Target="../tags/tag685.xml"/><Relationship Id="rId9" Type="http://schemas.openxmlformats.org/officeDocument/2006/relationships/tags" Target="../tags/tag690.xml"/><Relationship Id="rId14" Type="http://schemas.openxmlformats.org/officeDocument/2006/relationships/image" Target="../media/image13.png"/></Relationships>
</file>

<file path=ppt/slides/_rels/slide12.xml.rels><?xml version="1.0" encoding="UTF-8" standalone="yes"?>
<Relationships xmlns="http://schemas.openxmlformats.org/package/2006/relationships"><Relationship Id="rId8" Type="http://schemas.openxmlformats.org/officeDocument/2006/relationships/tags" Target="../tags/tag703.xml"/><Relationship Id="rId13" Type="http://schemas.openxmlformats.org/officeDocument/2006/relationships/tags" Target="../tags/tag708.xml"/><Relationship Id="rId18" Type="http://schemas.openxmlformats.org/officeDocument/2006/relationships/tags" Target="../tags/tag713.xml"/><Relationship Id="rId3" Type="http://schemas.openxmlformats.org/officeDocument/2006/relationships/tags" Target="../tags/tag698.xml"/><Relationship Id="rId21" Type="http://schemas.openxmlformats.org/officeDocument/2006/relationships/slideLayout" Target="../slideLayouts/slideLayout16.xml"/><Relationship Id="rId7" Type="http://schemas.openxmlformats.org/officeDocument/2006/relationships/tags" Target="../tags/tag702.xml"/><Relationship Id="rId12" Type="http://schemas.openxmlformats.org/officeDocument/2006/relationships/tags" Target="../tags/tag707.xml"/><Relationship Id="rId17" Type="http://schemas.openxmlformats.org/officeDocument/2006/relationships/tags" Target="../tags/tag712.xml"/><Relationship Id="rId2" Type="http://schemas.openxmlformats.org/officeDocument/2006/relationships/tags" Target="../tags/tag697.xml"/><Relationship Id="rId16" Type="http://schemas.openxmlformats.org/officeDocument/2006/relationships/tags" Target="../tags/tag711.xml"/><Relationship Id="rId20" Type="http://schemas.openxmlformats.org/officeDocument/2006/relationships/tags" Target="../tags/tag715.xml"/><Relationship Id="rId1" Type="http://schemas.openxmlformats.org/officeDocument/2006/relationships/tags" Target="../tags/tag696.xml"/><Relationship Id="rId6" Type="http://schemas.openxmlformats.org/officeDocument/2006/relationships/tags" Target="../tags/tag701.xml"/><Relationship Id="rId11" Type="http://schemas.openxmlformats.org/officeDocument/2006/relationships/tags" Target="../tags/tag706.xml"/><Relationship Id="rId5" Type="http://schemas.openxmlformats.org/officeDocument/2006/relationships/tags" Target="../tags/tag700.xml"/><Relationship Id="rId15" Type="http://schemas.openxmlformats.org/officeDocument/2006/relationships/tags" Target="../tags/tag710.xml"/><Relationship Id="rId10" Type="http://schemas.openxmlformats.org/officeDocument/2006/relationships/tags" Target="../tags/tag705.xml"/><Relationship Id="rId19" Type="http://schemas.openxmlformats.org/officeDocument/2006/relationships/tags" Target="../tags/tag714.xml"/><Relationship Id="rId4" Type="http://schemas.openxmlformats.org/officeDocument/2006/relationships/tags" Target="../tags/tag699.xml"/><Relationship Id="rId9" Type="http://schemas.openxmlformats.org/officeDocument/2006/relationships/tags" Target="../tags/tag704.xml"/><Relationship Id="rId14" Type="http://schemas.openxmlformats.org/officeDocument/2006/relationships/tags" Target="../tags/tag709.xml"/><Relationship Id="rId2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20.xml"/><Relationship Id="rId1" Type="http://schemas.openxmlformats.org/officeDocument/2006/relationships/tags" Target="../tags/tag719.xml"/><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tags" Target="../tags/tag731.xml"/><Relationship Id="rId13" Type="http://schemas.openxmlformats.org/officeDocument/2006/relationships/tags" Target="../tags/tag736.xml"/><Relationship Id="rId3" Type="http://schemas.openxmlformats.org/officeDocument/2006/relationships/tags" Target="../tags/tag726.xml"/><Relationship Id="rId7" Type="http://schemas.openxmlformats.org/officeDocument/2006/relationships/tags" Target="../tags/tag730.xml"/><Relationship Id="rId12" Type="http://schemas.openxmlformats.org/officeDocument/2006/relationships/tags" Target="../tags/tag735.xml"/><Relationship Id="rId2" Type="http://schemas.openxmlformats.org/officeDocument/2006/relationships/tags" Target="../tags/tag725.xml"/><Relationship Id="rId16" Type="http://schemas.openxmlformats.org/officeDocument/2006/relationships/image" Target="../media/image14.jpg"/><Relationship Id="rId1" Type="http://schemas.openxmlformats.org/officeDocument/2006/relationships/tags" Target="../tags/tag724.xml"/><Relationship Id="rId6" Type="http://schemas.openxmlformats.org/officeDocument/2006/relationships/tags" Target="../tags/tag729.xml"/><Relationship Id="rId11" Type="http://schemas.openxmlformats.org/officeDocument/2006/relationships/tags" Target="../tags/tag734.xml"/><Relationship Id="rId5" Type="http://schemas.openxmlformats.org/officeDocument/2006/relationships/tags" Target="../tags/tag728.xml"/><Relationship Id="rId15" Type="http://schemas.openxmlformats.org/officeDocument/2006/relationships/notesSlide" Target="../notesSlides/notesSlide14.xml"/><Relationship Id="rId10" Type="http://schemas.openxmlformats.org/officeDocument/2006/relationships/tags" Target="../tags/tag733.xml"/><Relationship Id="rId4" Type="http://schemas.openxmlformats.org/officeDocument/2006/relationships/tags" Target="../tags/tag727.xml"/><Relationship Id="rId9" Type="http://schemas.openxmlformats.org/officeDocument/2006/relationships/tags" Target="../tags/tag732.xml"/><Relationship Id="rId14"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8" Type="http://schemas.openxmlformats.org/officeDocument/2006/relationships/tags" Target="../tags/tag747.xml"/><Relationship Id="rId13" Type="http://schemas.openxmlformats.org/officeDocument/2006/relationships/tags" Target="../tags/tag752.xml"/><Relationship Id="rId3" Type="http://schemas.openxmlformats.org/officeDocument/2006/relationships/tags" Target="../tags/tag742.xml"/><Relationship Id="rId7" Type="http://schemas.openxmlformats.org/officeDocument/2006/relationships/tags" Target="../tags/tag746.xml"/><Relationship Id="rId12" Type="http://schemas.openxmlformats.org/officeDocument/2006/relationships/tags" Target="../tags/tag751.xml"/><Relationship Id="rId2" Type="http://schemas.openxmlformats.org/officeDocument/2006/relationships/tags" Target="../tags/tag741.xml"/><Relationship Id="rId16" Type="http://schemas.openxmlformats.org/officeDocument/2006/relationships/image" Target="../media/image15.jpg"/><Relationship Id="rId1" Type="http://schemas.openxmlformats.org/officeDocument/2006/relationships/tags" Target="../tags/tag740.xml"/><Relationship Id="rId6" Type="http://schemas.openxmlformats.org/officeDocument/2006/relationships/tags" Target="../tags/tag745.xml"/><Relationship Id="rId11" Type="http://schemas.openxmlformats.org/officeDocument/2006/relationships/tags" Target="../tags/tag750.xml"/><Relationship Id="rId5" Type="http://schemas.openxmlformats.org/officeDocument/2006/relationships/tags" Target="../tags/tag744.xml"/><Relationship Id="rId15" Type="http://schemas.openxmlformats.org/officeDocument/2006/relationships/notesSlide" Target="../notesSlides/notesSlide15.xml"/><Relationship Id="rId10" Type="http://schemas.openxmlformats.org/officeDocument/2006/relationships/tags" Target="../tags/tag749.xml"/><Relationship Id="rId4" Type="http://schemas.openxmlformats.org/officeDocument/2006/relationships/tags" Target="../tags/tag743.xml"/><Relationship Id="rId9" Type="http://schemas.openxmlformats.org/officeDocument/2006/relationships/tags" Target="../tags/tag748.xml"/><Relationship Id="rId14"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57.xml"/><Relationship Id="rId1" Type="http://schemas.openxmlformats.org/officeDocument/2006/relationships/tags" Target="../tags/tag756.xml"/><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tags" Target="../tags/tag763.xml"/><Relationship Id="rId7" Type="http://schemas.openxmlformats.org/officeDocument/2006/relationships/notesSlide" Target="../notesSlides/notesSlide17.xml"/><Relationship Id="rId2" Type="http://schemas.openxmlformats.org/officeDocument/2006/relationships/tags" Target="../tags/tag762.xml"/><Relationship Id="rId1" Type="http://schemas.openxmlformats.org/officeDocument/2006/relationships/tags" Target="../tags/tag761.xml"/><Relationship Id="rId6" Type="http://schemas.openxmlformats.org/officeDocument/2006/relationships/slideLayout" Target="../slideLayouts/slideLayout21.xml"/><Relationship Id="rId5" Type="http://schemas.openxmlformats.org/officeDocument/2006/relationships/tags" Target="../tags/tag765.xml"/><Relationship Id="rId4" Type="http://schemas.openxmlformats.org/officeDocument/2006/relationships/tags" Target="../tags/tag764.xml"/></Relationships>
</file>

<file path=ppt/slides/_rels/slide18.xml.rels><?xml version="1.0" encoding="UTF-8" standalone="yes"?>
<Relationships xmlns="http://schemas.openxmlformats.org/package/2006/relationships"><Relationship Id="rId8" Type="http://schemas.openxmlformats.org/officeDocument/2006/relationships/tags" Target="../tags/tag776.xml"/><Relationship Id="rId13" Type="http://schemas.openxmlformats.org/officeDocument/2006/relationships/slideLayout" Target="../slideLayouts/slideLayout11.xml"/><Relationship Id="rId18" Type="http://schemas.openxmlformats.org/officeDocument/2006/relationships/image" Target="../media/image20.svg"/><Relationship Id="rId3" Type="http://schemas.openxmlformats.org/officeDocument/2006/relationships/tags" Target="../tags/tag771.xml"/><Relationship Id="rId21" Type="http://schemas.openxmlformats.org/officeDocument/2006/relationships/image" Target="../media/image23.png"/><Relationship Id="rId7" Type="http://schemas.openxmlformats.org/officeDocument/2006/relationships/tags" Target="../tags/tag775.xml"/><Relationship Id="rId12" Type="http://schemas.openxmlformats.org/officeDocument/2006/relationships/tags" Target="../tags/tag780.xml"/><Relationship Id="rId17" Type="http://schemas.openxmlformats.org/officeDocument/2006/relationships/image" Target="../media/image19.png"/><Relationship Id="rId2" Type="http://schemas.openxmlformats.org/officeDocument/2006/relationships/tags" Target="../tags/tag770.xml"/><Relationship Id="rId16" Type="http://schemas.openxmlformats.org/officeDocument/2006/relationships/image" Target="../media/image18.svg"/><Relationship Id="rId20" Type="http://schemas.openxmlformats.org/officeDocument/2006/relationships/image" Target="../media/image22.svg"/><Relationship Id="rId1" Type="http://schemas.openxmlformats.org/officeDocument/2006/relationships/tags" Target="../tags/tag769.xml"/><Relationship Id="rId6" Type="http://schemas.openxmlformats.org/officeDocument/2006/relationships/tags" Target="../tags/tag774.xml"/><Relationship Id="rId11" Type="http://schemas.openxmlformats.org/officeDocument/2006/relationships/tags" Target="../tags/tag779.xml"/><Relationship Id="rId24" Type="http://schemas.openxmlformats.org/officeDocument/2006/relationships/image" Target="../media/image26.svg"/><Relationship Id="rId5" Type="http://schemas.openxmlformats.org/officeDocument/2006/relationships/tags" Target="../tags/tag773.xml"/><Relationship Id="rId15" Type="http://schemas.openxmlformats.org/officeDocument/2006/relationships/image" Target="../media/image17.png"/><Relationship Id="rId23" Type="http://schemas.openxmlformats.org/officeDocument/2006/relationships/image" Target="../media/image25.png"/><Relationship Id="rId10" Type="http://schemas.openxmlformats.org/officeDocument/2006/relationships/tags" Target="../tags/tag778.xml"/><Relationship Id="rId19" Type="http://schemas.openxmlformats.org/officeDocument/2006/relationships/image" Target="../media/image21.png"/><Relationship Id="rId4" Type="http://schemas.openxmlformats.org/officeDocument/2006/relationships/tags" Target="../tags/tag772.xml"/><Relationship Id="rId9" Type="http://schemas.openxmlformats.org/officeDocument/2006/relationships/tags" Target="../tags/tag777.xml"/><Relationship Id="rId14" Type="http://schemas.openxmlformats.org/officeDocument/2006/relationships/notesSlide" Target="../notesSlides/notesSlide18.xml"/><Relationship Id="rId22" Type="http://schemas.openxmlformats.org/officeDocument/2006/relationships/image" Target="../media/image24.sv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2.xml"/><Relationship Id="rId1" Type="http://schemas.openxmlformats.org/officeDocument/2006/relationships/tags" Target="../tags/tag784.xml"/><Relationship Id="rId4" Type="http://schemas.openxmlformats.org/officeDocument/2006/relationships/hyperlink" Target="mailto:kontakt@dkms.pl" TargetMode="External"/></Relationships>
</file>

<file path=ppt/slides/_rels/slide2.xml.rels><?xml version="1.0" encoding="UTF-8" standalone="yes"?>
<Relationships xmlns="http://schemas.openxmlformats.org/package/2006/relationships"><Relationship Id="rId8" Type="http://schemas.openxmlformats.org/officeDocument/2006/relationships/tags" Target="../tags/tag378.xml"/><Relationship Id="rId13" Type="http://schemas.openxmlformats.org/officeDocument/2006/relationships/tags" Target="../tags/tag383.xml"/><Relationship Id="rId3" Type="http://schemas.openxmlformats.org/officeDocument/2006/relationships/tags" Target="../tags/tag373.xml"/><Relationship Id="rId7" Type="http://schemas.openxmlformats.org/officeDocument/2006/relationships/tags" Target="../tags/tag377.xml"/><Relationship Id="rId12" Type="http://schemas.openxmlformats.org/officeDocument/2006/relationships/tags" Target="../tags/tag382.xml"/><Relationship Id="rId2" Type="http://schemas.openxmlformats.org/officeDocument/2006/relationships/tags" Target="../tags/tag372.xml"/><Relationship Id="rId16" Type="http://schemas.openxmlformats.org/officeDocument/2006/relationships/notesSlide" Target="../notesSlides/notesSlide2.xml"/><Relationship Id="rId1" Type="http://schemas.openxmlformats.org/officeDocument/2006/relationships/tags" Target="../tags/tag371.xml"/><Relationship Id="rId6" Type="http://schemas.openxmlformats.org/officeDocument/2006/relationships/tags" Target="../tags/tag376.xml"/><Relationship Id="rId11" Type="http://schemas.openxmlformats.org/officeDocument/2006/relationships/tags" Target="../tags/tag381.xml"/><Relationship Id="rId5" Type="http://schemas.openxmlformats.org/officeDocument/2006/relationships/tags" Target="../tags/tag375.xml"/><Relationship Id="rId15" Type="http://schemas.openxmlformats.org/officeDocument/2006/relationships/slideLayout" Target="../slideLayouts/slideLayout5.xml"/><Relationship Id="rId10" Type="http://schemas.openxmlformats.org/officeDocument/2006/relationships/tags" Target="../tags/tag380.xml"/><Relationship Id="rId4" Type="http://schemas.openxmlformats.org/officeDocument/2006/relationships/tags" Target="../tags/tag374.xml"/><Relationship Id="rId9" Type="http://schemas.openxmlformats.org/officeDocument/2006/relationships/tags" Target="../tags/tag379.xml"/><Relationship Id="rId14" Type="http://schemas.openxmlformats.org/officeDocument/2006/relationships/tags" Target="../tags/tag38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89.xml"/><Relationship Id="rId1" Type="http://schemas.openxmlformats.org/officeDocument/2006/relationships/tags" Target="../tags/tag388.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tags" Target="../tags/tag395.xml"/><Relationship Id="rId7" Type="http://schemas.openxmlformats.org/officeDocument/2006/relationships/tags" Target="../tags/tag399.xml"/><Relationship Id="rId2" Type="http://schemas.openxmlformats.org/officeDocument/2006/relationships/tags" Target="../tags/tag394.xml"/><Relationship Id="rId1" Type="http://schemas.openxmlformats.org/officeDocument/2006/relationships/tags" Target="../tags/tag393.xml"/><Relationship Id="rId6" Type="http://schemas.openxmlformats.org/officeDocument/2006/relationships/tags" Target="../tags/tag398.xml"/><Relationship Id="rId5" Type="http://schemas.openxmlformats.org/officeDocument/2006/relationships/tags" Target="../tags/tag397.xml"/><Relationship Id="rId10" Type="http://schemas.openxmlformats.org/officeDocument/2006/relationships/image" Target="../media/image3.png"/><Relationship Id="rId4" Type="http://schemas.openxmlformats.org/officeDocument/2006/relationships/tags" Target="../tags/tag396.xml"/><Relationship Id="rId9"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tags" Target="../tags/tag410.xml"/><Relationship Id="rId3" Type="http://schemas.openxmlformats.org/officeDocument/2006/relationships/tags" Target="../tags/tag405.xml"/><Relationship Id="rId7" Type="http://schemas.openxmlformats.org/officeDocument/2006/relationships/tags" Target="../tags/tag409.xml"/><Relationship Id="rId12" Type="http://schemas.openxmlformats.org/officeDocument/2006/relationships/image" Target="../media/image5.svg"/><Relationship Id="rId2" Type="http://schemas.openxmlformats.org/officeDocument/2006/relationships/tags" Target="../tags/tag404.xml"/><Relationship Id="rId1" Type="http://schemas.openxmlformats.org/officeDocument/2006/relationships/tags" Target="../tags/tag403.xml"/><Relationship Id="rId6" Type="http://schemas.openxmlformats.org/officeDocument/2006/relationships/tags" Target="../tags/tag408.xml"/><Relationship Id="rId11" Type="http://schemas.openxmlformats.org/officeDocument/2006/relationships/image" Target="../media/image4.png"/><Relationship Id="rId5" Type="http://schemas.openxmlformats.org/officeDocument/2006/relationships/tags" Target="../tags/tag407.xml"/><Relationship Id="rId10" Type="http://schemas.openxmlformats.org/officeDocument/2006/relationships/notesSlide" Target="../notesSlides/notesSlide5.xml"/><Relationship Id="rId4" Type="http://schemas.openxmlformats.org/officeDocument/2006/relationships/tags" Target="../tags/tag406.xml"/><Relationship Id="rId9"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15.xml"/><Relationship Id="rId1" Type="http://schemas.openxmlformats.org/officeDocument/2006/relationships/tags" Target="../tags/tag414.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17" Type="http://schemas.openxmlformats.org/officeDocument/2006/relationships/tags" Target="../tags/tag535.xml"/><Relationship Id="rId21" Type="http://schemas.openxmlformats.org/officeDocument/2006/relationships/tags" Target="../tags/tag439.xml"/><Relationship Id="rId42" Type="http://schemas.openxmlformats.org/officeDocument/2006/relationships/tags" Target="../tags/tag460.xml"/><Relationship Id="rId63" Type="http://schemas.openxmlformats.org/officeDocument/2006/relationships/tags" Target="../tags/tag481.xml"/><Relationship Id="rId84" Type="http://schemas.openxmlformats.org/officeDocument/2006/relationships/tags" Target="../tags/tag502.xml"/><Relationship Id="rId138" Type="http://schemas.openxmlformats.org/officeDocument/2006/relationships/tags" Target="../tags/tag556.xml"/><Relationship Id="rId159" Type="http://schemas.openxmlformats.org/officeDocument/2006/relationships/tags" Target="../tags/tag577.xml"/><Relationship Id="rId170" Type="http://schemas.openxmlformats.org/officeDocument/2006/relationships/tags" Target="../tags/tag588.xml"/><Relationship Id="rId191" Type="http://schemas.openxmlformats.org/officeDocument/2006/relationships/image" Target="../media/image11.svg"/><Relationship Id="rId107" Type="http://schemas.openxmlformats.org/officeDocument/2006/relationships/tags" Target="../tags/tag525.xml"/><Relationship Id="rId11" Type="http://schemas.openxmlformats.org/officeDocument/2006/relationships/tags" Target="../tags/tag429.xml"/><Relationship Id="rId32" Type="http://schemas.openxmlformats.org/officeDocument/2006/relationships/tags" Target="../tags/tag450.xml"/><Relationship Id="rId53" Type="http://schemas.openxmlformats.org/officeDocument/2006/relationships/tags" Target="../tags/tag471.xml"/><Relationship Id="rId74" Type="http://schemas.openxmlformats.org/officeDocument/2006/relationships/tags" Target="../tags/tag492.xml"/><Relationship Id="rId128" Type="http://schemas.openxmlformats.org/officeDocument/2006/relationships/tags" Target="../tags/tag546.xml"/><Relationship Id="rId149" Type="http://schemas.openxmlformats.org/officeDocument/2006/relationships/tags" Target="../tags/tag567.xml"/><Relationship Id="rId5" Type="http://schemas.openxmlformats.org/officeDocument/2006/relationships/tags" Target="../tags/tag423.xml"/><Relationship Id="rId95" Type="http://schemas.openxmlformats.org/officeDocument/2006/relationships/tags" Target="../tags/tag513.xml"/><Relationship Id="rId160" Type="http://schemas.openxmlformats.org/officeDocument/2006/relationships/tags" Target="../tags/tag578.xml"/><Relationship Id="rId181" Type="http://schemas.openxmlformats.org/officeDocument/2006/relationships/tags" Target="../tags/tag599.xml"/><Relationship Id="rId22" Type="http://schemas.openxmlformats.org/officeDocument/2006/relationships/tags" Target="../tags/tag440.xml"/><Relationship Id="rId43" Type="http://schemas.openxmlformats.org/officeDocument/2006/relationships/tags" Target="../tags/tag461.xml"/><Relationship Id="rId64" Type="http://schemas.openxmlformats.org/officeDocument/2006/relationships/tags" Target="../tags/tag482.xml"/><Relationship Id="rId118" Type="http://schemas.openxmlformats.org/officeDocument/2006/relationships/tags" Target="../tags/tag536.xml"/><Relationship Id="rId139" Type="http://schemas.openxmlformats.org/officeDocument/2006/relationships/tags" Target="../tags/tag557.xml"/><Relationship Id="rId85" Type="http://schemas.openxmlformats.org/officeDocument/2006/relationships/tags" Target="../tags/tag503.xml"/><Relationship Id="rId150" Type="http://schemas.openxmlformats.org/officeDocument/2006/relationships/tags" Target="../tags/tag568.xml"/><Relationship Id="rId171" Type="http://schemas.openxmlformats.org/officeDocument/2006/relationships/tags" Target="../tags/tag589.xml"/><Relationship Id="rId12" Type="http://schemas.openxmlformats.org/officeDocument/2006/relationships/tags" Target="../tags/tag430.xml"/><Relationship Id="rId33" Type="http://schemas.openxmlformats.org/officeDocument/2006/relationships/tags" Target="../tags/tag451.xml"/><Relationship Id="rId108" Type="http://schemas.openxmlformats.org/officeDocument/2006/relationships/tags" Target="../tags/tag526.xml"/><Relationship Id="rId129" Type="http://schemas.openxmlformats.org/officeDocument/2006/relationships/tags" Target="../tags/tag547.xml"/><Relationship Id="rId54" Type="http://schemas.openxmlformats.org/officeDocument/2006/relationships/tags" Target="../tags/tag472.xml"/><Relationship Id="rId75" Type="http://schemas.openxmlformats.org/officeDocument/2006/relationships/tags" Target="../tags/tag493.xml"/><Relationship Id="rId96" Type="http://schemas.openxmlformats.org/officeDocument/2006/relationships/tags" Target="../tags/tag514.xml"/><Relationship Id="rId140" Type="http://schemas.openxmlformats.org/officeDocument/2006/relationships/tags" Target="../tags/tag558.xml"/><Relationship Id="rId161" Type="http://schemas.openxmlformats.org/officeDocument/2006/relationships/tags" Target="../tags/tag579.xml"/><Relationship Id="rId182" Type="http://schemas.openxmlformats.org/officeDocument/2006/relationships/tags" Target="../tags/tag600.xml"/><Relationship Id="rId6" Type="http://schemas.openxmlformats.org/officeDocument/2006/relationships/tags" Target="../tags/tag424.xml"/><Relationship Id="rId23" Type="http://schemas.openxmlformats.org/officeDocument/2006/relationships/tags" Target="../tags/tag441.xml"/><Relationship Id="rId119" Type="http://schemas.openxmlformats.org/officeDocument/2006/relationships/tags" Target="../tags/tag537.xml"/><Relationship Id="rId44" Type="http://schemas.openxmlformats.org/officeDocument/2006/relationships/tags" Target="../tags/tag462.xml"/><Relationship Id="rId65" Type="http://schemas.openxmlformats.org/officeDocument/2006/relationships/tags" Target="../tags/tag483.xml"/><Relationship Id="rId86" Type="http://schemas.openxmlformats.org/officeDocument/2006/relationships/tags" Target="../tags/tag504.xml"/><Relationship Id="rId130" Type="http://schemas.openxmlformats.org/officeDocument/2006/relationships/tags" Target="../tags/tag548.xml"/><Relationship Id="rId151" Type="http://schemas.openxmlformats.org/officeDocument/2006/relationships/tags" Target="../tags/tag569.xml"/><Relationship Id="rId172" Type="http://schemas.openxmlformats.org/officeDocument/2006/relationships/tags" Target="../tags/tag590.xml"/><Relationship Id="rId13" Type="http://schemas.openxmlformats.org/officeDocument/2006/relationships/tags" Target="../tags/tag431.xml"/><Relationship Id="rId18" Type="http://schemas.openxmlformats.org/officeDocument/2006/relationships/tags" Target="../tags/tag436.xml"/><Relationship Id="rId39" Type="http://schemas.openxmlformats.org/officeDocument/2006/relationships/tags" Target="../tags/tag457.xml"/><Relationship Id="rId109" Type="http://schemas.openxmlformats.org/officeDocument/2006/relationships/tags" Target="../tags/tag527.xml"/><Relationship Id="rId34" Type="http://schemas.openxmlformats.org/officeDocument/2006/relationships/tags" Target="../tags/tag452.xml"/><Relationship Id="rId50" Type="http://schemas.openxmlformats.org/officeDocument/2006/relationships/tags" Target="../tags/tag468.xml"/><Relationship Id="rId55" Type="http://schemas.openxmlformats.org/officeDocument/2006/relationships/tags" Target="../tags/tag473.xml"/><Relationship Id="rId76" Type="http://schemas.openxmlformats.org/officeDocument/2006/relationships/tags" Target="../tags/tag494.xml"/><Relationship Id="rId97" Type="http://schemas.openxmlformats.org/officeDocument/2006/relationships/tags" Target="../tags/tag515.xml"/><Relationship Id="rId104" Type="http://schemas.openxmlformats.org/officeDocument/2006/relationships/tags" Target="../tags/tag522.xml"/><Relationship Id="rId120" Type="http://schemas.openxmlformats.org/officeDocument/2006/relationships/tags" Target="../tags/tag538.xml"/><Relationship Id="rId125" Type="http://schemas.openxmlformats.org/officeDocument/2006/relationships/tags" Target="../tags/tag543.xml"/><Relationship Id="rId141" Type="http://schemas.openxmlformats.org/officeDocument/2006/relationships/tags" Target="../tags/tag559.xml"/><Relationship Id="rId146" Type="http://schemas.openxmlformats.org/officeDocument/2006/relationships/tags" Target="../tags/tag564.xml"/><Relationship Id="rId167" Type="http://schemas.openxmlformats.org/officeDocument/2006/relationships/tags" Target="../tags/tag585.xml"/><Relationship Id="rId188" Type="http://schemas.openxmlformats.org/officeDocument/2006/relationships/image" Target="../media/image8.png"/><Relationship Id="rId7" Type="http://schemas.openxmlformats.org/officeDocument/2006/relationships/tags" Target="../tags/tag425.xml"/><Relationship Id="rId71" Type="http://schemas.openxmlformats.org/officeDocument/2006/relationships/tags" Target="../tags/tag489.xml"/><Relationship Id="rId92" Type="http://schemas.openxmlformats.org/officeDocument/2006/relationships/tags" Target="../tags/tag510.xml"/><Relationship Id="rId162" Type="http://schemas.openxmlformats.org/officeDocument/2006/relationships/tags" Target="../tags/tag580.xml"/><Relationship Id="rId183" Type="http://schemas.openxmlformats.org/officeDocument/2006/relationships/tags" Target="../tags/tag601.xml"/><Relationship Id="rId2" Type="http://schemas.openxmlformats.org/officeDocument/2006/relationships/tags" Target="../tags/tag420.xml"/><Relationship Id="rId29" Type="http://schemas.openxmlformats.org/officeDocument/2006/relationships/tags" Target="../tags/tag447.xml"/><Relationship Id="rId24" Type="http://schemas.openxmlformats.org/officeDocument/2006/relationships/tags" Target="../tags/tag442.xml"/><Relationship Id="rId40" Type="http://schemas.openxmlformats.org/officeDocument/2006/relationships/tags" Target="../tags/tag458.xml"/><Relationship Id="rId45" Type="http://schemas.openxmlformats.org/officeDocument/2006/relationships/tags" Target="../tags/tag463.xml"/><Relationship Id="rId66" Type="http://schemas.openxmlformats.org/officeDocument/2006/relationships/tags" Target="../tags/tag484.xml"/><Relationship Id="rId87" Type="http://schemas.openxmlformats.org/officeDocument/2006/relationships/tags" Target="../tags/tag505.xml"/><Relationship Id="rId110" Type="http://schemas.openxmlformats.org/officeDocument/2006/relationships/tags" Target="../tags/tag528.xml"/><Relationship Id="rId115" Type="http://schemas.openxmlformats.org/officeDocument/2006/relationships/tags" Target="../tags/tag533.xml"/><Relationship Id="rId131" Type="http://schemas.openxmlformats.org/officeDocument/2006/relationships/tags" Target="../tags/tag549.xml"/><Relationship Id="rId136" Type="http://schemas.openxmlformats.org/officeDocument/2006/relationships/tags" Target="../tags/tag554.xml"/><Relationship Id="rId157" Type="http://schemas.openxmlformats.org/officeDocument/2006/relationships/tags" Target="../tags/tag575.xml"/><Relationship Id="rId178" Type="http://schemas.openxmlformats.org/officeDocument/2006/relationships/tags" Target="../tags/tag596.xml"/><Relationship Id="rId61" Type="http://schemas.openxmlformats.org/officeDocument/2006/relationships/tags" Target="../tags/tag479.xml"/><Relationship Id="rId82" Type="http://schemas.openxmlformats.org/officeDocument/2006/relationships/tags" Target="../tags/tag500.xml"/><Relationship Id="rId152" Type="http://schemas.openxmlformats.org/officeDocument/2006/relationships/tags" Target="../tags/tag570.xml"/><Relationship Id="rId173" Type="http://schemas.openxmlformats.org/officeDocument/2006/relationships/tags" Target="../tags/tag591.xml"/><Relationship Id="rId19" Type="http://schemas.openxmlformats.org/officeDocument/2006/relationships/tags" Target="../tags/tag437.xml"/><Relationship Id="rId14" Type="http://schemas.openxmlformats.org/officeDocument/2006/relationships/tags" Target="../tags/tag432.xml"/><Relationship Id="rId30" Type="http://schemas.openxmlformats.org/officeDocument/2006/relationships/tags" Target="../tags/tag448.xml"/><Relationship Id="rId35" Type="http://schemas.openxmlformats.org/officeDocument/2006/relationships/tags" Target="../tags/tag453.xml"/><Relationship Id="rId56" Type="http://schemas.openxmlformats.org/officeDocument/2006/relationships/tags" Target="../tags/tag474.xml"/><Relationship Id="rId77" Type="http://schemas.openxmlformats.org/officeDocument/2006/relationships/tags" Target="../tags/tag495.xml"/><Relationship Id="rId100" Type="http://schemas.openxmlformats.org/officeDocument/2006/relationships/tags" Target="../tags/tag518.xml"/><Relationship Id="rId105" Type="http://schemas.openxmlformats.org/officeDocument/2006/relationships/tags" Target="../tags/tag523.xml"/><Relationship Id="rId126" Type="http://schemas.openxmlformats.org/officeDocument/2006/relationships/tags" Target="../tags/tag544.xml"/><Relationship Id="rId147" Type="http://schemas.openxmlformats.org/officeDocument/2006/relationships/tags" Target="../tags/tag565.xml"/><Relationship Id="rId168" Type="http://schemas.openxmlformats.org/officeDocument/2006/relationships/tags" Target="../tags/tag586.xml"/><Relationship Id="rId8" Type="http://schemas.openxmlformats.org/officeDocument/2006/relationships/tags" Target="../tags/tag426.xml"/><Relationship Id="rId51" Type="http://schemas.openxmlformats.org/officeDocument/2006/relationships/tags" Target="../tags/tag469.xml"/><Relationship Id="rId72" Type="http://schemas.openxmlformats.org/officeDocument/2006/relationships/tags" Target="../tags/tag490.xml"/><Relationship Id="rId93" Type="http://schemas.openxmlformats.org/officeDocument/2006/relationships/tags" Target="../tags/tag511.xml"/><Relationship Id="rId98" Type="http://schemas.openxmlformats.org/officeDocument/2006/relationships/tags" Target="../tags/tag516.xml"/><Relationship Id="rId121" Type="http://schemas.openxmlformats.org/officeDocument/2006/relationships/tags" Target="../tags/tag539.xml"/><Relationship Id="rId142" Type="http://schemas.openxmlformats.org/officeDocument/2006/relationships/tags" Target="../tags/tag560.xml"/><Relationship Id="rId163" Type="http://schemas.openxmlformats.org/officeDocument/2006/relationships/tags" Target="../tags/tag581.xml"/><Relationship Id="rId184" Type="http://schemas.openxmlformats.org/officeDocument/2006/relationships/slideLayout" Target="../slideLayouts/slideLayout13.xml"/><Relationship Id="rId189" Type="http://schemas.openxmlformats.org/officeDocument/2006/relationships/image" Target="../media/image9.svg"/><Relationship Id="rId3" Type="http://schemas.openxmlformats.org/officeDocument/2006/relationships/tags" Target="../tags/tag421.xml"/><Relationship Id="rId25" Type="http://schemas.openxmlformats.org/officeDocument/2006/relationships/tags" Target="../tags/tag443.xml"/><Relationship Id="rId46" Type="http://schemas.openxmlformats.org/officeDocument/2006/relationships/tags" Target="../tags/tag464.xml"/><Relationship Id="rId67" Type="http://schemas.openxmlformats.org/officeDocument/2006/relationships/tags" Target="../tags/tag485.xml"/><Relationship Id="rId116" Type="http://schemas.openxmlformats.org/officeDocument/2006/relationships/tags" Target="../tags/tag534.xml"/><Relationship Id="rId137" Type="http://schemas.openxmlformats.org/officeDocument/2006/relationships/tags" Target="../tags/tag555.xml"/><Relationship Id="rId158" Type="http://schemas.openxmlformats.org/officeDocument/2006/relationships/tags" Target="../tags/tag576.xml"/><Relationship Id="rId20" Type="http://schemas.openxmlformats.org/officeDocument/2006/relationships/tags" Target="../tags/tag438.xml"/><Relationship Id="rId41" Type="http://schemas.openxmlformats.org/officeDocument/2006/relationships/tags" Target="../tags/tag459.xml"/><Relationship Id="rId62" Type="http://schemas.openxmlformats.org/officeDocument/2006/relationships/tags" Target="../tags/tag480.xml"/><Relationship Id="rId83" Type="http://schemas.openxmlformats.org/officeDocument/2006/relationships/tags" Target="../tags/tag501.xml"/><Relationship Id="rId88" Type="http://schemas.openxmlformats.org/officeDocument/2006/relationships/tags" Target="../tags/tag506.xml"/><Relationship Id="rId111" Type="http://schemas.openxmlformats.org/officeDocument/2006/relationships/tags" Target="../tags/tag529.xml"/><Relationship Id="rId132" Type="http://schemas.openxmlformats.org/officeDocument/2006/relationships/tags" Target="../tags/tag550.xml"/><Relationship Id="rId153" Type="http://schemas.openxmlformats.org/officeDocument/2006/relationships/tags" Target="../tags/tag571.xml"/><Relationship Id="rId174" Type="http://schemas.openxmlformats.org/officeDocument/2006/relationships/tags" Target="../tags/tag592.xml"/><Relationship Id="rId179" Type="http://schemas.openxmlformats.org/officeDocument/2006/relationships/tags" Target="../tags/tag597.xml"/><Relationship Id="rId190" Type="http://schemas.openxmlformats.org/officeDocument/2006/relationships/image" Target="../media/image10.png"/><Relationship Id="rId15" Type="http://schemas.openxmlformats.org/officeDocument/2006/relationships/tags" Target="../tags/tag433.xml"/><Relationship Id="rId36" Type="http://schemas.openxmlformats.org/officeDocument/2006/relationships/tags" Target="../tags/tag454.xml"/><Relationship Id="rId57" Type="http://schemas.openxmlformats.org/officeDocument/2006/relationships/tags" Target="../tags/tag475.xml"/><Relationship Id="rId106" Type="http://schemas.openxmlformats.org/officeDocument/2006/relationships/tags" Target="../tags/tag524.xml"/><Relationship Id="rId127" Type="http://schemas.openxmlformats.org/officeDocument/2006/relationships/tags" Target="../tags/tag545.xml"/><Relationship Id="rId10" Type="http://schemas.openxmlformats.org/officeDocument/2006/relationships/tags" Target="../tags/tag428.xml"/><Relationship Id="rId31" Type="http://schemas.openxmlformats.org/officeDocument/2006/relationships/tags" Target="../tags/tag449.xml"/><Relationship Id="rId52" Type="http://schemas.openxmlformats.org/officeDocument/2006/relationships/tags" Target="../tags/tag470.xml"/><Relationship Id="rId73" Type="http://schemas.openxmlformats.org/officeDocument/2006/relationships/tags" Target="../tags/tag491.xml"/><Relationship Id="rId78" Type="http://schemas.openxmlformats.org/officeDocument/2006/relationships/tags" Target="../tags/tag496.xml"/><Relationship Id="rId94" Type="http://schemas.openxmlformats.org/officeDocument/2006/relationships/tags" Target="../tags/tag512.xml"/><Relationship Id="rId99" Type="http://schemas.openxmlformats.org/officeDocument/2006/relationships/tags" Target="../tags/tag517.xml"/><Relationship Id="rId101" Type="http://schemas.openxmlformats.org/officeDocument/2006/relationships/tags" Target="../tags/tag519.xml"/><Relationship Id="rId122" Type="http://schemas.openxmlformats.org/officeDocument/2006/relationships/tags" Target="../tags/tag540.xml"/><Relationship Id="rId143" Type="http://schemas.openxmlformats.org/officeDocument/2006/relationships/tags" Target="../tags/tag561.xml"/><Relationship Id="rId148" Type="http://schemas.openxmlformats.org/officeDocument/2006/relationships/tags" Target="../tags/tag566.xml"/><Relationship Id="rId164" Type="http://schemas.openxmlformats.org/officeDocument/2006/relationships/tags" Target="../tags/tag582.xml"/><Relationship Id="rId169" Type="http://schemas.openxmlformats.org/officeDocument/2006/relationships/tags" Target="../tags/tag587.xml"/><Relationship Id="rId185" Type="http://schemas.openxmlformats.org/officeDocument/2006/relationships/notesSlide" Target="../notesSlides/notesSlide7.xml"/><Relationship Id="rId4" Type="http://schemas.openxmlformats.org/officeDocument/2006/relationships/tags" Target="../tags/tag422.xml"/><Relationship Id="rId9" Type="http://schemas.openxmlformats.org/officeDocument/2006/relationships/tags" Target="../tags/tag427.xml"/><Relationship Id="rId180" Type="http://schemas.openxmlformats.org/officeDocument/2006/relationships/tags" Target="../tags/tag598.xml"/><Relationship Id="rId26" Type="http://schemas.openxmlformats.org/officeDocument/2006/relationships/tags" Target="../tags/tag444.xml"/><Relationship Id="rId47" Type="http://schemas.openxmlformats.org/officeDocument/2006/relationships/tags" Target="../tags/tag465.xml"/><Relationship Id="rId68" Type="http://schemas.openxmlformats.org/officeDocument/2006/relationships/tags" Target="../tags/tag486.xml"/><Relationship Id="rId89" Type="http://schemas.openxmlformats.org/officeDocument/2006/relationships/tags" Target="../tags/tag507.xml"/><Relationship Id="rId112" Type="http://schemas.openxmlformats.org/officeDocument/2006/relationships/tags" Target="../tags/tag530.xml"/><Relationship Id="rId133" Type="http://schemas.openxmlformats.org/officeDocument/2006/relationships/tags" Target="../tags/tag551.xml"/><Relationship Id="rId154" Type="http://schemas.openxmlformats.org/officeDocument/2006/relationships/tags" Target="../tags/tag572.xml"/><Relationship Id="rId175" Type="http://schemas.openxmlformats.org/officeDocument/2006/relationships/tags" Target="../tags/tag593.xml"/><Relationship Id="rId16" Type="http://schemas.openxmlformats.org/officeDocument/2006/relationships/tags" Target="../tags/tag434.xml"/><Relationship Id="rId37" Type="http://schemas.openxmlformats.org/officeDocument/2006/relationships/tags" Target="../tags/tag455.xml"/><Relationship Id="rId58" Type="http://schemas.openxmlformats.org/officeDocument/2006/relationships/tags" Target="../tags/tag476.xml"/><Relationship Id="rId79" Type="http://schemas.openxmlformats.org/officeDocument/2006/relationships/tags" Target="../tags/tag497.xml"/><Relationship Id="rId102" Type="http://schemas.openxmlformats.org/officeDocument/2006/relationships/tags" Target="../tags/tag520.xml"/><Relationship Id="rId123" Type="http://schemas.openxmlformats.org/officeDocument/2006/relationships/tags" Target="../tags/tag541.xml"/><Relationship Id="rId144" Type="http://schemas.openxmlformats.org/officeDocument/2006/relationships/tags" Target="../tags/tag562.xml"/><Relationship Id="rId90" Type="http://schemas.openxmlformats.org/officeDocument/2006/relationships/tags" Target="../tags/tag508.xml"/><Relationship Id="rId165" Type="http://schemas.openxmlformats.org/officeDocument/2006/relationships/tags" Target="../tags/tag583.xml"/><Relationship Id="rId186" Type="http://schemas.openxmlformats.org/officeDocument/2006/relationships/image" Target="../media/image6.png"/><Relationship Id="rId27" Type="http://schemas.openxmlformats.org/officeDocument/2006/relationships/tags" Target="../tags/tag445.xml"/><Relationship Id="rId48" Type="http://schemas.openxmlformats.org/officeDocument/2006/relationships/tags" Target="../tags/tag466.xml"/><Relationship Id="rId69" Type="http://schemas.openxmlformats.org/officeDocument/2006/relationships/tags" Target="../tags/tag487.xml"/><Relationship Id="rId113" Type="http://schemas.openxmlformats.org/officeDocument/2006/relationships/tags" Target="../tags/tag531.xml"/><Relationship Id="rId134" Type="http://schemas.openxmlformats.org/officeDocument/2006/relationships/tags" Target="../tags/tag552.xml"/><Relationship Id="rId80" Type="http://schemas.openxmlformats.org/officeDocument/2006/relationships/tags" Target="../tags/tag498.xml"/><Relationship Id="rId155" Type="http://schemas.openxmlformats.org/officeDocument/2006/relationships/tags" Target="../tags/tag573.xml"/><Relationship Id="rId176" Type="http://schemas.openxmlformats.org/officeDocument/2006/relationships/tags" Target="../tags/tag594.xml"/><Relationship Id="rId17" Type="http://schemas.openxmlformats.org/officeDocument/2006/relationships/tags" Target="../tags/tag435.xml"/><Relationship Id="rId38" Type="http://schemas.openxmlformats.org/officeDocument/2006/relationships/tags" Target="../tags/tag456.xml"/><Relationship Id="rId59" Type="http://schemas.openxmlformats.org/officeDocument/2006/relationships/tags" Target="../tags/tag477.xml"/><Relationship Id="rId103" Type="http://schemas.openxmlformats.org/officeDocument/2006/relationships/tags" Target="../tags/tag521.xml"/><Relationship Id="rId124" Type="http://schemas.openxmlformats.org/officeDocument/2006/relationships/tags" Target="../tags/tag542.xml"/><Relationship Id="rId70" Type="http://schemas.openxmlformats.org/officeDocument/2006/relationships/tags" Target="../tags/tag488.xml"/><Relationship Id="rId91" Type="http://schemas.openxmlformats.org/officeDocument/2006/relationships/tags" Target="../tags/tag509.xml"/><Relationship Id="rId145" Type="http://schemas.openxmlformats.org/officeDocument/2006/relationships/tags" Target="../tags/tag563.xml"/><Relationship Id="rId166" Type="http://schemas.openxmlformats.org/officeDocument/2006/relationships/tags" Target="../tags/tag584.xml"/><Relationship Id="rId187" Type="http://schemas.openxmlformats.org/officeDocument/2006/relationships/image" Target="../media/image7.svg"/><Relationship Id="rId1" Type="http://schemas.openxmlformats.org/officeDocument/2006/relationships/tags" Target="../tags/tag419.xml"/><Relationship Id="rId28" Type="http://schemas.openxmlformats.org/officeDocument/2006/relationships/tags" Target="../tags/tag446.xml"/><Relationship Id="rId49" Type="http://schemas.openxmlformats.org/officeDocument/2006/relationships/tags" Target="../tags/tag467.xml"/><Relationship Id="rId114" Type="http://schemas.openxmlformats.org/officeDocument/2006/relationships/tags" Target="../tags/tag532.xml"/><Relationship Id="rId60" Type="http://schemas.openxmlformats.org/officeDocument/2006/relationships/tags" Target="../tags/tag478.xml"/><Relationship Id="rId81" Type="http://schemas.openxmlformats.org/officeDocument/2006/relationships/tags" Target="../tags/tag499.xml"/><Relationship Id="rId135" Type="http://schemas.openxmlformats.org/officeDocument/2006/relationships/tags" Target="../tags/tag553.xml"/><Relationship Id="rId156" Type="http://schemas.openxmlformats.org/officeDocument/2006/relationships/tags" Target="../tags/tag574.xml"/><Relationship Id="rId177" Type="http://schemas.openxmlformats.org/officeDocument/2006/relationships/tags" Target="../tags/tag595.xml"/></Relationships>
</file>

<file path=ppt/slides/_rels/slide8.xml.rels><?xml version="1.0" encoding="UTF-8" standalone="yes"?>
<Relationships xmlns="http://schemas.openxmlformats.org/package/2006/relationships"><Relationship Id="rId13" Type="http://schemas.openxmlformats.org/officeDocument/2006/relationships/tags" Target="../tags/tag617.xml"/><Relationship Id="rId18" Type="http://schemas.openxmlformats.org/officeDocument/2006/relationships/tags" Target="../tags/tag622.xml"/><Relationship Id="rId26" Type="http://schemas.openxmlformats.org/officeDocument/2006/relationships/tags" Target="../tags/tag630.xml"/><Relationship Id="rId39" Type="http://schemas.openxmlformats.org/officeDocument/2006/relationships/tags" Target="../tags/tag643.xml"/><Relationship Id="rId21" Type="http://schemas.openxmlformats.org/officeDocument/2006/relationships/tags" Target="../tags/tag625.xml"/><Relationship Id="rId34" Type="http://schemas.openxmlformats.org/officeDocument/2006/relationships/tags" Target="../tags/tag638.xml"/><Relationship Id="rId42" Type="http://schemas.openxmlformats.org/officeDocument/2006/relationships/tags" Target="../tags/tag646.xml"/><Relationship Id="rId47" Type="http://schemas.openxmlformats.org/officeDocument/2006/relationships/tags" Target="../tags/tag651.xml"/><Relationship Id="rId50" Type="http://schemas.openxmlformats.org/officeDocument/2006/relationships/tags" Target="../tags/tag654.xml"/><Relationship Id="rId55" Type="http://schemas.openxmlformats.org/officeDocument/2006/relationships/tags" Target="../tags/tag659.xml"/><Relationship Id="rId63" Type="http://schemas.openxmlformats.org/officeDocument/2006/relationships/notesSlide" Target="../notesSlides/notesSlide8.xml"/><Relationship Id="rId7" Type="http://schemas.openxmlformats.org/officeDocument/2006/relationships/tags" Target="../tags/tag611.xml"/><Relationship Id="rId2" Type="http://schemas.openxmlformats.org/officeDocument/2006/relationships/tags" Target="../tags/tag606.xml"/><Relationship Id="rId16" Type="http://schemas.openxmlformats.org/officeDocument/2006/relationships/tags" Target="../tags/tag620.xml"/><Relationship Id="rId29" Type="http://schemas.openxmlformats.org/officeDocument/2006/relationships/tags" Target="../tags/tag633.xml"/><Relationship Id="rId11" Type="http://schemas.openxmlformats.org/officeDocument/2006/relationships/tags" Target="../tags/tag615.xml"/><Relationship Id="rId24" Type="http://schemas.openxmlformats.org/officeDocument/2006/relationships/tags" Target="../tags/tag628.xml"/><Relationship Id="rId32" Type="http://schemas.openxmlformats.org/officeDocument/2006/relationships/tags" Target="../tags/tag636.xml"/><Relationship Id="rId37" Type="http://schemas.openxmlformats.org/officeDocument/2006/relationships/tags" Target="../tags/tag641.xml"/><Relationship Id="rId40" Type="http://schemas.openxmlformats.org/officeDocument/2006/relationships/tags" Target="../tags/tag644.xml"/><Relationship Id="rId45" Type="http://schemas.openxmlformats.org/officeDocument/2006/relationships/tags" Target="../tags/tag649.xml"/><Relationship Id="rId53" Type="http://schemas.openxmlformats.org/officeDocument/2006/relationships/tags" Target="../tags/tag657.xml"/><Relationship Id="rId58" Type="http://schemas.openxmlformats.org/officeDocument/2006/relationships/tags" Target="../tags/tag662.xml"/><Relationship Id="rId5" Type="http://schemas.openxmlformats.org/officeDocument/2006/relationships/tags" Target="../tags/tag609.xml"/><Relationship Id="rId61" Type="http://schemas.openxmlformats.org/officeDocument/2006/relationships/tags" Target="../tags/tag665.xml"/><Relationship Id="rId19" Type="http://schemas.openxmlformats.org/officeDocument/2006/relationships/tags" Target="../tags/tag623.xml"/><Relationship Id="rId14" Type="http://schemas.openxmlformats.org/officeDocument/2006/relationships/tags" Target="../tags/tag618.xml"/><Relationship Id="rId22" Type="http://schemas.openxmlformats.org/officeDocument/2006/relationships/tags" Target="../tags/tag626.xml"/><Relationship Id="rId27" Type="http://schemas.openxmlformats.org/officeDocument/2006/relationships/tags" Target="../tags/tag631.xml"/><Relationship Id="rId30" Type="http://schemas.openxmlformats.org/officeDocument/2006/relationships/tags" Target="../tags/tag634.xml"/><Relationship Id="rId35" Type="http://schemas.openxmlformats.org/officeDocument/2006/relationships/tags" Target="../tags/tag639.xml"/><Relationship Id="rId43" Type="http://schemas.openxmlformats.org/officeDocument/2006/relationships/tags" Target="../tags/tag647.xml"/><Relationship Id="rId48" Type="http://schemas.openxmlformats.org/officeDocument/2006/relationships/tags" Target="../tags/tag652.xml"/><Relationship Id="rId56" Type="http://schemas.openxmlformats.org/officeDocument/2006/relationships/tags" Target="../tags/tag660.xml"/><Relationship Id="rId8" Type="http://schemas.openxmlformats.org/officeDocument/2006/relationships/tags" Target="../tags/tag612.xml"/><Relationship Id="rId51" Type="http://schemas.openxmlformats.org/officeDocument/2006/relationships/tags" Target="../tags/tag655.xml"/><Relationship Id="rId3" Type="http://schemas.openxmlformats.org/officeDocument/2006/relationships/tags" Target="../tags/tag607.xml"/><Relationship Id="rId12" Type="http://schemas.openxmlformats.org/officeDocument/2006/relationships/tags" Target="../tags/tag616.xml"/><Relationship Id="rId17" Type="http://schemas.openxmlformats.org/officeDocument/2006/relationships/tags" Target="../tags/tag621.xml"/><Relationship Id="rId25" Type="http://schemas.openxmlformats.org/officeDocument/2006/relationships/tags" Target="../tags/tag629.xml"/><Relationship Id="rId33" Type="http://schemas.openxmlformats.org/officeDocument/2006/relationships/tags" Target="../tags/tag637.xml"/><Relationship Id="rId38" Type="http://schemas.openxmlformats.org/officeDocument/2006/relationships/tags" Target="../tags/tag642.xml"/><Relationship Id="rId46" Type="http://schemas.openxmlformats.org/officeDocument/2006/relationships/tags" Target="../tags/tag650.xml"/><Relationship Id="rId59" Type="http://schemas.openxmlformats.org/officeDocument/2006/relationships/tags" Target="../tags/tag663.xml"/><Relationship Id="rId20" Type="http://schemas.openxmlformats.org/officeDocument/2006/relationships/tags" Target="../tags/tag624.xml"/><Relationship Id="rId41" Type="http://schemas.openxmlformats.org/officeDocument/2006/relationships/tags" Target="../tags/tag645.xml"/><Relationship Id="rId54" Type="http://schemas.openxmlformats.org/officeDocument/2006/relationships/tags" Target="../tags/tag658.xml"/><Relationship Id="rId62" Type="http://schemas.openxmlformats.org/officeDocument/2006/relationships/slideLayout" Target="../slideLayouts/slideLayout15.xml"/><Relationship Id="rId1" Type="http://schemas.openxmlformats.org/officeDocument/2006/relationships/tags" Target="../tags/tag605.xml"/><Relationship Id="rId6" Type="http://schemas.openxmlformats.org/officeDocument/2006/relationships/tags" Target="../tags/tag610.xml"/><Relationship Id="rId15" Type="http://schemas.openxmlformats.org/officeDocument/2006/relationships/tags" Target="../tags/tag619.xml"/><Relationship Id="rId23" Type="http://schemas.openxmlformats.org/officeDocument/2006/relationships/tags" Target="../tags/tag627.xml"/><Relationship Id="rId28" Type="http://schemas.openxmlformats.org/officeDocument/2006/relationships/tags" Target="../tags/tag632.xml"/><Relationship Id="rId36" Type="http://schemas.openxmlformats.org/officeDocument/2006/relationships/tags" Target="../tags/tag640.xml"/><Relationship Id="rId49" Type="http://schemas.openxmlformats.org/officeDocument/2006/relationships/tags" Target="../tags/tag653.xml"/><Relationship Id="rId57" Type="http://schemas.openxmlformats.org/officeDocument/2006/relationships/tags" Target="../tags/tag661.xml"/><Relationship Id="rId10" Type="http://schemas.openxmlformats.org/officeDocument/2006/relationships/tags" Target="../tags/tag614.xml"/><Relationship Id="rId31" Type="http://schemas.openxmlformats.org/officeDocument/2006/relationships/tags" Target="../tags/tag635.xml"/><Relationship Id="rId44" Type="http://schemas.openxmlformats.org/officeDocument/2006/relationships/tags" Target="../tags/tag648.xml"/><Relationship Id="rId52" Type="http://schemas.openxmlformats.org/officeDocument/2006/relationships/tags" Target="../tags/tag656.xml"/><Relationship Id="rId60" Type="http://schemas.openxmlformats.org/officeDocument/2006/relationships/tags" Target="../tags/tag664.xml"/><Relationship Id="rId4" Type="http://schemas.openxmlformats.org/officeDocument/2006/relationships/tags" Target="../tags/tag608.xml"/><Relationship Id="rId9" Type="http://schemas.openxmlformats.org/officeDocument/2006/relationships/tags" Target="../tags/tag61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70.xml"/><Relationship Id="rId1" Type="http://schemas.openxmlformats.org/officeDocument/2006/relationships/tags" Target="../tags/tag669.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2" name="Bildplatzhalter 25">
            <a:extLst>
              <a:ext uri="{FF2B5EF4-FFF2-40B4-BE49-F238E27FC236}">
                <a16:creationId xmlns:a16="http://schemas.microsoft.com/office/drawing/2014/main" id="{50CCF09C-CC01-446F-848D-205CC34CCCE5}"/>
              </a:ext>
            </a:extLst>
          </p:cNvPr>
          <p:cNvPicPr>
            <a:picLocks noChangeAspect="1"/>
          </p:cNvPicPr>
          <p:nvPr>
            <p:custDataLst>
              <p:tags r:id="rId1"/>
            </p:custDataLst>
          </p:nvPr>
        </p:nvPicPr>
        <p:blipFill>
          <a:blip r:embed="rId8"/>
          <a:stretch>
            <a:fillRect/>
          </a:stretch>
        </p:blipFill>
        <p:spPr>
          <a:xfrm>
            <a:off x="4902228" y="0"/>
            <a:ext cx="7289772" cy="6858000"/>
          </a:xfrm>
          <a:custGeom>
            <a:avLst/>
            <a:gdLst>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5263199 w 7289772"/>
              <a:gd name="connsiteY5" fmla="*/ 0 h 6858000"/>
              <a:gd name="connsiteX6" fmla="*/ 7289772 w 7289772"/>
              <a:gd name="connsiteY6" fmla="*/ 0 h 6858000"/>
              <a:gd name="connsiteX7" fmla="*/ 7289772 w 7289772"/>
              <a:gd name="connsiteY7" fmla="*/ 3038958 h 6858000"/>
              <a:gd name="connsiteX8" fmla="*/ 6992481 w 7289772"/>
              <a:gd name="connsiteY8" fmla="*/ 3426461 h 6858000"/>
              <a:gd name="connsiteX9" fmla="*/ 7289772 w 7289772"/>
              <a:gd name="connsiteY9" fmla="*/ 3813786 h 6858000"/>
              <a:gd name="connsiteX10" fmla="*/ 7289772 w 7289772"/>
              <a:gd name="connsiteY10" fmla="*/ 6858000 h 6858000"/>
              <a:gd name="connsiteX11" fmla="*/ 5266888 w 7289772"/>
              <a:gd name="connsiteY11" fmla="*/ 6858000 h 6858000"/>
              <a:gd name="connsiteX12" fmla="*/ 5047823 w 7289772"/>
              <a:gd name="connsiteY12" fmla="*/ 6572773 h 6858000"/>
              <a:gd name="connsiteX13" fmla="*/ 4812255 w 7289772"/>
              <a:gd name="connsiteY13" fmla="*/ 6266019 h 6858000"/>
              <a:gd name="connsiteX14" fmla="*/ 4576788 w 7289772"/>
              <a:gd name="connsiteY14" fmla="*/ 6572773 h 6858000"/>
              <a:gd name="connsiteX15" fmla="*/ 4357808 w 7289772"/>
              <a:gd name="connsiteY15" fmla="*/ 6858000 h 6858000"/>
              <a:gd name="connsiteX16" fmla="*/ 0 w 7289772"/>
              <a:gd name="connsiteY16" fmla="*/ 6858000 h 6858000"/>
              <a:gd name="connsiteX17" fmla="*/ 33676 w 7289772"/>
              <a:gd name="connsiteY17" fmla="*/ 6814076 h 6858000"/>
              <a:gd name="connsiteX18" fmla="*/ 2632603 w 7289772"/>
              <a:gd name="connsiteY18" fmla="*/ 3426461 h 6858000"/>
              <a:gd name="connsiteX19" fmla="*/ 33676 w 7289772"/>
              <a:gd name="connsiteY19" fmla="*/ 386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89772" h="6858000">
                <a:moveTo>
                  <a:pt x="4054" y="0"/>
                </a:moveTo>
                <a:lnTo>
                  <a:pt x="4361495" y="0"/>
                </a:lnTo>
                <a:lnTo>
                  <a:pt x="4576788" y="280262"/>
                </a:lnTo>
                <a:cubicBezTo>
                  <a:pt x="4654052" y="380843"/>
                  <a:pt x="4732593" y="483087"/>
                  <a:pt x="4812255" y="586788"/>
                </a:cubicBezTo>
                <a:cubicBezTo>
                  <a:pt x="4891953" y="483087"/>
                  <a:pt x="4970527" y="380843"/>
                  <a:pt x="5047823" y="280262"/>
                </a:cubicBezTo>
                <a:lnTo>
                  <a:pt x="5263199" y="0"/>
                </a:lnTo>
                <a:lnTo>
                  <a:pt x="7289772" y="0"/>
                </a:lnTo>
                <a:lnTo>
                  <a:pt x="7289772" y="3038958"/>
                </a:lnTo>
                <a:lnTo>
                  <a:pt x="6992481" y="3426461"/>
                </a:lnTo>
                <a:lnTo>
                  <a:pt x="7289772" y="3813786"/>
                </a:lnTo>
                <a:lnTo>
                  <a:pt x="7289772" y="6858000"/>
                </a:lnTo>
                <a:lnTo>
                  <a:pt x="5266888" y="6858000"/>
                </a:lnTo>
                <a:lnTo>
                  <a:pt x="5047823" y="6572773"/>
                </a:lnTo>
                <a:cubicBezTo>
                  <a:pt x="4970527" y="6472126"/>
                  <a:pt x="4891953" y="6369807"/>
                  <a:pt x="4812255" y="6266019"/>
                </a:cubicBezTo>
                <a:cubicBezTo>
                  <a:pt x="4732593" y="6369807"/>
                  <a:pt x="4654052" y="6472126"/>
                  <a:pt x="4576788" y="6572773"/>
                </a:cubicBezTo>
                <a:lnTo>
                  <a:pt x="4357808" y="6858000"/>
                </a:lnTo>
                <a:lnTo>
                  <a:pt x="0" y="6858000"/>
                </a:lnTo>
                <a:lnTo>
                  <a:pt x="33676" y="6814076"/>
                </a:lnTo>
                <a:cubicBezTo>
                  <a:pt x="737739" y="5895774"/>
                  <a:pt x="1672856" y="4676764"/>
                  <a:pt x="2632603" y="3426461"/>
                </a:cubicBezTo>
                <a:cubicBezTo>
                  <a:pt x="1672856" y="2175466"/>
                  <a:pt x="737739" y="956774"/>
                  <a:pt x="33676" y="38631"/>
                </a:cubicBezTo>
                <a:close/>
              </a:path>
            </a:pathLst>
          </a:custGeom>
          <a:solidFill>
            <a:schemeClr val="accent6"/>
          </a:solidFill>
        </p:spPr>
      </p:pic>
      <p:sp>
        <p:nvSpPr>
          <p:cNvPr id="5" name="Titel 4">
            <a:extLst>
              <a:ext uri="{FF2B5EF4-FFF2-40B4-BE49-F238E27FC236}">
                <a16:creationId xmlns:a16="http://schemas.microsoft.com/office/drawing/2014/main" id="{554D8F85-9FE9-C779-811B-7B150FE0E885}"/>
              </a:ext>
            </a:extLst>
          </p:cNvPr>
          <p:cNvSpPr>
            <a:spLocks noGrp="1"/>
          </p:cNvSpPr>
          <p:nvPr>
            <p:ph type="ctrTitle"/>
            <p:custDataLst>
              <p:tags r:id="rId2"/>
            </p:custDataLst>
          </p:nvPr>
        </p:nvSpPr>
        <p:spPr/>
        <p:txBody>
          <a:bodyPr/>
          <a:lstStyle/>
          <a:p>
            <a:r>
              <a:rPr lang="pl-PL" dirty="0"/>
              <a:t>Najważniejsze informacje </a:t>
            </a:r>
            <a:br>
              <a:rPr lang="pl-PL" dirty="0"/>
            </a:br>
            <a:r>
              <a:rPr lang="pl-PL" dirty="0"/>
              <a:t>o dawstwie szpiku</a:t>
            </a:r>
          </a:p>
        </p:txBody>
      </p:sp>
      <p:sp>
        <p:nvSpPr>
          <p:cNvPr id="6" name="Untertitel 5">
            <a:extLst>
              <a:ext uri="{FF2B5EF4-FFF2-40B4-BE49-F238E27FC236}">
                <a16:creationId xmlns:a16="http://schemas.microsoft.com/office/drawing/2014/main" id="{4C0BFCD0-432A-A836-66F2-97657FE4AF16}"/>
              </a:ext>
            </a:extLst>
          </p:cNvPr>
          <p:cNvSpPr>
            <a:spLocks noGrp="1"/>
          </p:cNvSpPr>
          <p:nvPr>
            <p:ph type="subTitle" idx="1"/>
            <p:custDataLst>
              <p:tags r:id="rId3"/>
            </p:custDataLst>
          </p:nvPr>
        </p:nvSpPr>
        <p:spPr/>
        <p:txBody>
          <a:bodyPr/>
          <a:lstStyle/>
          <a:p>
            <a:r>
              <a:rPr lang="pl-PL" noProof="0" dirty="0"/>
              <a:t>Prezentacja w ramach projektu #KOMÓRKOMANIA</a:t>
            </a:r>
          </a:p>
        </p:txBody>
      </p:sp>
      <p:sp>
        <p:nvSpPr>
          <p:cNvPr id="11" name="Textplatzhalter 10">
            <a:extLst>
              <a:ext uri="{FF2B5EF4-FFF2-40B4-BE49-F238E27FC236}">
                <a16:creationId xmlns:a16="http://schemas.microsoft.com/office/drawing/2014/main" id="{9467F3AE-1675-250E-EAA1-54C34F4A830A}"/>
              </a:ext>
            </a:extLst>
          </p:cNvPr>
          <p:cNvSpPr>
            <a:spLocks noGrp="1"/>
          </p:cNvSpPr>
          <p:nvPr>
            <p:ph type="body" sz="quarter" idx="13"/>
            <p:custDataLst>
              <p:tags r:id="rId4"/>
            </p:custDataLst>
          </p:nvPr>
        </p:nvSpPr>
        <p:spPr>
          <a:xfrm>
            <a:off x="4902228" y="0"/>
            <a:ext cx="7289772" cy="6858000"/>
          </a:xfrm>
          <a:solidFill>
            <a:schemeClr val="accent1">
              <a:alpha val="30000"/>
            </a:schemeClr>
          </a:solidFill>
        </p:spPr>
        <p:txBody>
          <a:bodyPr/>
          <a:lstStyle/>
          <a:p>
            <a:endParaRPr lang="pl-PL" dirty="0"/>
          </a:p>
        </p:txBody>
      </p:sp>
      <p:sp>
        <p:nvSpPr>
          <p:cNvPr id="2" name="Datumsplatzhalter 1">
            <a:extLst>
              <a:ext uri="{FF2B5EF4-FFF2-40B4-BE49-F238E27FC236}">
                <a16:creationId xmlns:a16="http://schemas.microsoft.com/office/drawing/2014/main" id="{784BB015-A1A2-7CD3-3D58-EC9373F6704B}"/>
              </a:ext>
            </a:extLst>
          </p:cNvPr>
          <p:cNvSpPr>
            <a:spLocks noGrp="1"/>
          </p:cNvSpPr>
          <p:nvPr>
            <p:ph type="dt" sz="half" idx="14"/>
            <p:custDataLst>
              <p:tags r:id="rId5"/>
            </p:custDataLst>
          </p:nvPr>
        </p:nvSpPr>
        <p:spPr/>
        <p:txBody>
          <a:bodyPr/>
          <a:lstStyle/>
          <a:p>
            <a:r>
              <a:rPr lang="en-US" dirty="0"/>
              <a:t>01.08.2023</a:t>
            </a:r>
            <a:endParaRPr lang="pl-PL" dirty="0"/>
          </a:p>
        </p:txBody>
      </p:sp>
    </p:spTree>
    <p:extLst>
      <p:ext uri="{BB962C8B-B14F-4D97-AF65-F5344CB8AC3E}">
        <p14:creationId xmlns:p14="http://schemas.microsoft.com/office/powerpoint/2010/main" val="32446654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2"/>
            </p:custDataLst>
          </p:nvPr>
        </p:nvSpPr>
        <p:spPr/>
        <p:txBody>
          <a:bodyPr/>
          <a:lstStyle/>
          <a:p>
            <a:r>
              <a:rPr lang="pl-PL" noProof="0" dirty="0"/>
              <a:t>Co 40 minut…</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3"/>
            </p:custDataLst>
          </p:nvPr>
        </p:nvSpPr>
        <p:spPr>
          <a:xfrm>
            <a:off x="5135200" y="3089519"/>
            <a:ext cx="6696438" cy="3206778"/>
          </a:xfrm>
        </p:spPr>
        <p:txBody>
          <a:bodyPr/>
          <a:lstStyle/>
          <a:p>
            <a:pPr lvl="0"/>
            <a:endParaRPr lang="pl-PL" dirty="0"/>
          </a:p>
          <a:p>
            <a:pPr lvl="0"/>
            <a:r>
              <a:rPr lang="pl-PL" dirty="0"/>
              <a:t>Dla wielu chorych jedyną szansą na życie jest przeszczepienie komórek macierzystych z krwi lub szpiku od Dawcy niespokrewnionego.</a:t>
            </a:r>
          </a:p>
          <a:p>
            <a:pPr lvl="0"/>
            <a:endParaRPr lang="pl-PL" dirty="0"/>
          </a:p>
          <a:p>
            <a:pPr lvl="0"/>
            <a:r>
              <a:rPr lang="pl-PL" dirty="0"/>
              <a:t>Jednak aż co piąty polski Pacjent nie może znaleźć swojego Dawcy, dlatego tak ważne jest, aby do grona potencjalnych Dawców krwiotwórczych komórek macierzystych dołączały nowe osoby, gotowe </a:t>
            </a:r>
            <a:br>
              <a:rPr lang="pl-PL" dirty="0"/>
            </a:br>
            <a:r>
              <a:rPr lang="pl-PL" dirty="0"/>
              <a:t>do podzielenia się cząstką siebie.</a:t>
            </a:r>
          </a:p>
        </p:txBody>
      </p:sp>
      <p:sp>
        <p:nvSpPr>
          <p:cNvPr id="3" name="Datumsplatzhalter 2">
            <a:extLst>
              <a:ext uri="{FF2B5EF4-FFF2-40B4-BE49-F238E27FC236}">
                <a16:creationId xmlns:a16="http://schemas.microsoft.com/office/drawing/2014/main" id="{A64398D0-3A54-F411-9206-D163DD877287}"/>
              </a:ext>
            </a:extLst>
          </p:cNvPr>
          <p:cNvSpPr>
            <a:spLocks noGrp="1"/>
          </p:cNvSpPr>
          <p:nvPr>
            <p:ph type="dt" sz="half" idx="19"/>
            <p:custDataLst>
              <p:tags r:id="rId4"/>
            </p:custDataLst>
          </p:nvPr>
        </p:nvSpPr>
        <p:spPr/>
        <p:txBody>
          <a:bodyPr/>
          <a:lstStyle/>
          <a:p>
            <a:r>
              <a:rPr lang="en-US"/>
              <a:t>01.08.2023</a:t>
            </a:r>
            <a:endParaRPr lang="pl-PL" dirty="0"/>
          </a:p>
        </p:txBody>
      </p:sp>
      <p:sp>
        <p:nvSpPr>
          <p:cNvPr id="6" name="Foliennummernplatzhalter 5">
            <a:extLst>
              <a:ext uri="{FF2B5EF4-FFF2-40B4-BE49-F238E27FC236}">
                <a16:creationId xmlns:a16="http://schemas.microsoft.com/office/drawing/2014/main" id="{F36D2D5A-8B9B-28A0-B242-62E1D0226146}"/>
              </a:ext>
            </a:extLst>
          </p:cNvPr>
          <p:cNvSpPr>
            <a:spLocks noGrp="1"/>
          </p:cNvSpPr>
          <p:nvPr>
            <p:ph type="sldNum" sz="quarter" idx="21"/>
            <p:custDataLst>
              <p:tags r:id="rId5"/>
            </p:custDataLst>
          </p:nvPr>
        </p:nvSpPr>
        <p:spPr/>
        <p:txBody>
          <a:bodyPr/>
          <a:lstStyle/>
          <a:p>
            <a:fld id="{92DB0D90-6264-4E90-9724-ABC670DBF4FB}" type="slidenum">
              <a:rPr lang="pl-PL" smtClean="0"/>
              <a:pPr/>
              <a:t>10</a:t>
            </a:fld>
            <a:endParaRPr lang="pl-PL" dirty="0"/>
          </a:p>
        </p:txBody>
      </p:sp>
      <p:pic>
        <p:nvPicPr>
          <p:cNvPr id="8" name="Picture Placeholder 7">
            <a:extLst>
              <a:ext uri="{FF2B5EF4-FFF2-40B4-BE49-F238E27FC236}">
                <a16:creationId xmlns:a16="http://schemas.microsoft.com/office/drawing/2014/main" id="{C71B9191-831F-4329-AC4E-F715A17C88EE}"/>
              </a:ext>
            </a:extLst>
          </p:cNvPr>
          <p:cNvPicPr>
            <a:picLocks noGrp="1" noChangeAspect="1"/>
          </p:cNvPicPr>
          <p:nvPr>
            <p:ph type="pic" sz="quarter" idx="18"/>
          </p:nvPr>
        </p:nvPicPr>
        <p:blipFill rotWithShape="1">
          <a:blip r:embed="rId8"/>
          <a:srcRect l="-13975" t="-55563" r="-6831" b="-55563"/>
          <a:stretch/>
        </p:blipFill>
        <p:spPr>
          <a:xfrm>
            <a:off x="540000" y="0"/>
            <a:ext cx="4235200" cy="6858000"/>
          </a:xfrm>
          <a:solidFill>
            <a:schemeClr val="bg1"/>
          </a:solidFill>
          <a:ln>
            <a:noFill/>
          </a:ln>
        </p:spPr>
      </p:pic>
      <p:pic>
        <p:nvPicPr>
          <p:cNvPr id="12" name="Grafik 20">
            <a:extLst>
              <a:ext uri="{FF2B5EF4-FFF2-40B4-BE49-F238E27FC236}">
                <a16:creationId xmlns:a16="http://schemas.microsoft.com/office/drawing/2014/main" id="{6D02CEA1-F162-4766-9BF6-0440389E43F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35200" y="1852697"/>
            <a:ext cx="765788" cy="598609"/>
          </a:xfrm>
          <a:prstGeom prst="rect">
            <a:avLst/>
          </a:prstGeom>
        </p:spPr>
      </p:pic>
      <p:sp>
        <p:nvSpPr>
          <p:cNvPr id="9" name="Rectangle 8">
            <a:extLst>
              <a:ext uri="{FF2B5EF4-FFF2-40B4-BE49-F238E27FC236}">
                <a16:creationId xmlns:a16="http://schemas.microsoft.com/office/drawing/2014/main" id="{57FC3E7D-7773-4826-9A5E-1C2FAFD037EE}"/>
              </a:ext>
            </a:extLst>
          </p:cNvPr>
          <p:cNvSpPr/>
          <p:nvPr/>
        </p:nvSpPr>
        <p:spPr>
          <a:xfrm>
            <a:off x="6096000" y="1798058"/>
            <a:ext cx="6096000" cy="707886"/>
          </a:xfrm>
          <a:prstGeom prst="rect">
            <a:avLst/>
          </a:prstGeom>
        </p:spPr>
        <p:txBody>
          <a:bodyPr>
            <a:spAutoFit/>
          </a:bodyPr>
          <a:lstStyle/>
          <a:p>
            <a:r>
              <a:rPr lang="pl-PL" altLang="en-US" sz="2000" b="1" dirty="0">
                <a:solidFill>
                  <a:schemeClr val="accent1"/>
                </a:solidFill>
              </a:rPr>
              <a:t>W Polsce co 40 minut ktoś dowiaduje się, </a:t>
            </a:r>
            <a:br>
              <a:rPr lang="pl-PL" altLang="en-US" sz="2000" b="1" dirty="0">
                <a:solidFill>
                  <a:schemeClr val="accent1"/>
                </a:solidFill>
              </a:rPr>
            </a:br>
            <a:r>
              <a:rPr lang="pl-PL" altLang="en-US" sz="2000" b="1" dirty="0">
                <a:solidFill>
                  <a:schemeClr val="accent1"/>
                </a:solidFill>
              </a:rPr>
              <a:t>że ma białaczkę lub inny nowotwór krwi. </a:t>
            </a:r>
          </a:p>
        </p:txBody>
      </p:sp>
    </p:spTree>
    <p:extLst>
      <p:ext uri="{BB962C8B-B14F-4D97-AF65-F5344CB8AC3E}">
        <p14:creationId xmlns:p14="http://schemas.microsoft.com/office/powerpoint/2010/main" val="19128868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a:xfrm>
            <a:off x="1960576" y="1542582"/>
            <a:ext cx="1889984" cy="721235"/>
          </a:xfrm>
        </p:spPr>
        <p:txBody>
          <a:bodyPr/>
          <a:lstStyle/>
          <a:p>
            <a:pPr marL="0" marR="0" lvl="0" indent="0" algn="l" defTabSz="914400" rtl="0" eaLnBrk="1" fontAlgn="auto" latinLnBrk="0" hangingPunct="1">
              <a:spcBef>
                <a:spcPts val="0"/>
              </a:spcBef>
              <a:buClrTx/>
              <a:buSzTx/>
              <a:buFont typeface="Arial" panose="020B0604020202020204" pitchFamily="34" charset="0"/>
              <a:buNone/>
              <a:tabLst/>
              <a:defRPr/>
            </a:pPr>
            <a:r>
              <a:rPr lang="pl-PL" noProof="0" dirty="0"/>
              <a:t>Osoba świadoma </a:t>
            </a:r>
          </a:p>
          <a:p>
            <a:pPr marL="0" marR="0" lvl="0" indent="0" algn="l" defTabSz="914400" rtl="0" eaLnBrk="1" fontAlgn="auto" latinLnBrk="0" hangingPunct="1">
              <a:spcBef>
                <a:spcPts val="0"/>
              </a:spcBef>
              <a:buClrTx/>
              <a:buSzTx/>
              <a:buFont typeface="Arial" panose="020B0604020202020204" pitchFamily="34" charset="0"/>
              <a:buNone/>
              <a:tabLst/>
              <a:defRPr/>
            </a:pPr>
            <a:r>
              <a:rPr lang="pl-PL" noProof="0" dirty="0"/>
              <a:t>swojej decyzji</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Kto może zostać potencjalnym Dawcą szpiku?</a:t>
            </a:r>
          </a:p>
        </p:txBody>
      </p:sp>
      <p:sp>
        <p:nvSpPr>
          <p:cNvPr id="4" name="Datumsplatzhalter 3">
            <a:extLst>
              <a:ext uri="{FF2B5EF4-FFF2-40B4-BE49-F238E27FC236}">
                <a16:creationId xmlns:a16="http://schemas.microsoft.com/office/drawing/2014/main" id="{65658852-8347-CFE2-E09A-880573107D35}"/>
              </a:ext>
            </a:extLst>
          </p:cNvPr>
          <p:cNvSpPr>
            <a:spLocks noGrp="1"/>
          </p:cNvSpPr>
          <p:nvPr>
            <p:ph type="dt" sz="half" idx="18"/>
            <p:custDataLst>
              <p:tags r:id="rId4"/>
            </p:custDataLst>
          </p:nvPr>
        </p:nvSpPr>
        <p:spPr/>
        <p:txBody>
          <a:bodyPr/>
          <a:lstStyle/>
          <a:p>
            <a:r>
              <a:rPr lang="en-US"/>
              <a:t>01.08.2023</a:t>
            </a:r>
            <a:endParaRPr lang="pl-PL" dirty="0"/>
          </a:p>
        </p:txBody>
      </p:sp>
      <p:sp>
        <p:nvSpPr>
          <p:cNvPr id="2" name="Fußzeilenplatzhalter 1">
            <a:extLst>
              <a:ext uri="{FF2B5EF4-FFF2-40B4-BE49-F238E27FC236}">
                <a16:creationId xmlns:a16="http://schemas.microsoft.com/office/drawing/2014/main" id="{B4E4E221-345D-10FF-337B-7AF685E25B96}"/>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6" name="Foliennummernplatzhalter 5">
            <a:extLst>
              <a:ext uri="{FF2B5EF4-FFF2-40B4-BE49-F238E27FC236}">
                <a16:creationId xmlns:a16="http://schemas.microsoft.com/office/drawing/2014/main" id="{D97EC289-06D5-EB75-32BB-2EA41401B6F5}"/>
              </a:ext>
            </a:extLst>
          </p:cNvPr>
          <p:cNvSpPr>
            <a:spLocks noGrp="1"/>
          </p:cNvSpPr>
          <p:nvPr>
            <p:ph type="sldNum" sz="quarter" idx="20"/>
            <p:custDataLst>
              <p:tags r:id="rId6"/>
            </p:custDataLst>
          </p:nvPr>
        </p:nvSpPr>
        <p:spPr/>
        <p:txBody>
          <a:bodyPr/>
          <a:lstStyle/>
          <a:p>
            <a:fld id="{92DB0D90-6264-4E90-9724-ABC670DBF4FB}" type="slidenum">
              <a:rPr lang="pl-PL" smtClean="0"/>
              <a:pPr/>
              <a:t>11</a:t>
            </a:fld>
            <a:endParaRPr lang="pl-PL" dirty="0"/>
          </a:p>
        </p:txBody>
      </p:sp>
      <p:sp>
        <p:nvSpPr>
          <p:cNvPr id="11" name="Inhaltsplatzhalter 24">
            <a:extLst>
              <a:ext uri="{FF2B5EF4-FFF2-40B4-BE49-F238E27FC236}">
                <a16:creationId xmlns:a16="http://schemas.microsoft.com/office/drawing/2014/main" id="{127545F9-9C3A-4BC5-8327-F1EE8C85364A}"/>
              </a:ext>
            </a:extLst>
          </p:cNvPr>
          <p:cNvSpPr txBox="1">
            <a:spLocks/>
          </p:cNvSpPr>
          <p:nvPr>
            <p:custDataLst>
              <p:tags r:id="rId7"/>
            </p:custDataLst>
          </p:nvPr>
        </p:nvSpPr>
        <p:spPr>
          <a:xfrm>
            <a:off x="1072827" y="3062750"/>
            <a:ext cx="2965022" cy="855261"/>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Udzielająca zgody </a:t>
            </a:r>
            <a:br>
              <a:rPr lang="pl-PL" dirty="0"/>
            </a:br>
            <a:r>
              <a:rPr lang="pl-PL" dirty="0"/>
              <a:t>na pobranie komórek macierzystych lub szpiku</a:t>
            </a:r>
          </a:p>
        </p:txBody>
      </p:sp>
      <p:sp>
        <p:nvSpPr>
          <p:cNvPr id="12" name="Inhaltsplatzhalter 24">
            <a:extLst>
              <a:ext uri="{FF2B5EF4-FFF2-40B4-BE49-F238E27FC236}">
                <a16:creationId xmlns:a16="http://schemas.microsoft.com/office/drawing/2014/main" id="{84577894-8E0F-4B16-A002-9310254E6573}"/>
              </a:ext>
            </a:extLst>
          </p:cNvPr>
          <p:cNvSpPr txBox="1">
            <a:spLocks/>
          </p:cNvSpPr>
          <p:nvPr>
            <p:custDataLst>
              <p:tags r:id="rId8"/>
            </p:custDataLst>
          </p:nvPr>
        </p:nvSpPr>
        <p:spPr>
          <a:xfrm>
            <a:off x="2018353" y="4716944"/>
            <a:ext cx="2019496" cy="876408"/>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O wskaźniku masy </a:t>
            </a:r>
            <a:br>
              <a:rPr lang="pl-PL" dirty="0"/>
            </a:br>
            <a:r>
              <a:rPr lang="pl-PL" dirty="0"/>
              <a:t>ciała nie wyższym </a:t>
            </a:r>
            <a:br>
              <a:rPr lang="pl-PL" dirty="0"/>
            </a:br>
            <a:r>
              <a:rPr lang="pl-PL" dirty="0"/>
              <a:t>niż 40 BMI</a:t>
            </a:r>
          </a:p>
        </p:txBody>
      </p:sp>
      <p:sp>
        <p:nvSpPr>
          <p:cNvPr id="13" name="Inhaltsplatzhalter 24">
            <a:extLst>
              <a:ext uri="{FF2B5EF4-FFF2-40B4-BE49-F238E27FC236}">
                <a16:creationId xmlns:a16="http://schemas.microsoft.com/office/drawing/2014/main" id="{C7F2AB83-E071-46D9-8C83-574AA9B01D33}"/>
              </a:ext>
            </a:extLst>
          </p:cNvPr>
          <p:cNvSpPr txBox="1">
            <a:spLocks/>
          </p:cNvSpPr>
          <p:nvPr>
            <p:custDataLst>
              <p:tags r:id="rId9"/>
            </p:custDataLst>
          </p:nvPr>
        </p:nvSpPr>
        <p:spPr>
          <a:xfrm>
            <a:off x="8686717" y="5103175"/>
            <a:ext cx="2738481" cy="624600"/>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W przedziale </a:t>
            </a:r>
            <a:br>
              <a:rPr lang="pl-PL" dirty="0"/>
            </a:br>
            <a:r>
              <a:rPr lang="pl-PL" dirty="0"/>
              <a:t>wiekowym 18-55 lat</a:t>
            </a:r>
          </a:p>
        </p:txBody>
      </p:sp>
      <p:sp>
        <p:nvSpPr>
          <p:cNvPr id="14" name="Inhaltsplatzhalter 24">
            <a:extLst>
              <a:ext uri="{FF2B5EF4-FFF2-40B4-BE49-F238E27FC236}">
                <a16:creationId xmlns:a16="http://schemas.microsoft.com/office/drawing/2014/main" id="{6BE5E971-793E-4B2C-A25A-05B41908783D}"/>
              </a:ext>
            </a:extLst>
          </p:cNvPr>
          <p:cNvSpPr txBox="1">
            <a:spLocks/>
          </p:cNvSpPr>
          <p:nvPr>
            <p:custDataLst>
              <p:tags r:id="rId10"/>
            </p:custDataLst>
          </p:nvPr>
        </p:nvSpPr>
        <p:spPr>
          <a:xfrm>
            <a:off x="8556558" y="1502708"/>
            <a:ext cx="2738481" cy="624600"/>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Mieszkająca na stałe </a:t>
            </a:r>
            <a:br>
              <a:rPr lang="pl-PL" dirty="0"/>
            </a:br>
            <a:r>
              <a:rPr lang="pl-PL" dirty="0"/>
              <a:t>na terenie Polski</a:t>
            </a:r>
          </a:p>
          <a:p>
            <a:pPr fontAlgn="auto">
              <a:defRPr/>
            </a:pPr>
            <a:endParaRPr lang="pl-PL" dirty="0"/>
          </a:p>
        </p:txBody>
      </p:sp>
      <p:sp>
        <p:nvSpPr>
          <p:cNvPr id="15" name="Inhaltsplatzhalter 24">
            <a:extLst>
              <a:ext uri="{FF2B5EF4-FFF2-40B4-BE49-F238E27FC236}">
                <a16:creationId xmlns:a16="http://schemas.microsoft.com/office/drawing/2014/main" id="{DBA35366-EC5B-456B-8615-A911D03AFEC5}"/>
              </a:ext>
            </a:extLst>
          </p:cNvPr>
          <p:cNvSpPr txBox="1">
            <a:spLocks/>
          </p:cNvSpPr>
          <p:nvPr>
            <p:custDataLst>
              <p:tags r:id="rId11"/>
            </p:custDataLst>
          </p:nvPr>
        </p:nvSpPr>
        <p:spPr>
          <a:xfrm>
            <a:off x="9093157" y="2483877"/>
            <a:ext cx="2738481" cy="624600"/>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Po raz pierwszy </a:t>
            </a:r>
            <a:br>
              <a:rPr lang="pl-PL" dirty="0"/>
            </a:br>
            <a:r>
              <a:rPr lang="pl-PL" dirty="0"/>
              <a:t>rejestrująca się jako potencjalny Dawca</a:t>
            </a:r>
          </a:p>
        </p:txBody>
      </p:sp>
      <p:sp>
        <p:nvSpPr>
          <p:cNvPr id="8" name="Rectangle 7">
            <a:extLst>
              <a:ext uri="{FF2B5EF4-FFF2-40B4-BE49-F238E27FC236}">
                <a16:creationId xmlns:a16="http://schemas.microsoft.com/office/drawing/2014/main" id="{F5F9D196-892B-43FF-8F88-8CEB0A57B44D}"/>
              </a:ext>
            </a:extLst>
          </p:cNvPr>
          <p:cNvSpPr/>
          <p:nvPr/>
        </p:nvSpPr>
        <p:spPr>
          <a:xfrm>
            <a:off x="8423657" y="3943985"/>
            <a:ext cx="2809236" cy="584775"/>
          </a:xfrm>
          <a:prstGeom prst="rect">
            <a:avLst/>
          </a:prstGeom>
        </p:spPr>
        <p:txBody>
          <a:bodyPr wrap="square">
            <a:spAutoFit/>
          </a:bodyPr>
          <a:lstStyle/>
          <a:p>
            <a:pPr fontAlgn="auto">
              <a:defRPr/>
            </a:pPr>
            <a:r>
              <a:rPr lang="pl-PL" sz="1600" dirty="0"/>
              <a:t>O dobrym ogólnym </a:t>
            </a:r>
            <a:br>
              <a:rPr lang="pl-PL" sz="1600" dirty="0"/>
            </a:br>
            <a:r>
              <a:rPr lang="pl-PL" sz="1600" dirty="0"/>
              <a:t>stanie zdrowia</a:t>
            </a:r>
          </a:p>
        </p:txBody>
      </p:sp>
      <p:sp>
        <p:nvSpPr>
          <p:cNvPr id="17" name="Rechteck 2">
            <a:extLst>
              <a:ext uri="{FF2B5EF4-FFF2-40B4-BE49-F238E27FC236}">
                <a16:creationId xmlns:a16="http://schemas.microsoft.com/office/drawing/2014/main" id="{671C4F50-F34F-45A5-A8D3-591EB32DBE44}"/>
              </a:ext>
            </a:extLst>
          </p:cNvPr>
          <p:cNvSpPr/>
          <p:nvPr/>
        </p:nvSpPr>
        <p:spPr>
          <a:xfrm rot="17330049" flipH="1">
            <a:off x="3863573" y="1791719"/>
            <a:ext cx="0"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18" name="Rechteck 2">
            <a:extLst>
              <a:ext uri="{FF2B5EF4-FFF2-40B4-BE49-F238E27FC236}">
                <a16:creationId xmlns:a16="http://schemas.microsoft.com/office/drawing/2014/main" id="{E2D3D77F-86A7-4D5B-9637-BE2622F9FD22}"/>
              </a:ext>
            </a:extLst>
          </p:cNvPr>
          <p:cNvSpPr/>
          <p:nvPr/>
        </p:nvSpPr>
        <p:spPr>
          <a:xfrm rot="15373148" flipH="1">
            <a:off x="3884301" y="3191222"/>
            <a:ext cx="0"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19" name="Rechteck 2">
            <a:extLst>
              <a:ext uri="{FF2B5EF4-FFF2-40B4-BE49-F238E27FC236}">
                <a16:creationId xmlns:a16="http://schemas.microsoft.com/office/drawing/2014/main" id="{20261066-A8ED-449D-80EB-D0133A9C9424}"/>
              </a:ext>
            </a:extLst>
          </p:cNvPr>
          <p:cNvSpPr/>
          <p:nvPr/>
        </p:nvSpPr>
        <p:spPr>
          <a:xfrm rot="14557291" flipH="1">
            <a:off x="4108638" y="4648833"/>
            <a:ext cx="0"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0" name="Rechteck 2">
            <a:extLst>
              <a:ext uri="{FF2B5EF4-FFF2-40B4-BE49-F238E27FC236}">
                <a16:creationId xmlns:a16="http://schemas.microsoft.com/office/drawing/2014/main" id="{CE699A62-CF6F-4D68-8288-AE9BA187E4BA}"/>
              </a:ext>
            </a:extLst>
          </p:cNvPr>
          <p:cNvSpPr/>
          <p:nvPr/>
        </p:nvSpPr>
        <p:spPr>
          <a:xfrm rot="3401561">
            <a:off x="7909756" y="1592558"/>
            <a:ext cx="45719" cy="780187"/>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1" name="Rechteck 2">
            <a:extLst>
              <a:ext uri="{FF2B5EF4-FFF2-40B4-BE49-F238E27FC236}">
                <a16:creationId xmlns:a16="http://schemas.microsoft.com/office/drawing/2014/main" id="{A48A2048-CE59-485B-88C0-D6045EAAAD45}"/>
              </a:ext>
            </a:extLst>
          </p:cNvPr>
          <p:cNvSpPr/>
          <p:nvPr/>
        </p:nvSpPr>
        <p:spPr>
          <a:xfrm rot="4712370">
            <a:off x="8342822" y="2673292"/>
            <a:ext cx="169981"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2" name="Rechteck 2">
            <a:extLst>
              <a:ext uri="{FF2B5EF4-FFF2-40B4-BE49-F238E27FC236}">
                <a16:creationId xmlns:a16="http://schemas.microsoft.com/office/drawing/2014/main" id="{154AEA38-EB8F-4B04-80DA-338D3B4354BF}"/>
              </a:ext>
            </a:extLst>
          </p:cNvPr>
          <p:cNvSpPr/>
          <p:nvPr/>
        </p:nvSpPr>
        <p:spPr>
          <a:xfrm rot="6705014" flipH="1">
            <a:off x="7934852" y="3648500"/>
            <a:ext cx="45719" cy="782403"/>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3" name="Rechteck 2">
            <a:extLst>
              <a:ext uri="{FF2B5EF4-FFF2-40B4-BE49-F238E27FC236}">
                <a16:creationId xmlns:a16="http://schemas.microsoft.com/office/drawing/2014/main" id="{31335713-7DE8-4E63-80AD-1375DD203069}"/>
              </a:ext>
            </a:extLst>
          </p:cNvPr>
          <p:cNvSpPr/>
          <p:nvPr/>
        </p:nvSpPr>
        <p:spPr>
          <a:xfrm rot="6303483" flipH="1">
            <a:off x="7840568" y="4784593"/>
            <a:ext cx="45719" cy="867660"/>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pic>
        <p:nvPicPr>
          <p:cNvPr id="3" name="Picture 2">
            <a:extLst>
              <a:ext uri="{FF2B5EF4-FFF2-40B4-BE49-F238E27FC236}">
                <a16:creationId xmlns:a16="http://schemas.microsoft.com/office/drawing/2014/main" id="{BEDF6066-D722-495E-B77E-1E31667C1949}"/>
              </a:ext>
            </a:extLst>
          </p:cNvPr>
          <p:cNvPicPr>
            <a:picLocks noChangeAspect="1"/>
          </p:cNvPicPr>
          <p:nvPr/>
        </p:nvPicPr>
        <p:blipFill>
          <a:blip r:embed="rId14"/>
          <a:stretch>
            <a:fillRect/>
          </a:stretch>
        </p:blipFill>
        <p:spPr>
          <a:xfrm>
            <a:off x="4037849" y="1524896"/>
            <a:ext cx="3569302" cy="3925385"/>
          </a:xfrm>
          <a:prstGeom prst="rect">
            <a:avLst/>
          </a:prstGeom>
        </p:spPr>
      </p:pic>
    </p:spTree>
    <p:extLst>
      <p:ext uri="{BB962C8B-B14F-4D97-AF65-F5344CB8AC3E}">
        <p14:creationId xmlns:p14="http://schemas.microsoft.com/office/powerpoint/2010/main" val="36223614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93CDFC3-8DB3-412F-387D-B10F2FDFE245}"/>
              </a:ext>
            </a:extLst>
          </p:cNvPr>
          <p:cNvSpPr>
            <a:spLocks noGrp="1"/>
          </p:cNvSpPr>
          <p:nvPr>
            <p:ph type="body" sz="quarter" idx="14"/>
            <p:custDataLst>
              <p:tags r:id="rId1"/>
            </p:custDataLst>
          </p:nvPr>
        </p:nvSpPr>
        <p:spPr/>
        <p:txBody>
          <a:bodyPr/>
          <a:lstStyle/>
          <a:p>
            <a:r>
              <a:rPr lang="pl-PL" noProof="0" dirty="0"/>
              <a:t>#KOMÓRKOMANIA</a:t>
            </a:r>
          </a:p>
        </p:txBody>
      </p:sp>
      <p:sp>
        <p:nvSpPr>
          <p:cNvPr id="12" name="Datumsplatzhalter 11">
            <a:extLst>
              <a:ext uri="{FF2B5EF4-FFF2-40B4-BE49-F238E27FC236}">
                <a16:creationId xmlns:a16="http://schemas.microsoft.com/office/drawing/2014/main" id="{17AC0970-D6D4-A483-359F-50E274CE0058}"/>
              </a:ext>
            </a:extLst>
          </p:cNvPr>
          <p:cNvSpPr>
            <a:spLocks noGrp="1"/>
          </p:cNvSpPr>
          <p:nvPr>
            <p:ph type="dt" sz="half" idx="15"/>
            <p:custDataLst>
              <p:tags r:id="rId2"/>
            </p:custDataLst>
          </p:nvPr>
        </p:nvSpPr>
        <p:spPr/>
        <p:txBody>
          <a:bodyPr/>
          <a:lstStyle/>
          <a:p>
            <a:r>
              <a:rPr lang="en-US"/>
              <a:t>01.08.2023</a:t>
            </a:r>
            <a:endParaRPr lang="pl-PL" dirty="0"/>
          </a:p>
        </p:txBody>
      </p:sp>
      <p:sp>
        <p:nvSpPr>
          <p:cNvPr id="5" name="Titel 4">
            <a:extLst>
              <a:ext uri="{FF2B5EF4-FFF2-40B4-BE49-F238E27FC236}">
                <a16:creationId xmlns:a16="http://schemas.microsoft.com/office/drawing/2014/main" id="{F9DE4B06-2FC5-E09C-73CD-244BDD1810FA}"/>
              </a:ext>
            </a:extLst>
          </p:cNvPr>
          <p:cNvSpPr>
            <a:spLocks noGrp="1"/>
          </p:cNvSpPr>
          <p:nvPr>
            <p:ph type="title"/>
            <p:custDataLst>
              <p:tags r:id="rId3"/>
            </p:custDataLst>
          </p:nvPr>
        </p:nvSpPr>
        <p:spPr/>
        <p:txBody>
          <a:bodyPr/>
          <a:lstStyle/>
          <a:p>
            <a:r>
              <a:rPr lang="pl-PL" noProof="0" dirty="0"/>
              <a:t>5 kroków do zostania Dawcą szpiku</a:t>
            </a:r>
          </a:p>
        </p:txBody>
      </p:sp>
      <p:sp>
        <p:nvSpPr>
          <p:cNvPr id="6" name="Freihandform: Form 5">
            <a:extLst>
              <a:ext uri="{FF2B5EF4-FFF2-40B4-BE49-F238E27FC236}">
                <a16:creationId xmlns:a16="http://schemas.microsoft.com/office/drawing/2014/main" id="{82E3B662-3917-D1A1-4EC9-CD99F7DB01A8}"/>
              </a:ext>
            </a:extLst>
          </p:cNvPr>
          <p:cNvSpPr/>
          <p:nvPr>
            <p:custDataLst>
              <p:tags r:id="rId4"/>
            </p:custDataLst>
          </p:nvPr>
        </p:nvSpPr>
        <p:spPr>
          <a:xfrm>
            <a:off x="1079999"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1</a:t>
            </a:r>
            <a:endParaRPr lang="pl-PL" sz="5000" b="1" dirty="0">
              <a:solidFill>
                <a:schemeClr val="bg1"/>
              </a:solidFill>
            </a:endParaRPr>
          </a:p>
        </p:txBody>
      </p:sp>
      <p:sp>
        <p:nvSpPr>
          <p:cNvPr id="23" name="Freihandform: Form 22">
            <a:extLst>
              <a:ext uri="{FF2B5EF4-FFF2-40B4-BE49-F238E27FC236}">
                <a16:creationId xmlns:a16="http://schemas.microsoft.com/office/drawing/2014/main" id="{12BA576A-3E21-5D53-EED5-CA14FDF6C1DB}"/>
              </a:ext>
            </a:extLst>
          </p:cNvPr>
          <p:cNvSpPr/>
          <p:nvPr>
            <p:custDataLst>
              <p:tags r:id="rId5"/>
            </p:custDataLst>
          </p:nvPr>
        </p:nvSpPr>
        <p:spPr>
          <a:xfrm>
            <a:off x="2911413"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2</a:t>
            </a:r>
            <a:endParaRPr lang="pl-PL" sz="5000" b="1" dirty="0">
              <a:solidFill>
                <a:schemeClr val="bg1"/>
              </a:solidFill>
            </a:endParaRPr>
          </a:p>
        </p:txBody>
      </p:sp>
      <p:sp>
        <p:nvSpPr>
          <p:cNvPr id="24" name="Freihandform: Form 23">
            <a:extLst>
              <a:ext uri="{FF2B5EF4-FFF2-40B4-BE49-F238E27FC236}">
                <a16:creationId xmlns:a16="http://schemas.microsoft.com/office/drawing/2014/main" id="{485051BE-33EB-CB3E-D2D5-5927DB035AC5}"/>
              </a:ext>
            </a:extLst>
          </p:cNvPr>
          <p:cNvSpPr/>
          <p:nvPr>
            <p:custDataLst>
              <p:tags r:id="rId6"/>
            </p:custDataLst>
          </p:nvPr>
        </p:nvSpPr>
        <p:spPr>
          <a:xfrm>
            <a:off x="4742826"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3</a:t>
            </a:r>
            <a:endParaRPr lang="pl-PL" sz="5000" b="1" dirty="0">
              <a:solidFill>
                <a:schemeClr val="bg1"/>
              </a:solidFill>
            </a:endParaRPr>
          </a:p>
        </p:txBody>
      </p:sp>
      <p:sp>
        <p:nvSpPr>
          <p:cNvPr id="25" name="Freihandform: Form 24">
            <a:extLst>
              <a:ext uri="{FF2B5EF4-FFF2-40B4-BE49-F238E27FC236}">
                <a16:creationId xmlns:a16="http://schemas.microsoft.com/office/drawing/2014/main" id="{7E89A788-D8CE-D7DB-0075-51D8B35332A5}"/>
              </a:ext>
            </a:extLst>
          </p:cNvPr>
          <p:cNvSpPr/>
          <p:nvPr>
            <p:custDataLst>
              <p:tags r:id="rId7"/>
            </p:custDataLst>
          </p:nvPr>
        </p:nvSpPr>
        <p:spPr>
          <a:xfrm>
            <a:off x="6574240"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4</a:t>
            </a:r>
            <a:endParaRPr lang="pl-PL" sz="5000" b="1" dirty="0">
              <a:solidFill>
                <a:schemeClr val="bg1"/>
              </a:solidFill>
            </a:endParaRPr>
          </a:p>
        </p:txBody>
      </p:sp>
      <p:sp>
        <p:nvSpPr>
          <p:cNvPr id="26" name="Freihandform: Form 25">
            <a:extLst>
              <a:ext uri="{FF2B5EF4-FFF2-40B4-BE49-F238E27FC236}">
                <a16:creationId xmlns:a16="http://schemas.microsoft.com/office/drawing/2014/main" id="{9C4E346C-0056-0A57-8BF8-5A7B3E8E7229}"/>
              </a:ext>
            </a:extLst>
          </p:cNvPr>
          <p:cNvSpPr/>
          <p:nvPr>
            <p:custDataLst>
              <p:tags r:id="rId8"/>
            </p:custDataLst>
          </p:nvPr>
        </p:nvSpPr>
        <p:spPr>
          <a:xfrm>
            <a:off x="8405655"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tx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5</a:t>
            </a:r>
            <a:endParaRPr lang="pl-PL" sz="5000" b="1" dirty="0">
              <a:solidFill>
                <a:schemeClr val="bg1"/>
              </a:solidFill>
            </a:endParaRPr>
          </a:p>
        </p:txBody>
      </p:sp>
      <p:sp>
        <p:nvSpPr>
          <p:cNvPr id="14" name="Textplatzhalter 37">
            <a:extLst>
              <a:ext uri="{FF2B5EF4-FFF2-40B4-BE49-F238E27FC236}">
                <a16:creationId xmlns:a16="http://schemas.microsoft.com/office/drawing/2014/main" id="{92BD9724-829C-E008-F728-B6E5502A45F6}"/>
              </a:ext>
            </a:extLst>
          </p:cNvPr>
          <p:cNvSpPr txBox="1">
            <a:spLocks/>
          </p:cNvSpPr>
          <p:nvPr>
            <p:custDataLst>
              <p:tags r:id="rId9"/>
            </p:custDataLst>
          </p:nvPr>
        </p:nvSpPr>
        <p:spPr>
          <a:xfrm>
            <a:off x="6829881" y="4639897"/>
            <a:ext cx="2744749" cy="1529134"/>
          </a:xfrm>
          <a:prstGeom prst="rect">
            <a:avLst/>
          </a:prstGeom>
        </p:spPr>
        <p:txBody>
          <a:bodyPr vert="horz" lIns="108000" tIns="216000" rIns="0" bIns="0" rtlCol="0" anchor="t">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4</a:t>
            </a:r>
          </a:p>
          <a:p>
            <a:pPr lvl="1">
              <a:lnSpc>
                <a:spcPct val="120000"/>
              </a:lnSpc>
              <a:spcAft>
                <a:spcPts val="600"/>
              </a:spcAft>
            </a:pPr>
            <a:r>
              <a:rPr lang="pl-PL" dirty="0"/>
              <a:t>Zapytanie o Dawcę, gdy zostanie dopasowany do konkretnego Pacjenta (badania wstępne).</a:t>
            </a:r>
          </a:p>
        </p:txBody>
      </p:sp>
      <p:sp>
        <p:nvSpPr>
          <p:cNvPr id="11" name="Textplatzhalter 37">
            <a:extLst>
              <a:ext uri="{FF2B5EF4-FFF2-40B4-BE49-F238E27FC236}">
                <a16:creationId xmlns:a16="http://schemas.microsoft.com/office/drawing/2014/main" id="{93456EE0-928F-7B07-E236-40DAB8344EEF}"/>
              </a:ext>
            </a:extLst>
          </p:cNvPr>
          <p:cNvSpPr txBox="1">
            <a:spLocks/>
          </p:cNvSpPr>
          <p:nvPr>
            <p:custDataLst>
              <p:tags r:id="rId10"/>
            </p:custDataLst>
          </p:nvPr>
        </p:nvSpPr>
        <p:spPr>
          <a:xfrm>
            <a:off x="8702037" y="1658659"/>
            <a:ext cx="2744749" cy="1529134"/>
          </a:xfrm>
          <a:prstGeom prst="rect">
            <a:avLst/>
          </a:prstGeom>
        </p:spPr>
        <p:txBody>
          <a:bodyPr vert="horz" lIns="108000" tIns="0" rIns="0" bIns="259200" rtlCol="0" anchor="b">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5</a:t>
            </a:r>
          </a:p>
          <a:p>
            <a:pPr lvl="1">
              <a:lnSpc>
                <a:spcPct val="120000"/>
              </a:lnSpc>
              <a:spcAft>
                <a:spcPts val="600"/>
              </a:spcAft>
            </a:pPr>
            <a:r>
              <a:rPr lang="pl-PL" dirty="0"/>
              <a:t>Pobranie krwiotwórczych komórek macierzystych lub szpiku od zgodnego i zdrowego Dawcy</a:t>
            </a:r>
          </a:p>
          <a:p>
            <a:pPr lvl="1">
              <a:lnSpc>
                <a:spcPct val="120000"/>
              </a:lnSpc>
              <a:spcAft>
                <a:spcPts val="600"/>
              </a:spcAft>
            </a:pPr>
            <a:endParaRPr lang="pl-PL" dirty="0"/>
          </a:p>
        </p:txBody>
      </p:sp>
      <p:sp>
        <p:nvSpPr>
          <p:cNvPr id="10" name="Textplatzhalter 37">
            <a:extLst>
              <a:ext uri="{FF2B5EF4-FFF2-40B4-BE49-F238E27FC236}">
                <a16:creationId xmlns:a16="http://schemas.microsoft.com/office/drawing/2014/main" id="{3EC387CB-ABC2-F542-00EC-F7282237A428}"/>
              </a:ext>
            </a:extLst>
          </p:cNvPr>
          <p:cNvSpPr txBox="1">
            <a:spLocks/>
          </p:cNvSpPr>
          <p:nvPr>
            <p:custDataLst>
              <p:tags r:id="rId11"/>
            </p:custDataLst>
          </p:nvPr>
        </p:nvSpPr>
        <p:spPr>
          <a:xfrm>
            <a:off x="5031988" y="1576608"/>
            <a:ext cx="2744749" cy="1529134"/>
          </a:xfrm>
          <a:prstGeom prst="rect">
            <a:avLst/>
          </a:prstGeom>
        </p:spPr>
        <p:txBody>
          <a:bodyPr vert="horz" lIns="108000" tIns="0" rIns="0" bIns="259200" rtlCol="0" anchor="b">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3</a:t>
            </a:r>
          </a:p>
          <a:p>
            <a:pPr lvl="1">
              <a:lnSpc>
                <a:spcPct val="120000"/>
              </a:lnSpc>
              <a:spcAft>
                <a:spcPts val="600"/>
              </a:spcAft>
            </a:pPr>
            <a:r>
              <a:rPr lang="pl-PL" dirty="0"/>
              <a:t>Badanie materiału genetycznego oraz umieszczenie danych i wyników w rejestrach krajowym i międzynarodowych.</a:t>
            </a:r>
          </a:p>
        </p:txBody>
      </p:sp>
      <p:sp>
        <p:nvSpPr>
          <p:cNvPr id="8" name="Textplatzhalter 37">
            <a:extLst>
              <a:ext uri="{FF2B5EF4-FFF2-40B4-BE49-F238E27FC236}">
                <a16:creationId xmlns:a16="http://schemas.microsoft.com/office/drawing/2014/main" id="{ADB1D7C8-57B6-8767-FB58-F5680B9E182A}"/>
              </a:ext>
            </a:extLst>
          </p:cNvPr>
          <p:cNvSpPr txBox="1">
            <a:spLocks/>
          </p:cNvSpPr>
          <p:nvPr>
            <p:custDataLst>
              <p:tags r:id="rId12"/>
            </p:custDataLst>
          </p:nvPr>
        </p:nvSpPr>
        <p:spPr>
          <a:xfrm>
            <a:off x="1335638" y="1546462"/>
            <a:ext cx="2744749" cy="1529134"/>
          </a:xfrm>
          <a:prstGeom prst="rect">
            <a:avLst/>
          </a:prstGeom>
        </p:spPr>
        <p:txBody>
          <a:bodyPr vert="horz" lIns="108000" tIns="0" rIns="0" bIns="259200" rtlCol="0" anchor="b">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1</a:t>
            </a:r>
          </a:p>
          <a:p>
            <a:pPr lvl="1">
              <a:lnSpc>
                <a:spcPct val="120000"/>
              </a:lnSpc>
              <a:spcAft>
                <a:spcPts val="600"/>
              </a:spcAft>
            </a:pPr>
            <a:r>
              <a:rPr lang="pl-PL" dirty="0"/>
              <a:t>Świadoma decyzja, od której zależy życie Pacjenta.</a:t>
            </a:r>
          </a:p>
          <a:p>
            <a:pPr lvl="1">
              <a:lnSpc>
                <a:spcPct val="120000"/>
              </a:lnSpc>
              <a:spcAft>
                <a:spcPts val="600"/>
              </a:spcAft>
            </a:pPr>
            <a:endParaRPr lang="pl-PL" dirty="0"/>
          </a:p>
        </p:txBody>
      </p:sp>
      <p:sp>
        <p:nvSpPr>
          <p:cNvPr id="9" name="Textplatzhalter 37">
            <a:extLst>
              <a:ext uri="{FF2B5EF4-FFF2-40B4-BE49-F238E27FC236}">
                <a16:creationId xmlns:a16="http://schemas.microsoft.com/office/drawing/2014/main" id="{CF19A29D-9164-406D-453C-720B01345399}"/>
              </a:ext>
            </a:extLst>
          </p:cNvPr>
          <p:cNvSpPr txBox="1">
            <a:spLocks/>
          </p:cNvSpPr>
          <p:nvPr>
            <p:custDataLst>
              <p:tags r:id="rId13"/>
            </p:custDataLst>
          </p:nvPr>
        </p:nvSpPr>
        <p:spPr>
          <a:xfrm>
            <a:off x="3167052" y="4639897"/>
            <a:ext cx="2744749" cy="1529134"/>
          </a:xfrm>
          <a:prstGeom prst="rect">
            <a:avLst/>
          </a:prstGeom>
        </p:spPr>
        <p:txBody>
          <a:bodyPr vert="horz" lIns="108000" tIns="216000" rIns="0" bIns="0" rtlCol="0" anchor="t">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2</a:t>
            </a:r>
          </a:p>
          <a:p>
            <a:pPr lvl="1">
              <a:lnSpc>
                <a:spcPct val="120000"/>
              </a:lnSpc>
              <a:spcAft>
                <a:spcPts val="600"/>
              </a:spcAft>
            </a:pPr>
            <a:r>
              <a:rPr lang="pl-PL" dirty="0"/>
              <a:t>Rejestracja jako potencjalny Dawca szpiku (pobranie wymazu i oznaczenie antygenów HLA).</a:t>
            </a:r>
          </a:p>
        </p:txBody>
      </p:sp>
      <p:cxnSp>
        <p:nvCxnSpPr>
          <p:cNvPr id="32" name="Gerader Verbinder 31">
            <a:extLst>
              <a:ext uri="{FF2B5EF4-FFF2-40B4-BE49-F238E27FC236}">
                <a16:creationId xmlns:a16="http://schemas.microsoft.com/office/drawing/2014/main" id="{8C060EDE-4CAC-B65E-62B0-631CF66CD0D3}"/>
              </a:ext>
            </a:extLst>
          </p:cNvPr>
          <p:cNvCxnSpPr/>
          <p:nvPr>
            <p:custDataLst>
              <p:tags r:id="rId14"/>
            </p:custDataLst>
          </p:nvPr>
        </p:nvCxnSpPr>
        <p:spPr>
          <a:xfrm>
            <a:off x="1335638" y="1658659"/>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7E5DC010-6F4A-ABD5-B730-EC26A2CEC435}"/>
              </a:ext>
            </a:extLst>
          </p:cNvPr>
          <p:cNvCxnSpPr/>
          <p:nvPr>
            <p:custDataLst>
              <p:tags r:id="rId15"/>
            </p:custDataLst>
          </p:nvPr>
        </p:nvCxnSpPr>
        <p:spPr>
          <a:xfrm>
            <a:off x="4998465" y="1658659"/>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E8F40A0B-254D-C6A6-FAFB-5294562B938D}"/>
              </a:ext>
            </a:extLst>
          </p:cNvPr>
          <p:cNvCxnSpPr/>
          <p:nvPr>
            <p:custDataLst>
              <p:tags r:id="rId16"/>
            </p:custDataLst>
          </p:nvPr>
        </p:nvCxnSpPr>
        <p:spPr>
          <a:xfrm>
            <a:off x="8661294" y="1658659"/>
            <a:ext cx="0" cy="1416937"/>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6B7B7F2F-6639-CF1D-F22E-55C9FE0C5C21}"/>
              </a:ext>
            </a:extLst>
          </p:cNvPr>
          <p:cNvCxnSpPr/>
          <p:nvPr>
            <p:custDataLst>
              <p:tags r:id="rId17"/>
            </p:custDataLst>
          </p:nvPr>
        </p:nvCxnSpPr>
        <p:spPr>
          <a:xfrm>
            <a:off x="3167052" y="4604730"/>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D6BB594C-E5A1-33A6-8D95-0FC37008BEBA}"/>
              </a:ext>
            </a:extLst>
          </p:cNvPr>
          <p:cNvCxnSpPr/>
          <p:nvPr>
            <p:custDataLst>
              <p:tags r:id="rId18"/>
            </p:custDataLst>
          </p:nvPr>
        </p:nvCxnSpPr>
        <p:spPr>
          <a:xfrm>
            <a:off x="6829880" y="4604730"/>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Fußzeilenplatzhalter 6">
            <a:extLst>
              <a:ext uri="{FF2B5EF4-FFF2-40B4-BE49-F238E27FC236}">
                <a16:creationId xmlns:a16="http://schemas.microsoft.com/office/drawing/2014/main" id="{EB583896-B65B-FFCE-FE9E-83398066CEB4}"/>
              </a:ext>
            </a:extLst>
          </p:cNvPr>
          <p:cNvSpPr>
            <a:spLocks noGrp="1"/>
          </p:cNvSpPr>
          <p:nvPr>
            <p:ph type="ftr" sz="quarter" idx="16"/>
            <p:custDataLst>
              <p:tags r:id="rId19"/>
            </p:custDataLst>
          </p:nvPr>
        </p:nvSpPr>
        <p:spPr/>
        <p:txBody>
          <a:bodyPr/>
          <a:lstStyle/>
          <a:p>
            <a:r>
              <a:rPr lang="pl-PL"/>
              <a:t>Najważniejsze informacje o dawstwie szpiku - Prezentacja w ramach projektu #KOMÓRKOMANIA | C1 - publiczna</a:t>
            </a:r>
            <a:endParaRPr lang="pl-PL" dirty="0"/>
          </a:p>
        </p:txBody>
      </p:sp>
      <p:sp>
        <p:nvSpPr>
          <p:cNvPr id="13" name="Foliennummernplatzhalter 12">
            <a:extLst>
              <a:ext uri="{FF2B5EF4-FFF2-40B4-BE49-F238E27FC236}">
                <a16:creationId xmlns:a16="http://schemas.microsoft.com/office/drawing/2014/main" id="{DF93C8B8-C027-826C-EEAD-BA245FA7E60E}"/>
              </a:ext>
            </a:extLst>
          </p:cNvPr>
          <p:cNvSpPr>
            <a:spLocks noGrp="1"/>
          </p:cNvSpPr>
          <p:nvPr>
            <p:ph type="sldNum" sz="quarter" idx="17"/>
            <p:custDataLst>
              <p:tags r:id="rId20"/>
            </p:custDataLst>
          </p:nvPr>
        </p:nvSpPr>
        <p:spPr/>
        <p:txBody>
          <a:bodyPr/>
          <a:lstStyle/>
          <a:p>
            <a:fld id="{92DB0D90-6264-4E90-9724-ABC670DBF4FB}" type="slidenum">
              <a:rPr lang="pl-PL" smtClean="0"/>
              <a:pPr/>
              <a:t>12</a:t>
            </a:fld>
            <a:endParaRPr lang="pl-PL" dirty="0"/>
          </a:p>
        </p:txBody>
      </p:sp>
    </p:spTree>
    <p:extLst>
      <p:ext uri="{BB962C8B-B14F-4D97-AF65-F5344CB8AC3E}">
        <p14:creationId xmlns:p14="http://schemas.microsoft.com/office/powerpoint/2010/main" val="3170892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r>
              <a:rPr lang="pl-PL" dirty="0"/>
              <a:t>Pobranie komórek macierzystych z krwi </a:t>
            </a:r>
          </a:p>
          <a:p>
            <a:r>
              <a:rPr lang="pl-PL" dirty="0"/>
              <a:t>obwodowej i pobranie szpiku z talerza </a:t>
            </a:r>
          </a:p>
          <a:p>
            <a:r>
              <a:rPr lang="pl-PL" dirty="0"/>
              <a:t>kości biodrowej</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Metody pobrania </a:t>
            </a:r>
          </a:p>
        </p:txBody>
      </p:sp>
    </p:spTree>
    <p:extLst>
      <p:ext uri="{BB962C8B-B14F-4D97-AF65-F5344CB8AC3E}">
        <p14:creationId xmlns:p14="http://schemas.microsoft.com/office/powerpoint/2010/main" val="40062833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2" name="Textplatzhalter 21">
            <a:extLst>
              <a:ext uri="{FF2B5EF4-FFF2-40B4-BE49-F238E27FC236}">
                <a16:creationId xmlns:a16="http://schemas.microsoft.com/office/drawing/2014/main" id="{87671815-6E6A-40EC-6053-9954CA8D1596}"/>
              </a:ext>
            </a:extLst>
          </p:cNvPr>
          <p:cNvSpPr>
            <a:spLocks noGrp="1"/>
          </p:cNvSpPr>
          <p:nvPr>
            <p:ph type="body" sz="quarter" idx="39"/>
            <p:custDataLst>
              <p:tags r:id="rId1"/>
            </p:custDataLst>
          </p:nvPr>
        </p:nvSpPr>
        <p:spPr/>
        <p:txBody>
          <a:bodyPr/>
          <a:lstStyle/>
          <a:p>
            <a:r>
              <a:rPr lang="pl-PL" dirty="0"/>
              <a:t>Pobranie komórek macierzystych </a:t>
            </a:r>
            <a:br>
              <a:rPr lang="pl-PL" dirty="0"/>
            </a:br>
            <a:r>
              <a:rPr lang="pl-PL" dirty="0"/>
              <a:t>z krwi obwodowej metodą zwaną aferezą.</a:t>
            </a:r>
          </a:p>
        </p:txBody>
      </p:sp>
      <p:sp>
        <p:nvSpPr>
          <p:cNvPr id="50" name="Textplatzhalter 49">
            <a:extLst>
              <a:ext uri="{FF2B5EF4-FFF2-40B4-BE49-F238E27FC236}">
                <a16:creationId xmlns:a16="http://schemas.microsoft.com/office/drawing/2014/main" id="{ECC020A7-48BE-B119-A286-46317E22E7AB}"/>
              </a:ext>
            </a:extLst>
          </p:cNvPr>
          <p:cNvSpPr>
            <a:spLocks noGrp="1"/>
          </p:cNvSpPr>
          <p:nvPr>
            <p:ph type="body" sz="quarter" idx="37"/>
            <p:custDataLst>
              <p:tags r:id="rId2"/>
            </p:custDataLst>
          </p:nvPr>
        </p:nvSpPr>
        <p:spPr/>
        <p:txBody>
          <a:bodyPr/>
          <a:lstStyle/>
          <a:p>
            <a:r>
              <a:rPr lang="pl-PL" dirty="0"/>
              <a:t>Ewentualna druga afereza</a:t>
            </a:r>
          </a:p>
        </p:txBody>
      </p:sp>
      <p:sp>
        <p:nvSpPr>
          <p:cNvPr id="21" name="Textplatzhalter 20">
            <a:extLst>
              <a:ext uri="{FF2B5EF4-FFF2-40B4-BE49-F238E27FC236}">
                <a16:creationId xmlns:a16="http://schemas.microsoft.com/office/drawing/2014/main" id="{F94F457D-F200-50C0-B982-E08F30A3F893}"/>
              </a:ext>
            </a:extLst>
          </p:cNvPr>
          <p:cNvSpPr>
            <a:spLocks noGrp="1"/>
          </p:cNvSpPr>
          <p:nvPr>
            <p:ph type="body" sz="quarter" idx="14"/>
            <p:custDataLst>
              <p:tags r:id="rId3"/>
            </p:custDataLst>
          </p:nvPr>
        </p:nvSpPr>
        <p:spPr/>
        <p:txBody>
          <a:bodyPr/>
          <a:lstStyle/>
          <a:p>
            <a:r>
              <a:rPr lang="pl-PL" noProof="0" dirty="0"/>
              <a:t>#KOMÓRKOMANIA</a:t>
            </a:r>
          </a:p>
        </p:txBody>
      </p:sp>
      <p:sp>
        <p:nvSpPr>
          <p:cNvPr id="25" name="Textplatzhalter 24">
            <a:extLst>
              <a:ext uri="{FF2B5EF4-FFF2-40B4-BE49-F238E27FC236}">
                <a16:creationId xmlns:a16="http://schemas.microsoft.com/office/drawing/2014/main" id="{442A396B-3048-6C68-A381-C5257435EDBF}"/>
              </a:ext>
            </a:extLst>
          </p:cNvPr>
          <p:cNvSpPr>
            <a:spLocks noGrp="1"/>
          </p:cNvSpPr>
          <p:nvPr>
            <p:ph type="body" sz="quarter" idx="19"/>
            <p:custDataLst>
              <p:tags r:id="rId4"/>
            </p:custDataLst>
          </p:nvPr>
        </p:nvSpPr>
        <p:spPr>
          <a:xfrm>
            <a:off x="898524" y="2832904"/>
            <a:ext cx="3876676" cy="3301496"/>
          </a:xfrm>
        </p:spPr>
        <p:txBody>
          <a:bodyPr/>
          <a:lstStyle/>
          <a:p>
            <a:pPr lvl="0"/>
            <a:endParaRPr lang="pl-PL" sz="4800" b="1" noProof="0" dirty="0">
              <a:solidFill>
                <a:srgbClr val="FF0000"/>
              </a:solidFill>
            </a:endParaRPr>
          </a:p>
          <a:p>
            <a:pPr lvl="0"/>
            <a:r>
              <a:rPr lang="pl-PL" sz="4800" b="1" noProof="0" dirty="0">
                <a:solidFill>
                  <a:srgbClr val="FF0000"/>
                </a:solidFill>
              </a:rPr>
              <a:t>90% </a:t>
            </a:r>
            <a:r>
              <a:rPr lang="pl-PL" b="1" noProof="0" dirty="0"/>
              <a:t>wszystkich pobrań</a:t>
            </a:r>
          </a:p>
        </p:txBody>
      </p:sp>
      <p:sp>
        <p:nvSpPr>
          <p:cNvPr id="16" name="Textplatzhalter 15">
            <a:extLst>
              <a:ext uri="{FF2B5EF4-FFF2-40B4-BE49-F238E27FC236}">
                <a16:creationId xmlns:a16="http://schemas.microsoft.com/office/drawing/2014/main" id="{E4B17E10-B98E-040C-BF73-9796CB685563}"/>
              </a:ext>
            </a:extLst>
          </p:cNvPr>
          <p:cNvSpPr>
            <a:spLocks noGrp="1"/>
          </p:cNvSpPr>
          <p:nvPr>
            <p:ph type="body" sz="quarter" idx="25"/>
            <p:custDataLst>
              <p:tags r:id="rId5"/>
            </p:custDataLst>
          </p:nvPr>
        </p:nvSpPr>
        <p:spPr>
          <a:xfrm>
            <a:off x="5681919" y="3429000"/>
            <a:ext cx="1537027" cy="684001"/>
          </a:xfrm>
        </p:spPr>
        <p:txBody>
          <a:bodyPr/>
          <a:lstStyle/>
          <a:p>
            <a:r>
              <a:rPr lang="pl-PL" dirty="0"/>
              <a:t>Dzień 5</a:t>
            </a:r>
            <a:endParaRPr lang="pl-PL" noProof="0" dirty="0"/>
          </a:p>
        </p:txBody>
      </p:sp>
      <p:sp>
        <p:nvSpPr>
          <p:cNvPr id="3" name="Datumsplatzhalter 2">
            <a:extLst>
              <a:ext uri="{FF2B5EF4-FFF2-40B4-BE49-F238E27FC236}">
                <a16:creationId xmlns:a16="http://schemas.microsoft.com/office/drawing/2014/main" id="{3424918E-90FE-7249-64A9-881EAF76FC25}"/>
              </a:ext>
            </a:extLst>
          </p:cNvPr>
          <p:cNvSpPr>
            <a:spLocks noGrp="1"/>
          </p:cNvSpPr>
          <p:nvPr>
            <p:ph type="dt" sz="half" idx="30"/>
            <p:custDataLst>
              <p:tags r:id="rId6"/>
            </p:custDataLst>
          </p:nvPr>
        </p:nvSpPr>
        <p:spPr/>
        <p:txBody>
          <a:bodyPr/>
          <a:lstStyle/>
          <a:p>
            <a:r>
              <a:rPr lang="en-US"/>
              <a:t>01.08.2023</a:t>
            </a:r>
            <a:endParaRPr lang="pl-PL" dirty="0"/>
          </a:p>
        </p:txBody>
      </p:sp>
      <p:sp>
        <p:nvSpPr>
          <p:cNvPr id="9" name="Titel 8">
            <a:extLst>
              <a:ext uri="{FF2B5EF4-FFF2-40B4-BE49-F238E27FC236}">
                <a16:creationId xmlns:a16="http://schemas.microsoft.com/office/drawing/2014/main" id="{B756B26F-0FAC-5BAB-8A28-DD6CEF7E4172}"/>
              </a:ext>
            </a:extLst>
          </p:cNvPr>
          <p:cNvSpPr>
            <a:spLocks noGrp="1"/>
          </p:cNvSpPr>
          <p:nvPr>
            <p:ph type="title"/>
            <p:custDataLst>
              <p:tags r:id="rId7"/>
            </p:custDataLst>
          </p:nvPr>
        </p:nvSpPr>
        <p:spPr/>
        <p:txBody>
          <a:bodyPr/>
          <a:lstStyle/>
          <a:p>
            <a:r>
              <a:rPr lang="pl-PL" dirty="0"/>
              <a:t>Pobranie krwiotwórczych komórek macierzystych </a:t>
            </a:r>
            <a:br>
              <a:rPr lang="pl-PL" dirty="0"/>
            </a:br>
            <a:r>
              <a:rPr lang="pl-PL" dirty="0"/>
              <a:t>z krwi odwodowej</a:t>
            </a:r>
            <a:endParaRPr lang="pl-PL" noProof="0" dirty="0"/>
          </a:p>
        </p:txBody>
      </p:sp>
      <p:sp>
        <p:nvSpPr>
          <p:cNvPr id="47" name="Textplatzhalter 46">
            <a:extLst>
              <a:ext uri="{FF2B5EF4-FFF2-40B4-BE49-F238E27FC236}">
                <a16:creationId xmlns:a16="http://schemas.microsoft.com/office/drawing/2014/main" id="{F844D7EE-25B4-2D62-0053-ABDE3E3B515D}"/>
              </a:ext>
            </a:extLst>
          </p:cNvPr>
          <p:cNvSpPr>
            <a:spLocks noGrp="1"/>
          </p:cNvSpPr>
          <p:nvPr>
            <p:ph type="body" sz="quarter" idx="26"/>
            <p:custDataLst>
              <p:tags r:id="rId8"/>
            </p:custDataLst>
          </p:nvPr>
        </p:nvSpPr>
        <p:spPr>
          <a:xfrm>
            <a:off x="8846960" y="3429000"/>
            <a:ext cx="1580407" cy="684001"/>
          </a:xfrm>
        </p:spPr>
        <p:txBody>
          <a:bodyPr/>
          <a:lstStyle/>
          <a:p>
            <a:r>
              <a:rPr lang="pl-PL" noProof="0" dirty="0"/>
              <a:t>Dzień 6</a:t>
            </a:r>
          </a:p>
        </p:txBody>
      </p:sp>
      <p:sp>
        <p:nvSpPr>
          <p:cNvPr id="15" name="Textplatzhalter 14">
            <a:extLst>
              <a:ext uri="{FF2B5EF4-FFF2-40B4-BE49-F238E27FC236}">
                <a16:creationId xmlns:a16="http://schemas.microsoft.com/office/drawing/2014/main" id="{D26AC601-A127-C837-829F-5DB36E67EF62}"/>
              </a:ext>
            </a:extLst>
          </p:cNvPr>
          <p:cNvSpPr>
            <a:spLocks noGrp="1"/>
          </p:cNvSpPr>
          <p:nvPr>
            <p:ph type="body" sz="quarter" idx="24"/>
            <p:custDataLst>
              <p:tags r:id="rId9"/>
            </p:custDataLst>
          </p:nvPr>
        </p:nvSpPr>
        <p:spPr/>
        <p:txBody>
          <a:bodyPr/>
          <a:lstStyle/>
          <a:p>
            <a:r>
              <a:rPr lang="pl-PL" noProof="0" dirty="0"/>
              <a:t>02</a:t>
            </a:r>
          </a:p>
        </p:txBody>
      </p:sp>
      <p:sp>
        <p:nvSpPr>
          <p:cNvPr id="49" name="Textplatzhalter 48">
            <a:extLst>
              <a:ext uri="{FF2B5EF4-FFF2-40B4-BE49-F238E27FC236}">
                <a16:creationId xmlns:a16="http://schemas.microsoft.com/office/drawing/2014/main" id="{7B193E69-B9EE-16A1-AFEE-271647A65FFD}"/>
              </a:ext>
            </a:extLst>
          </p:cNvPr>
          <p:cNvSpPr>
            <a:spLocks noGrp="1"/>
          </p:cNvSpPr>
          <p:nvPr>
            <p:ph type="body" sz="quarter" idx="35"/>
            <p:custDataLst>
              <p:tags r:id="rId10"/>
            </p:custDataLst>
          </p:nvPr>
        </p:nvSpPr>
        <p:spPr/>
        <p:txBody>
          <a:bodyPr/>
          <a:lstStyle/>
          <a:p>
            <a:r>
              <a:rPr lang="pl-PL" sz="1200" dirty="0"/>
              <a:t>Przyjmowanie czynnika wzrostu w postaci zastrzyków podskórnych (namnażanie i uwalnianie komórek macierzystych do krwioobiegu, czynnik wzrostu może powodować objawy grypopodobne)</a:t>
            </a:r>
          </a:p>
        </p:txBody>
      </p:sp>
      <p:sp>
        <p:nvSpPr>
          <p:cNvPr id="24" name="Textplatzhalter 23">
            <a:extLst>
              <a:ext uri="{FF2B5EF4-FFF2-40B4-BE49-F238E27FC236}">
                <a16:creationId xmlns:a16="http://schemas.microsoft.com/office/drawing/2014/main" id="{C53E19BA-DAF6-0B8C-24AD-F029CC010F1B}"/>
              </a:ext>
            </a:extLst>
          </p:cNvPr>
          <p:cNvSpPr>
            <a:spLocks noGrp="1"/>
          </p:cNvSpPr>
          <p:nvPr>
            <p:ph type="body" sz="quarter" idx="23"/>
            <p:custDataLst>
              <p:tags r:id="rId11"/>
            </p:custDataLst>
          </p:nvPr>
        </p:nvSpPr>
        <p:spPr>
          <a:xfrm>
            <a:off x="5681919" y="540001"/>
            <a:ext cx="2130585" cy="684001"/>
          </a:xfrm>
        </p:spPr>
        <p:txBody>
          <a:bodyPr/>
          <a:lstStyle/>
          <a:p>
            <a:pPr lvl="2"/>
            <a:r>
              <a:rPr lang="pl-PL" noProof="0" dirty="0"/>
              <a:t>Dzień 1-5</a:t>
            </a:r>
          </a:p>
        </p:txBody>
      </p:sp>
      <p:sp>
        <p:nvSpPr>
          <p:cNvPr id="4" name="Fußzeilenplatzhalter 3">
            <a:extLst>
              <a:ext uri="{FF2B5EF4-FFF2-40B4-BE49-F238E27FC236}">
                <a16:creationId xmlns:a16="http://schemas.microsoft.com/office/drawing/2014/main" id="{0FD80FE3-6592-F992-9D80-D730D9DA4D9D}"/>
              </a:ext>
            </a:extLst>
          </p:cNvPr>
          <p:cNvSpPr>
            <a:spLocks noGrp="1"/>
          </p:cNvSpPr>
          <p:nvPr>
            <p:ph type="ftr" sz="quarter" idx="31"/>
            <p:custDataLst>
              <p:tags r:id="rId12"/>
            </p:custDataLst>
          </p:nvPr>
        </p:nvSpPr>
        <p:spPr/>
        <p:txBody>
          <a:bodyPr/>
          <a:lstStyle/>
          <a:p>
            <a:r>
              <a:rPr lang="pl-PL"/>
              <a:t>Najważniejsze informacje o dawstwie szpiku - Prezentacja w ramach projektu #KOMÓRKOMANIA | C1 - publiczna</a:t>
            </a:r>
            <a:endParaRPr lang="pl-PL" dirty="0"/>
          </a:p>
        </p:txBody>
      </p:sp>
      <p:sp>
        <p:nvSpPr>
          <p:cNvPr id="6" name="Foliennummernplatzhalter 5">
            <a:extLst>
              <a:ext uri="{FF2B5EF4-FFF2-40B4-BE49-F238E27FC236}">
                <a16:creationId xmlns:a16="http://schemas.microsoft.com/office/drawing/2014/main" id="{C62DB57B-2566-5A8A-84A7-860CCA19F8E6}"/>
              </a:ext>
            </a:extLst>
          </p:cNvPr>
          <p:cNvSpPr>
            <a:spLocks noGrp="1"/>
          </p:cNvSpPr>
          <p:nvPr>
            <p:ph type="sldNum" sz="quarter" idx="32"/>
            <p:custDataLst>
              <p:tags r:id="rId13"/>
            </p:custDataLst>
          </p:nvPr>
        </p:nvSpPr>
        <p:spPr/>
        <p:txBody>
          <a:bodyPr/>
          <a:lstStyle/>
          <a:p>
            <a:fld id="{92DB0D90-6264-4E90-9724-ABC670DBF4FB}" type="slidenum">
              <a:rPr lang="pl-PL" noProof="0" smtClean="0"/>
              <a:pPr/>
              <a:t>14</a:t>
            </a:fld>
            <a:endParaRPr lang="pl-PL" noProof="0" dirty="0"/>
          </a:p>
        </p:txBody>
      </p:sp>
      <p:pic>
        <p:nvPicPr>
          <p:cNvPr id="8" name="Picture Placeholder 7">
            <a:extLst>
              <a:ext uri="{FF2B5EF4-FFF2-40B4-BE49-F238E27FC236}">
                <a16:creationId xmlns:a16="http://schemas.microsoft.com/office/drawing/2014/main" id="{0D58AE3A-4C0F-43A5-98AF-46EF2BA01934}"/>
              </a:ext>
            </a:extLst>
          </p:cNvPr>
          <p:cNvPicPr>
            <a:picLocks noGrp="1" noChangeAspect="1"/>
          </p:cNvPicPr>
          <p:nvPr>
            <p:ph type="pic" sz="quarter" idx="42"/>
          </p:nvPr>
        </p:nvPicPr>
        <p:blipFill>
          <a:blip r:embed="rId16"/>
          <a:srcRect l="8677" r="8677"/>
          <a:stretch>
            <a:fillRect/>
          </a:stretch>
        </p:blipFill>
        <p:spPr/>
      </p:pic>
    </p:spTree>
    <p:extLst>
      <p:ext uri="{BB962C8B-B14F-4D97-AF65-F5344CB8AC3E}">
        <p14:creationId xmlns:p14="http://schemas.microsoft.com/office/powerpoint/2010/main" val="8685181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2" name="Textplatzhalter 21">
            <a:extLst>
              <a:ext uri="{FF2B5EF4-FFF2-40B4-BE49-F238E27FC236}">
                <a16:creationId xmlns:a16="http://schemas.microsoft.com/office/drawing/2014/main" id="{87671815-6E6A-40EC-6053-9954CA8D1596}"/>
              </a:ext>
            </a:extLst>
          </p:cNvPr>
          <p:cNvSpPr>
            <a:spLocks noGrp="1"/>
          </p:cNvSpPr>
          <p:nvPr>
            <p:ph type="body" sz="quarter" idx="39"/>
            <p:custDataLst>
              <p:tags r:id="rId1"/>
            </p:custDataLst>
          </p:nvPr>
        </p:nvSpPr>
        <p:spPr/>
        <p:txBody>
          <a:bodyPr/>
          <a:lstStyle/>
          <a:p>
            <a:r>
              <a:rPr lang="pl-PL" dirty="0"/>
              <a:t>Pobranie szpiku pod narkozą (zabieg trwający około 1 godzinę).</a:t>
            </a:r>
          </a:p>
        </p:txBody>
      </p:sp>
      <p:sp>
        <p:nvSpPr>
          <p:cNvPr id="50" name="Textplatzhalter 49">
            <a:extLst>
              <a:ext uri="{FF2B5EF4-FFF2-40B4-BE49-F238E27FC236}">
                <a16:creationId xmlns:a16="http://schemas.microsoft.com/office/drawing/2014/main" id="{ECC020A7-48BE-B119-A286-46317E22E7AB}"/>
              </a:ext>
            </a:extLst>
          </p:cNvPr>
          <p:cNvSpPr>
            <a:spLocks noGrp="1"/>
          </p:cNvSpPr>
          <p:nvPr>
            <p:ph type="body" sz="quarter" idx="37"/>
            <p:custDataLst>
              <p:tags r:id="rId2"/>
            </p:custDataLst>
          </p:nvPr>
        </p:nvSpPr>
        <p:spPr/>
        <p:txBody>
          <a:bodyPr/>
          <a:lstStyle/>
          <a:p>
            <a:r>
              <a:rPr lang="pl-PL" dirty="0"/>
              <a:t>Wypisanie z kliniki i powrót do domu</a:t>
            </a:r>
          </a:p>
        </p:txBody>
      </p:sp>
      <p:sp>
        <p:nvSpPr>
          <p:cNvPr id="21" name="Textplatzhalter 20">
            <a:extLst>
              <a:ext uri="{FF2B5EF4-FFF2-40B4-BE49-F238E27FC236}">
                <a16:creationId xmlns:a16="http://schemas.microsoft.com/office/drawing/2014/main" id="{F94F457D-F200-50C0-B982-E08F30A3F893}"/>
              </a:ext>
            </a:extLst>
          </p:cNvPr>
          <p:cNvSpPr>
            <a:spLocks noGrp="1"/>
          </p:cNvSpPr>
          <p:nvPr>
            <p:ph type="body" sz="quarter" idx="14"/>
            <p:custDataLst>
              <p:tags r:id="rId3"/>
            </p:custDataLst>
          </p:nvPr>
        </p:nvSpPr>
        <p:spPr/>
        <p:txBody>
          <a:bodyPr/>
          <a:lstStyle/>
          <a:p>
            <a:r>
              <a:rPr lang="pl-PL" noProof="0" dirty="0"/>
              <a:t>#KOMÓRKOMANIA</a:t>
            </a:r>
          </a:p>
        </p:txBody>
      </p:sp>
      <p:sp>
        <p:nvSpPr>
          <p:cNvPr id="25" name="Textplatzhalter 24">
            <a:extLst>
              <a:ext uri="{FF2B5EF4-FFF2-40B4-BE49-F238E27FC236}">
                <a16:creationId xmlns:a16="http://schemas.microsoft.com/office/drawing/2014/main" id="{442A396B-3048-6C68-A381-C5257435EDBF}"/>
              </a:ext>
            </a:extLst>
          </p:cNvPr>
          <p:cNvSpPr>
            <a:spLocks noGrp="1"/>
          </p:cNvSpPr>
          <p:nvPr>
            <p:ph type="body" sz="quarter" idx="19"/>
            <p:custDataLst>
              <p:tags r:id="rId4"/>
            </p:custDataLst>
          </p:nvPr>
        </p:nvSpPr>
        <p:spPr>
          <a:xfrm>
            <a:off x="898524" y="2832904"/>
            <a:ext cx="3876676" cy="3301496"/>
          </a:xfrm>
        </p:spPr>
        <p:txBody>
          <a:bodyPr/>
          <a:lstStyle/>
          <a:p>
            <a:pPr lvl="0"/>
            <a:r>
              <a:rPr lang="pl-PL" sz="4800" b="1" dirty="0">
                <a:solidFill>
                  <a:srgbClr val="FF0000"/>
                </a:solidFill>
              </a:rPr>
              <a:t>1</a:t>
            </a:r>
            <a:r>
              <a:rPr lang="pl-PL" sz="4800" b="1" noProof="0" dirty="0">
                <a:solidFill>
                  <a:srgbClr val="FF0000"/>
                </a:solidFill>
              </a:rPr>
              <a:t>0% </a:t>
            </a:r>
            <a:r>
              <a:rPr lang="pl-PL" b="1" noProof="0" dirty="0"/>
              <a:t>wszystkich pobrań</a:t>
            </a:r>
          </a:p>
          <a:p>
            <a:pPr lvl="0"/>
            <a:endParaRPr lang="pl-PL" b="1" noProof="0" dirty="0"/>
          </a:p>
          <a:p>
            <a:pPr lvl="0"/>
            <a:endParaRPr lang="pl-PL" sz="1200" b="1" dirty="0"/>
          </a:p>
          <a:p>
            <a:pPr lvl="0"/>
            <a:endParaRPr lang="pl-PL" sz="1200" b="1" dirty="0"/>
          </a:p>
          <a:p>
            <a:pPr lvl="0"/>
            <a:endParaRPr lang="pl-PL" sz="1400" dirty="0"/>
          </a:p>
          <a:p>
            <a:pPr lvl="0"/>
            <a:r>
              <a:rPr lang="pl-PL" sz="1400" dirty="0"/>
              <a:t>Szpik regeneruje się w organizmie Dawcy </a:t>
            </a:r>
          </a:p>
          <a:p>
            <a:pPr lvl="0"/>
            <a:r>
              <a:rPr lang="pl-PL" sz="1400" dirty="0"/>
              <a:t>do 2 tygodni po pobraniu</a:t>
            </a:r>
          </a:p>
          <a:p>
            <a:pPr lvl="0"/>
            <a:endParaRPr lang="pl-PL" b="1" noProof="0" dirty="0"/>
          </a:p>
        </p:txBody>
      </p:sp>
      <p:sp>
        <p:nvSpPr>
          <p:cNvPr id="16" name="Textplatzhalter 15">
            <a:extLst>
              <a:ext uri="{FF2B5EF4-FFF2-40B4-BE49-F238E27FC236}">
                <a16:creationId xmlns:a16="http://schemas.microsoft.com/office/drawing/2014/main" id="{E4B17E10-B98E-040C-BF73-9796CB685563}"/>
              </a:ext>
            </a:extLst>
          </p:cNvPr>
          <p:cNvSpPr>
            <a:spLocks noGrp="1"/>
          </p:cNvSpPr>
          <p:nvPr>
            <p:ph type="body" sz="quarter" idx="25"/>
            <p:custDataLst>
              <p:tags r:id="rId5"/>
            </p:custDataLst>
          </p:nvPr>
        </p:nvSpPr>
        <p:spPr>
          <a:xfrm>
            <a:off x="5681919" y="3429000"/>
            <a:ext cx="1537027" cy="684001"/>
          </a:xfrm>
        </p:spPr>
        <p:txBody>
          <a:bodyPr/>
          <a:lstStyle/>
          <a:p>
            <a:r>
              <a:rPr lang="pl-PL" dirty="0"/>
              <a:t>Dzień 2</a:t>
            </a:r>
            <a:endParaRPr lang="pl-PL" noProof="0" dirty="0"/>
          </a:p>
        </p:txBody>
      </p:sp>
      <p:sp>
        <p:nvSpPr>
          <p:cNvPr id="3" name="Datumsplatzhalter 2">
            <a:extLst>
              <a:ext uri="{FF2B5EF4-FFF2-40B4-BE49-F238E27FC236}">
                <a16:creationId xmlns:a16="http://schemas.microsoft.com/office/drawing/2014/main" id="{3424918E-90FE-7249-64A9-881EAF76FC25}"/>
              </a:ext>
            </a:extLst>
          </p:cNvPr>
          <p:cNvSpPr>
            <a:spLocks noGrp="1"/>
          </p:cNvSpPr>
          <p:nvPr>
            <p:ph type="dt" sz="half" idx="30"/>
            <p:custDataLst>
              <p:tags r:id="rId6"/>
            </p:custDataLst>
          </p:nvPr>
        </p:nvSpPr>
        <p:spPr/>
        <p:txBody>
          <a:bodyPr/>
          <a:lstStyle/>
          <a:p>
            <a:r>
              <a:rPr lang="en-US"/>
              <a:t>01.08.2023</a:t>
            </a:r>
            <a:endParaRPr lang="pl-PL" dirty="0"/>
          </a:p>
        </p:txBody>
      </p:sp>
      <p:sp>
        <p:nvSpPr>
          <p:cNvPr id="9" name="Titel 8">
            <a:extLst>
              <a:ext uri="{FF2B5EF4-FFF2-40B4-BE49-F238E27FC236}">
                <a16:creationId xmlns:a16="http://schemas.microsoft.com/office/drawing/2014/main" id="{B756B26F-0FAC-5BAB-8A28-DD6CEF7E4172}"/>
              </a:ext>
            </a:extLst>
          </p:cNvPr>
          <p:cNvSpPr>
            <a:spLocks noGrp="1"/>
          </p:cNvSpPr>
          <p:nvPr>
            <p:ph type="title"/>
            <p:custDataLst>
              <p:tags r:id="rId7"/>
            </p:custDataLst>
          </p:nvPr>
        </p:nvSpPr>
        <p:spPr/>
        <p:txBody>
          <a:bodyPr/>
          <a:lstStyle/>
          <a:p>
            <a:r>
              <a:rPr lang="pl-PL" dirty="0"/>
              <a:t>Pobranie szpiku kostnego z talerza kości biodrowej</a:t>
            </a:r>
            <a:endParaRPr lang="pl-PL" noProof="0" dirty="0"/>
          </a:p>
        </p:txBody>
      </p:sp>
      <p:sp>
        <p:nvSpPr>
          <p:cNvPr id="47" name="Textplatzhalter 46">
            <a:extLst>
              <a:ext uri="{FF2B5EF4-FFF2-40B4-BE49-F238E27FC236}">
                <a16:creationId xmlns:a16="http://schemas.microsoft.com/office/drawing/2014/main" id="{F844D7EE-25B4-2D62-0053-ABDE3E3B515D}"/>
              </a:ext>
            </a:extLst>
          </p:cNvPr>
          <p:cNvSpPr>
            <a:spLocks noGrp="1"/>
          </p:cNvSpPr>
          <p:nvPr>
            <p:ph type="body" sz="quarter" idx="26"/>
            <p:custDataLst>
              <p:tags r:id="rId8"/>
            </p:custDataLst>
          </p:nvPr>
        </p:nvSpPr>
        <p:spPr>
          <a:xfrm>
            <a:off x="8846960" y="3429000"/>
            <a:ext cx="1580407" cy="684001"/>
          </a:xfrm>
        </p:spPr>
        <p:txBody>
          <a:bodyPr/>
          <a:lstStyle/>
          <a:p>
            <a:r>
              <a:rPr lang="pl-PL" noProof="0" dirty="0"/>
              <a:t>Dzień 3</a:t>
            </a:r>
          </a:p>
        </p:txBody>
      </p:sp>
      <p:sp>
        <p:nvSpPr>
          <p:cNvPr id="15" name="Textplatzhalter 14">
            <a:extLst>
              <a:ext uri="{FF2B5EF4-FFF2-40B4-BE49-F238E27FC236}">
                <a16:creationId xmlns:a16="http://schemas.microsoft.com/office/drawing/2014/main" id="{D26AC601-A127-C837-829F-5DB36E67EF62}"/>
              </a:ext>
            </a:extLst>
          </p:cNvPr>
          <p:cNvSpPr>
            <a:spLocks noGrp="1"/>
          </p:cNvSpPr>
          <p:nvPr>
            <p:ph type="body" sz="quarter" idx="24"/>
            <p:custDataLst>
              <p:tags r:id="rId9"/>
            </p:custDataLst>
          </p:nvPr>
        </p:nvSpPr>
        <p:spPr/>
        <p:txBody>
          <a:bodyPr/>
          <a:lstStyle/>
          <a:p>
            <a:r>
              <a:rPr lang="pl-PL" noProof="0" dirty="0"/>
              <a:t>02</a:t>
            </a:r>
          </a:p>
        </p:txBody>
      </p:sp>
      <p:sp>
        <p:nvSpPr>
          <p:cNvPr id="49" name="Textplatzhalter 48">
            <a:extLst>
              <a:ext uri="{FF2B5EF4-FFF2-40B4-BE49-F238E27FC236}">
                <a16:creationId xmlns:a16="http://schemas.microsoft.com/office/drawing/2014/main" id="{7B193E69-B9EE-16A1-AFEE-271647A65FFD}"/>
              </a:ext>
            </a:extLst>
          </p:cNvPr>
          <p:cNvSpPr>
            <a:spLocks noGrp="1"/>
          </p:cNvSpPr>
          <p:nvPr>
            <p:ph type="body" sz="quarter" idx="35"/>
            <p:custDataLst>
              <p:tags r:id="rId10"/>
            </p:custDataLst>
          </p:nvPr>
        </p:nvSpPr>
        <p:spPr/>
        <p:txBody>
          <a:bodyPr/>
          <a:lstStyle/>
          <a:p>
            <a:pPr>
              <a:buClr>
                <a:srgbClr val="FF0000"/>
              </a:buClr>
            </a:pPr>
            <a:r>
              <a:rPr lang="pl-PL" dirty="0">
                <a:cs typeface="Arial"/>
              </a:rPr>
              <a:t>Przyjęcie Dawcy do kliniki.</a:t>
            </a:r>
          </a:p>
        </p:txBody>
      </p:sp>
      <p:sp>
        <p:nvSpPr>
          <p:cNvPr id="24" name="Textplatzhalter 23">
            <a:extLst>
              <a:ext uri="{FF2B5EF4-FFF2-40B4-BE49-F238E27FC236}">
                <a16:creationId xmlns:a16="http://schemas.microsoft.com/office/drawing/2014/main" id="{C53E19BA-DAF6-0B8C-24AD-F029CC010F1B}"/>
              </a:ext>
            </a:extLst>
          </p:cNvPr>
          <p:cNvSpPr>
            <a:spLocks noGrp="1"/>
          </p:cNvSpPr>
          <p:nvPr>
            <p:ph type="body" sz="quarter" idx="23"/>
            <p:custDataLst>
              <p:tags r:id="rId11"/>
            </p:custDataLst>
          </p:nvPr>
        </p:nvSpPr>
        <p:spPr>
          <a:xfrm>
            <a:off x="5681919" y="540001"/>
            <a:ext cx="2130585" cy="684001"/>
          </a:xfrm>
        </p:spPr>
        <p:txBody>
          <a:bodyPr/>
          <a:lstStyle/>
          <a:p>
            <a:pPr lvl="2"/>
            <a:r>
              <a:rPr lang="pl-PL" noProof="0" dirty="0"/>
              <a:t>Dzień </a:t>
            </a:r>
            <a:r>
              <a:rPr lang="pl-PL" dirty="0"/>
              <a:t>1</a:t>
            </a:r>
            <a:endParaRPr lang="pl-PL" noProof="0" dirty="0"/>
          </a:p>
        </p:txBody>
      </p:sp>
      <p:sp>
        <p:nvSpPr>
          <p:cNvPr id="4" name="Fußzeilenplatzhalter 3">
            <a:extLst>
              <a:ext uri="{FF2B5EF4-FFF2-40B4-BE49-F238E27FC236}">
                <a16:creationId xmlns:a16="http://schemas.microsoft.com/office/drawing/2014/main" id="{0FD80FE3-6592-F992-9D80-D730D9DA4D9D}"/>
              </a:ext>
            </a:extLst>
          </p:cNvPr>
          <p:cNvSpPr>
            <a:spLocks noGrp="1"/>
          </p:cNvSpPr>
          <p:nvPr>
            <p:ph type="ftr" sz="quarter" idx="31"/>
            <p:custDataLst>
              <p:tags r:id="rId12"/>
            </p:custDataLst>
          </p:nvPr>
        </p:nvSpPr>
        <p:spPr/>
        <p:txBody>
          <a:bodyPr/>
          <a:lstStyle/>
          <a:p>
            <a:r>
              <a:rPr lang="pl-PL"/>
              <a:t>Najważniejsze informacje o dawstwie szpiku - Prezentacja w ramach projektu #KOMÓRKOMANIA | C1 - publiczna</a:t>
            </a:r>
            <a:endParaRPr lang="pl-PL" dirty="0"/>
          </a:p>
        </p:txBody>
      </p:sp>
      <p:sp>
        <p:nvSpPr>
          <p:cNvPr id="6" name="Foliennummernplatzhalter 5">
            <a:extLst>
              <a:ext uri="{FF2B5EF4-FFF2-40B4-BE49-F238E27FC236}">
                <a16:creationId xmlns:a16="http://schemas.microsoft.com/office/drawing/2014/main" id="{C62DB57B-2566-5A8A-84A7-860CCA19F8E6}"/>
              </a:ext>
            </a:extLst>
          </p:cNvPr>
          <p:cNvSpPr>
            <a:spLocks noGrp="1"/>
          </p:cNvSpPr>
          <p:nvPr>
            <p:ph type="sldNum" sz="quarter" idx="32"/>
            <p:custDataLst>
              <p:tags r:id="rId13"/>
            </p:custDataLst>
          </p:nvPr>
        </p:nvSpPr>
        <p:spPr/>
        <p:txBody>
          <a:bodyPr/>
          <a:lstStyle/>
          <a:p>
            <a:fld id="{92DB0D90-6264-4E90-9724-ABC670DBF4FB}" type="slidenum">
              <a:rPr lang="pl-PL" noProof="0" smtClean="0"/>
              <a:pPr/>
              <a:t>15</a:t>
            </a:fld>
            <a:endParaRPr lang="pl-PL" noProof="0" dirty="0"/>
          </a:p>
        </p:txBody>
      </p:sp>
      <p:pic>
        <p:nvPicPr>
          <p:cNvPr id="10" name="Picture Placeholder 9">
            <a:extLst>
              <a:ext uri="{FF2B5EF4-FFF2-40B4-BE49-F238E27FC236}">
                <a16:creationId xmlns:a16="http://schemas.microsoft.com/office/drawing/2014/main" id="{C8C94BB6-DB67-4F87-87B3-2EA68E327D94}"/>
              </a:ext>
            </a:extLst>
          </p:cNvPr>
          <p:cNvPicPr>
            <a:picLocks noGrp="1" noChangeAspect="1"/>
          </p:cNvPicPr>
          <p:nvPr>
            <p:ph type="pic" sz="quarter" idx="42"/>
          </p:nvPr>
        </p:nvPicPr>
        <p:blipFill rotWithShape="1">
          <a:blip r:embed="rId16"/>
          <a:srcRect t="7924" b="7924"/>
          <a:stretch/>
        </p:blipFill>
        <p:spPr>
          <a:xfrm>
            <a:off x="8846598" y="540001"/>
            <a:ext cx="2985040" cy="2708999"/>
          </a:xfrm>
        </p:spPr>
      </p:pic>
    </p:spTree>
    <p:extLst>
      <p:ext uri="{BB962C8B-B14F-4D97-AF65-F5344CB8AC3E}">
        <p14:creationId xmlns:p14="http://schemas.microsoft.com/office/powerpoint/2010/main" val="21537869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pPr lvl="1"/>
            <a:r>
              <a:rPr lang="pl-PL" dirty="0"/>
              <a:t>Co warto wiedzieć?</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Ważne informacje </a:t>
            </a:r>
            <a:br>
              <a:rPr lang="pl-PL" dirty="0"/>
            </a:br>
            <a:r>
              <a:rPr lang="pl-PL" dirty="0"/>
              <a:t>dla Dawcy</a:t>
            </a:r>
          </a:p>
        </p:txBody>
      </p:sp>
    </p:spTree>
    <p:extLst>
      <p:ext uri="{BB962C8B-B14F-4D97-AF65-F5344CB8AC3E}">
        <p14:creationId xmlns:p14="http://schemas.microsoft.com/office/powerpoint/2010/main" val="36765697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dirty="0"/>
              <a:t>#</a:t>
            </a:r>
            <a:r>
              <a:rPr lang="pl-PL" noProof="0" dirty="0"/>
              <a:t>Komórkomania</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2"/>
            </p:custDataLst>
          </p:nvPr>
        </p:nvSpPr>
        <p:spPr/>
        <p:txBody>
          <a:bodyPr/>
          <a:lstStyle/>
          <a:p>
            <a:r>
              <a:rPr lang="pl-PL" dirty="0"/>
              <a:t>Co jeszcze trzeba wiedzieć odnośnie pobrania szpiku?</a:t>
            </a:r>
            <a:endParaRPr lang="pl-PL" noProof="0" dirty="0"/>
          </a:p>
        </p:txBody>
      </p:sp>
      <p:sp>
        <p:nvSpPr>
          <p:cNvPr id="14" name="Textplatzhalter 13">
            <a:extLst>
              <a:ext uri="{FF2B5EF4-FFF2-40B4-BE49-F238E27FC236}">
                <a16:creationId xmlns:a16="http://schemas.microsoft.com/office/drawing/2014/main" id="{1131E51E-0F25-533D-4AE0-DA12F8A63636}"/>
              </a:ext>
            </a:extLst>
          </p:cNvPr>
          <p:cNvSpPr>
            <a:spLocks noGrp="1"/>
          </p:cNvSpPr>
          <p:nvPr>
            <p:ph type="body" sz="quarter" idx="17"/>
            <p:custDataLst>
              <p:tags r:id="rId3"/>
            </p:custDataLst>
          </p:nvPr>
        </p:nvSpPr>
        <p:spPr>
          <a:xfrm>
            <a:off x="6545264" y="1548000"/>
            <a:ext cx="5286374" cy="4586400"/>
          </a:xfrm>
        </p:spPr>
        <p:txBody>
          <a:bodyPr/>
          <a:lstStyle/>
          <a:p>
            <a:pPr lvl="0"/>
            <a:endParaRPr lang="pl-PL" dirty="0"/>
          </a:p>
          <a:p>
            <a:pPr lvl="0"/>
            <a:r>
              <a:rPr lang="pl-PL" dirty="0"/>
              <a:t>Decyzja o wyborze jednej z przedstawionych metod pobrania komórek macierzystych uzależniona jest od stanu zdrowia Pacjenta oraz od decyzji jego lekarza prowadzącego. </a:t>
            </a:r>
          </a:p>
          <a:p>
            <a:pPr lvl="0"/>
            <a:endParaRPr lang="pl-PL" dirty="0"/>
          </a:p>
          <a:p>
            <a:pPr lvl="0"/>
            <a:r>
              <a:rPr lang="pl-PL" dirty="0"/>
              <a:t>Jeśli Dawca preferuje tylko jedną z metod lub jego stan zdrowia pozwala na przeprowadzenie pobrania wyłącznie jedną z wymienionych metod, rejestracja jako potencjalny Dawca szpiku nadal jest możliwa, a pobranie zostanie przeprowadzone sposobem zgodnym z preferencjami </a:t>
            </a:r>
            <a:br>
              <a:rPr lang="pl-PL" dirty="0"/>
            </a:br>
            <a:r>
              <a:rPr lang="pl-PL" dirty="0"/>
              <a:t>i możliwościami Dawcy. </a:t>
            </a:r>
          </a:p>
          <a:p>
            <a:pPr lvl="0"/>
            <a:r>
              <a:rPr lang="pl-PL" b="1" dirty="0"/>
              <a:t>W przypadku braku przeciwwskazań, Dawca powinien być przygotowany na obie metody. </a:t>
            </a:r>
            <a:br>
              <a:rPr lang="pl-PL" dirty="0"/>
            </a:br>
            <a:br>
              <a:rPr lang="pl-PL" dirty="0"/>
            </a:br>
            <a:endParaRPr lang="pl-PL" dirty="0"/>
          </a:p>
          <a:p>
            <a:pPr lvl="0"/>
            <a:endParaRPr lang="pl-PL" dirty="0"/>
          </a:p>
          <a:p>
            <a:pPr lvl="0"/>
            <a:endParaRPr lang="pl-PL" dirty="0"/>
          </a:p>
          <a:p>
            <a:pPr lvl="0"/>
            <a:endParaRPr lang="pl-PL" dirty="0"/>
          </a:p>
        </p:txBody>
      </p:sp>
      <p:sp>
        <p:nvSpPr>
          <p:cNvPr id="3" name="Datumsplatzhalter 2">
            <a:extLst>
              <a:ext uri="{FF2B5EF4-FFF2-40B4-BE49-F238E27FC236}">
                <a16:creationId xmlns:a16="http://schemas.microsoft.com/office/drawing/2014/main" id="{C36F0EB0-29A7-925C-E4DF-686ED51A2024}"/>
              </a:ext>
            </a:extLst>
          </p:cNvPr>
          <p:cNvSpPr>
            <a:spLocks noGrp="1"/>
          </p:cNvSpPr>
          <p:nvPr>
            <p:ph type="dt" sz="half" idx="19"/>
            <p:custDataLst>
              <p:tags r:id="rId4"/>
            </p:custDataLst>
          </p:nvPr>
        </p:nvSpPr>
        <p:spPr/>
        <p:txBody>
          <a:bodyPr/>
          <a:lstStyle/>
          <a:p>
            <a:r>
              <a:rPr lang="en-US"/>
              <a:t>01.08.2023</a:t>
            </a:r>
            <a:endParaRPr lang="pl-PL" dirty="0"/>
          </a:p>
        </p:txBody>
      </p:sp>
      <p:sp>
        <p:nvSpPr>
          <p:cNvPr id="6" name="Foliennummernplatzhalter 5">
            <a:extLst>
              <a:ext uri="{FF2B5EF4-FFF2-40B4-BE49-F238E27FC236}">
                <a16:creationId xmlns:a16="http://schemas.microsoft.com/office/drawing/2014/main" id="{8B1C06C5-7EF1-58FE-19F0-9A6A9C9477DB}"/>
              </a:ext>
            </a:extLst>
          </p:cNvPr>
          <p:cNvSpPr>
            <a:spLocks noGrp="1"/>
          </p:cNvSpPr>
          <p:nvPr>
            <p:ph type="sldNum" sz="quarter" idx="21"/>
            <p:custDataLst>
              <p:tags r:id="rId5"/>
            </p:custDataLst>
          </p:nvPr>
        </p:nvSpPr>
        <p:spPr/>
        <p:txBody>
          <a:bodyPr/>
          <a:lstStyle/>
          <a:p>
            <a:fld id="{92DB0D90-6264-4E90-9724-ABC670DBF4FB}" type="slidenum">
              <a:rPr lang="pl-PL" smtClean="0"/>
              <a:pPr/>
              <a:t>17</a:t>
            </a:fld>
            <a:endParaRPr lang="pl-PL" dirty="0"/>
          </a:p>
        </p:txBody>
      </p:sp>
      <p:pic>
        <p:nvPicPr>
          <p:cNvPr id="13" name="Picture Placeholder 12">
            <a:extLst>
              <a:ext uri="{FF2B5EF4-FFF2-40B4-BE49-F238E27FC236}">
                <a16:creationId xmlns:a16="http://schemas.microsoft.com/office/drawing/2014/main" id="{FC1D4E36-87F2-4C68-B797-BC113ACE164C}"/>
              </a:ext>
            </a:extLst>
          </p:cNvPr>
          <p:cNvPicPr>
            <a:picLocks noGrp="1" noChangeAspect="1"/>
          </p:cNvPicPr>
          <p:nvPr>
            <p:ph type="pic" sz="quarter" idx="18"/>
          </p:nvPr>
        </p:nvPicPr>
        <p:blipFill>
          <a:blip r:embed="rId8"/>
          <a:srcRect l="22556" r="22556"/>
          <a:stretch>
            <a:fillRect/>
          </a:stretch>
        </p:blipFill>
        <p:spPr/>
      </p:pic>
    </p:spTree>
    <p:extLst>
      <p:ext uri="{BB962C8B-B14F-4D97-AF65-F5344CB8AC3E}">
        <p14:creationId xmlns:p14="http://schemas.microsoft.com/office/powerpoint/2010/main" val="33737078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a:xfrm>
            <a:off x="1673495" y="1548000"/>
            <a:ext cx="8753205" cy="4586400"/>
          </a:xfrm>
        </p:spPr>
        <p:txBody>
          <a:bodyPr/>
          <a:lstStyle/>
          <a:p>
            <a:pPr lvl="0" fontAlgn="auto">
              <a:defRPr/>
            </a:pPr>
            <a:r>
              <a:rPr lang="pl-PL" sz="1100" b="1" dirty="0">
                <a:solidFill>
                  <a:srgbClr val="000000"/>
                </a:solidFill>
              </a:rPr>
              <a:t>Ubezpieczenie</a:t>
            </a:r>
          </a:p>
          <a:p>
            <a:pPr lvl="0" fontAlgn="auto">
              <a:defRPr/>
            </a:pPr>
            <a:r>
              <a:rPr lang="pl-PL" sz="1100" dirty="0">
                <a:solidFill>
                  <a:srgbClr val="000000"/>
                </a:solidFill>
              </a:rPr>
              <a:t>Na czas badań wstępnych, pobrania i na rok po pobraniu Dawca jest ubezpieczony na kwotę 150 tys. euro.</a:t>
            </a:r>
          </a:p>
          <a:p>
            <a:pPr lvl="0" fontAlgn="auto">
              <a:defRPr/>
            </a:pPr>
            <a:endParaRPr lang="pl-PL" sz="1100" dirty="0">
              <a:solidFill>
                <a:srgbClr val="000000"/>
              </a:solidFill>
            </a:endParaRPr>
          </a:p>
          <a:p>
            <a:pPr lvl="0" fontAlgn="auto">
              <a:defRPr/>
            </a:pPr>
            <a:r>
              <a:rPr lang="pl-PL" sz="1100" b="1" dirty="0">
                <a:solidFill>
                  <a:srgbClr val="000000"/>
                </a:solidFill>
              </a:rPr>
              <a:t>Zwrot kosztów</a:t>
            </a:r>
          </a:p>
          <a:p>
            <a:pPr lvl="0" fontAlgn="auto">
              <a:defRPr/>
            </a:pPr>
            <a:r>
              <a:rPr lang="pl-PL" sz="1100" dirty="0">
                <a:solidFill>
                  <a:srgbClr val="000000"/>
                </a:solidFill>
              </a:rPr>
              <a:t>Dawca nie ponosi żadnych kosztów związanych z rejestracją w bazie potencjalnych Dawców szpiku i pobraniem krwiotwórczych komórek macierzystych.</a:t>
            </a:r>
          </a:p>
          <a:p>
            <a:pPr lvl="0" fontAlgn="auto">
              <a:defRPr/>
            </a:pPr>
            <a:endParaRPr lang="pl-PL" sz="1100" dirty="0">
              <a:solidFill>
                <a:srgbClr val="000000"/>
              </a:solidFill>
            </a:endParaRPr>
          </a:p>
          <a:p>
            <a:pPr lvl="0" fontAlgn="auto">
              <a:defRPr/>
            </a:pPr>
            <a:r>
              <a:rPr lang="pl-PL" sz="1100" b="1" dirty="0">
                <a:solidFill>
                  <a:srgbClr val="000000"/>
                </a:solidFill>
              </a:rPr>
              <a:t>Zwolnienie lekarskie</a:t>
            </a:r>
          </a:p>
          <a:p>
            <a:pPr lvl="0" fontAlgn="auto">
              <a:defRPr/>
            </a:pPr>
            <a:r>
              <a:rPr lang="pl-PL" sz="1100" dirty="0">
                <a:solidFill>
                  <a:srgbClr val="000000"/>
                </a:solidFill>
              </a:rPr>
              <a:t>Na czas badań wstępnych i pobrania przysługują Dawcy dni wolne od szkoły i pracy.</a:t>
            </a:r>
          </a:p>
          <a:p>
            <a:pPr lvl="0" fontAlgn="auto">
              <a:defRPr/>
            </a:pPr>
            <a:endParaRPr lang="pl-PL" sz="1100" dirty="0">
              <a:solidFill>
                <a:srgbClr val="000000"/>
              </a:solidFill>
            </a:endParaRPr>
          </a:p>
          <a:p>
            <a:pPr lvl="0" fontAlgn="auto">
              <a:defRPr/>
            </a:pPr>
            <a:r>
              <a:rPr lang="pl-PL" sz="1100" b="1" dirty="0">
                <a:solidFill>
                  <a:srgbClr val="000000"/>
                </a:solidFill>
              </a:rPr>
              <a:t>Monitorowanie stanu zdrowia</a:t>
            </a:r>
          </a:p>
          <a:p>
            <a:pPr lvl="0" fontAlgn="auto">
              <a:defRPr/>
            </a:pPr>
            <a:r>
              <a:rPr lang="pl-PL" sz="1100" dirty="0">
                <a:solidFill>
                  <a:srgbClr val="000000"/>
                </a:solidFill>
              </a:rPr>
              <a:t>Niezależnie od zastosowanej metody pobrania krwiotwórczych komórek macierzystych, stan zdrowia naszych Dawców jest monitorowany.</a:t>
            </a:r>
          </a:p>
          <a:p>
            <a:pPr lvl="0" fontAlgn="auto">
              <a:defRPr/>
            </a:pPr>
            <a:endParaRPr lang="pl-PL" sz="1100" dirty="0">
              <a:solidFill>
                <a:srgbClr val="000000"/>
              </a:solidFill>
            </a:endParaRPr>
          </a:p>
          <a:p>
            <a:pPr lvl="0" fontAlgn="auto">
              <a:defRPr/>
            </a:pPr>
            <a:r>
              <a:rPr lang="pl-PL" sz="1100" b="1" dirty="0">
                <a:solidFill>
                  <a:srgbClr val="000000"/>
                </a:solidFill>
              </a:rPr>
              <a:t>Przywileje Dawcy</a:t>
            </a:r>
          </a:p>
          <a:p>
            <a:pPr lvl="0" fontAlgn="auto">
              <a:defRPr/>
            </a:pPr>
            <a:r>
              <a:rPr lang="pl-PL" sz="1100" dirty="0">
                <a:solidFill>
                  <a:srgbClr val="000000"/>
                </a:solidFill>
              </a:rPr>
              <a:t>Każdemu Dawcy, w zależności od liczby pobrań, przysługuje odznaka „Dawcy Przeszczepu“ lub „Zasłużonego Dawcy Przeszczepu“ (Dz. U. nr 23, poz. 119).</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Ważne informacje dla Dawcy</a:t>
            </a:r>
          </a:p>
        </p:txBody>
      </p:sp>
      <p:sp>
        <p:nvSpPr>
          <p:cNvPr id="2" name="Datumsplatzhalter 1">
            <a:extLst>
              <a:ext uri="{FF2B5EF4-FFF2-40B4-BE49-F238E27FC236}">
                <a16:creationId xmlns:a16="http://schemas.microsoft.com/office/drawing/2014/main" id="{92685F48-0001-5731-9242-C2D66739A604}"/>
              </a:ext>
            </a:extLst>
          </p:cNvPr>
          <p:cNvSpPr>
            <a:spLocks noGrp="1"/>
          </p:cNvSpPr>
          <p:nvPr>
            <p:ph type="dt" sz="half" idx="18"/>
            <p:custDataLst>
              <p:tags r:id="rId4"/>
            </p:custDataLst>
          </p:nvPr>
        </p:nvSpPr>
        <p:spPr/>
        <p:txBody>
          <a:bodyPr/>
          <a:lstStyle/>
          <a:p>
            <a:pPr algn="r"/>
            <a:r>
              <a:rPr lang="en-US"/>
              <a:t>01.08.2023</a:t>
            </a:r>
            <a:endParaRPr lang="pl-PL" dirty="0"/>
          </a:p>
        </p:txBody>
      </p:sp>
      <p:sp>
        <p:nvSpPr>
          <p:cNvPr id="19" name="x" hidden="1">
            <a:extLst>
              <a:ext uri="{FF2B5EF4-FFF2-40B4-BE49-F238E27FC236}">
                <a16:creationId xmlns:a16="http://schemas.microsoft.com/office/drawing/2014/main" id="{417488D7-B147-04C0-E8A7-7F03F39759CC}"/>
              </a:ext>
            </a:extLst>
          </p:cNvPr>
          <p:cNvSpPr>
            <a:spLocks/>
          </p:cNvSpPr>
          <p:nvPr>
            <p:custDataLst>
              <p:tags r:id="rId5"/>
            </p:custDataLst>
          </p:nvPr>
        </p:nvSpPr>
        <p:spPr>
          <a:xfrm>
            <a:off x="4969007" y="0"/>
            <a:ext cx="7222993" cy="6858000"/>
          </a:xfrm>
          <a:custGeom>
            <a:avLst/>
            <a:gdLst>
              <a:gd name="connsiteX0" fmla="*/ 4150 w 7222993"/>
              <a:gd name="connsiteY0" fmla="*/ 0 h 6858000"/>
              <a:gd name="connsiteX1" fmla="*/ 3802510 w 7222993"/>
              <a:gd name="connsiteY1" fmla="*/ 0 h 6858000"/>
              <a:gd name="connsiteX2" fmla="*/ 3937724 w 7222993"/>
              <a:gd name="connsiteY2" fmla="*/ 176004 h 6858000"/>
              <a:gd name="connsiteX3" fmla="*/ 4532746 w 7222993"/>
              <a:gd name="connsiteY3" fmla="*/ 950582 h 6858000"/>
              <a:gd name="connsiteX4" fmla="*/ 5128001 w 7222993"/>
              <a:gd name="connsiteY4" fmla="*/ 176004 h 6858000"/>
              <a:gd name="connsiteX5" fmla="*/ 5263257 w 7222993"/>
              <a:gd name="connsiteY5" fmla="*/ 0 h 6858000"/>
              <a:gd name="connsiteX6" fmla="*/ 7222993 w 7222993"/>
              <a:gd name="connsiteY6" fmla="*/ 0 h 6858000"/>
              <a:gd name="connsiteX7" fmla="*/ 7222993 w 7222993"/>
              <a:gd name="connsiteY7" fmla="*/ 2397406 h 6858000"/>
              <a:gd name="connsiteX8" fmla="*/ 7054306 w 7222993"/>
              <a:gd name="connsiteY8" fmla="*/ 2617281 h 6858000"/>
              <a:gd name="connsiteX9" fmla="*/ 6433581 w 7222993"/>
              <a:gd name="connsiteY9" fmla="*/ 3426358 h 6858000"/>
              <a:gd name="connsiteX10" fmla="*/ 7054306 w 7222993"/>
              <a:gd name="connsiteY10" fmla="*/ 4235131 h 6858000"/>
              <a:gd name="connsiteX11" fmla="*/ 7222993 w 7222993"/>
              <a:gd name="connsiteY11" fmla="*/ 4454974 h 6858000"/>
              <a:gd name="connsiteX12" fmla="*/ 7222993 w 7222993"/>
              <a:gd name="connsiteY12" fmla="*/ 6858000 h 6858000"/>
              <a:gd name="connsiteX13" fmla="*/ 5267004 w 7222993"/>
              <a:gd name="connsiteY13" fmla="*/ 6858000 h 6858000"/>
              <a:gd name="connsiteX14" fmla="*/ 5128001 w 7222993"/>
              <a:gd name="connsiteY14" fmla="*/ 6677066 h 6858000"/>
              <a:gd name="connsiteX15" fmla="*/ 4532746 w 7222993"/>
              <a:gd name="connsiteY15" fmla="*/ 5902032 h 6858000"/>
              <a:gd name="connsiteX16" fmla="*/ 3937724 w 7222993"/>
              <a:gd name="connsiteY16" fmla="*/ 6677066 h 6858000"/>
              <a:gd name="connsiteX17" fmla="*/ 3798764 w 7222993"/>
              <a:gd name="connsiteY17" fmla="*/ 6858000 h 6858000"/>
              <a:gd name="connsiteX18" fmla="*/ 0 w 7222993"/>
              <a:gd name="connsiteY18" fmla="*/ 6858000 h 6858000"/>
              <a:gd name="connsiteX19" fmla="*/ 43680 w 7222993"/>
              <a:gd name="connsiteY19" fmla="*/ 6801008 h 6858000"/>
              <a:gd name="connsiteX20" fmla="*/ 2632413 w 7222993"/>
              <a:gd name="connsiteY20" fmla="*/ 3426358 h 6858000"/>
              <a:gd name="connsiteX21" fmla="*/ 43680 w 7222993"/>
              <a:gd name="connsiteY21" fmla="*/ 515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22993" h="6858000">
                <a:moveTo>
                  <a:pt x="4150" y="0"/>
                </a:moveTo>
                <a:lnTo>
                  <a:pt x="3802510" y="0"/>
                </a:lnTo>
                <a:lnTo>
                  <a:pt x="3937724" y="176004"/>
                </a:lnTo>
                <a:cubicBezTo>
                  <a:pt x="4124821" y="419551"/>
                  <a:pt x="4324386" y="679345"/>
                  <a:pt x="4532746" y="950582"/>
                </a:cubicBezTo>
                <a:cubicBezTo>
                  <a:pt x="4741200" y="679345"/>
                  <a:pt x="4940842" y="419551"/>
                  <a:pt x="5128001" y="176004"/>
                </a:cubicBezTo>
                <a:lnTo>
                  <a:pt x="5263257" y="0"/>
                </a:lnTo>
                <a:lnTo>
                  <a:pt x="7222993" y="0"/>
                </a:lnTo>
                <a:lnTo>
                  <a:pt x="7222993" y="2397406"/>
                </a:lnTo>
                <a:lnTo>
                  <a:pt x="7054306" y="2617281"/>
                </a:lnTo>
                <a:cubicBezTo>
                  <a:pt x="6850616" y="2882777"/>
                  <a:pt x="6642771" y="3153687"/>
                  <a:pt x="6433581" y="3426358"/>
                </a:cubicBezTo>
                <a:cubicBezTo>
                  <a:pt x="6642771" y="3698878"/>
                  <a:pt x="6850616" y="3969692"/>
                  <a:pt x="7054306" y="4235131"/>
                </a:cubicBezTo>
                <a:lnTo>
                  <a:pt x="7222993" y="4454974"/>
                </a:lnTo>
                <a:lnTo>
                  <a:pt x="7222993" y="6858000"/>
                </a:lnTo>
                <a:lnTo>
                  <a:pt x="5267004" y="6858000"/>
                </a:lnTo>
                <a:lnTo>
                  <a:pt x="5128001" y="6677066"/>
                </a:lnTo>
                <a:cubicBezTo>
                  <a:pt x="4940842" y="6433432"/>
                  <a:pt x="4741200" y="6173496"/>
                  <a:pt x="4532746" y="5902032"/>
                </a:cubicBezTo>
                <a:cubicBezTo>
                  <a:pt x="4324386" y="6173496"/>
                  <a:pt x="4124821" y="6433432"/>
                  <a:pt x="3937724" y="6677066"/>
                </a:cubicBezTo>
                <a:lnTo>
                  <a:pt x="3798764" y="6858000"/>
                </a:lnTo>
                <a:lnTo>
                  <a:pt x="0" y="6858000"/>
                </a:lnTo>
                <a:lnTo>
                  <a:pt x="43680" y="6801008"/>
                </a:lnTo>
                <a:cubicBezTo>
                  <a:pt x="675395" y="5976822"/>
                  <a:pt x="1638763" y="4720827"/>
                  <a:pt x="2632413" y="3426358"/>
                </a:cubicBezTo>
                <a:cubicBezTo>
                  <a:pt x="1638763" y="2131172"/>
                  <a:pt x="675395" y="875701"/>
                  <a:pt x="43680" y="51575"/>
                </a:cubicBezTo>
                <a:close/>
              </a:path>
            </a:pathLst>
          </a:custGeom>
          <a:noFill/>
          <a:ln w="12700" cap="flat">
            <a:solidFill>
              <a:schemeClr val="accent3"/>
            </a:solidFill>
            <a:prstDash val="solid"/>
            <a:round/>
          </a:ln>
        </p:spPr>
        <p:txBody>
          <a:bodyPr lIns="73152" tIns="36576" rIns="73152" bIns="36576" rtlCol="0" anchor="ctr"/>
          <a:lstStyle/>
          <a:p>
            <a:endParaRPr lang="pl-PL" dirty="0"/>
          </a:p>
        </p:txBody>
      </p:sp>
      <p:sp>
        <p:nvSpPr>
          <p:cNvPr id="6" name="Fußzeilenplatzhalter 5">
            <a:extLst>
              <a:ext uri="{FF2B5EF4-FFF2-40B4-BE49-F238E27FC236}">
                <a16:creationId xmlns:a16="http://schemas.microsoft.com/office/drawing/2014/main" id="{D4D45781-9AC0-24DC-2D4D-0DEB2E7CCDEF}"/>
              </a:ext>
            </a:extLst>
          </p:cNvPr>
          <p:cNvSpPr>
            <a:spLocks noGrp="1"/>
          </p:cNvSpPr>
          <p:nvPr>
            <p:ph type="ftr" sz="quarter" idx="19"/>
            <p:custDataLst>
              <p:tags r:id="rId6"/>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CC8D1106-6BA1-0C66-A163-77136844215B}"/>
              </a:ext>
            </a:extLst>
          </p:cNvPr>
          <p:cNvSpPr>
            <a:spLocks noGrp="1"/>
          </p:cNvSpPr>
          <p:nvPr>
            <p:ph type="sldNum" sz="quarter" idx="20"/>
            <p:custDataLst>
              <p:tags r:id="rId7"/>
            </p:custDataLst>
          </p:nvPr>
        </p:nvSpPr>
        <p:spPr/>
        <p:txBody>
          <a:bodyPr/>
          <a:lstStyle/>
          <a:p>
            <a:fld id="{92DB0D90-6264-4E90-9724-ABC670DBF4FB}" type="slidenum">
              <a:rPr lang="pl-PL" smtClean="0"/>
              <a:pPr/>
              <a:t>18</a:t>
            </a:fld>
            <a:endParaRPr lang="pl-PL" dirty="0"/>
          </a:p>
        </p:txBody>
      </p:sp>
      <p:grpSp>
        <p:nvGrpSpPr>
          <p:cNvPr id="12" name="Gruppieren 214">
            <a:extLst>
              <a:ext uri="{FF2B5EF4-FFF2-40B4-BE49-F238E27FC236}">
                <a16:creationId xmlns:a16="http://schemas.microsoft.com/office/drawing/2014/main" id="{5F305F9B-F1D1-4A60-BD0E-6E04CDE08106}"/>
              </a:ext>
            </a:extLst>
          </p:cNvPr>
          <p:cNvGrpSpPr/>
          <p:nvPr>
            <p:custDataLst>
              <p:tags r:id="rId8"/>
            </p:custDataLst>
          </p:nvPr>
        </p:nvGrpSpPr>
        <p:grpSpPr>
          <a:xfrm>
            <a:off x="1055610" y="1548000"/>
            <a:ext cx="442451" cy="442451"/>
            <a:chOff x="2871875" y="5785978"/>
            <a:chExt cx="442451" cy="442451"/>
          </a:xfrm>
        </p:grpSpPr>
        <p:sp>
          <p:nvSpPr>
            <p:cNvPr id="13" name="Ellipse 189">
              <a:extLst>
                <a:ext uri="{FF2B5EF4-FFF2-40B4-BE49-F238E27FC236}">
                  <a16:creationId xmlns:a16="http://schemas.microsoft.com/office/drawing/2014/main" id="{1B388632-F983-42A0-BF94-78418C83E52B}"/>
                </a:ext>
              </a:extLst>
            </p:cNvPr>
            <p:cNvSpPr>
              <a:spLocks/>
            </p:cNvSpPr>
            <p:nvPr/>
          </p:nvSpPr>
          <p:spPr>
            <a:xfrm>
              <a:off x="2871875" y="5785978"/>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14" name="Grafik 140">
              <a:extLst>
                <a:ext uri="{FF2B5EF4-FFF2-40B4-BE49-F238E27FC236}">
                  <a16:creationId xmlns:a16="http://schemas.microsoft.com/office/drawing/2014/main" id="{570A390D-7CBB-490D-8364-30656164454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950226" y="5864328"/>
              <a:ext cx="285750" cy="285750"/>
            </a:xfrm>
            <a:prstGeom prst="rect">
              <a:avLst/>
            </a:prstGeom>
          </p:spPr>
        </p:pic>
      </p:grpSp>
      <p:grpSp>
        <p:nvGrpSpPr>
          <p:cNvPr id="15" name="Gruppieren 222">
            <a:extLst>
              <a:ext uri="{FF2B5EF4-FFF2-40B4-BE49-F238E27FC236}">
                <a16:creationId xmlns:a16="http://schemas.microsoft.com/office/drawing/2014/main" id="{A848FEA3-DB1A-43BB-A2E5-C1FDF198C6D0}"/>
              </a:ext>
            </a:extLst>
          </p:cNvPr>
          <p:cNvGrpSpPr/>
          <p:nvPr>
            <p:custDataLst>
              <p:tags r:id="rId9"/>
            </p:custDataLst>
          </p:nvPr>
        </p:nvGrpSpPr>
        <p:grpSpPr>
          <a:xfrm>
            <a:off x="1055608" y="2488500"/>
            <a:ext cx="442451" cy="442451"/>
            <a:chOff x="4742105" y="2574759"/>
            <a:chExt cx="442451" cy="442451"/>
          </a:xfrm>
        </p:grpSpPr>
        <p:sp>
          <p:nvSpPr>
            <p:cNvPr id="16" name="Ellipse 127">
              <a:extLst>
                <a:ext uri="{FF2B5EF4-FFF2-40B4-BE49-F238E27FC236}">
                  <a16:creationId xmlns:a16="http://schemas.microsoft.com/office/drawing/2014/main" id="{7B6BAEBB-0936-45FC-8969-A80AE736DAC5}"/>
                </a:ext>
              </a:extLst>
            </p:cNvPr>
            <p:cNvSpPr>
              <a:spLocks/>
            </p:cNvSpPr>
            <p:nvPr/>
          </p:nvSpPr>
          <p:spPr>
            <a:xfrm>
              <a:off x="4742105" y="2574759"/>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17" name="Grafik 46">
              <a:extLst>
                <a:ext uri="{FF2B5EF4-FFF2-40B4-BE49-F238E27FC236}">
                  <a16:creationId xmlns:a16="http://schemas.microsoft.com/office/drawing/2014/main" id="{0533D3A3-4D6D-4DCA-96ED-7EF75A1CE45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820455" y="2653109"/>
              <a:ext cx="285750" cy="285750"/>
            </a:xfrm>
            <a:prstGeom prst="rect">
              <a:avLst/>
            </a:prstGeom>
          </p:spPr>
        </p:pic>
      </p:grpSp>
      <p:grpSp>
        <p:nvGrpSpPr>
          <p:cNvPr id="18" name="Gruppieren 254">
            <a:extLst>
              <a:ext uri="{FF2B5EF4-FFF2-40B4-BE49-F238E27FC236}">
                <a16:creationId xmlns:a16="http://schemas.microsoft.com/office/drawing/2014/main" id="{E5D389B7-6AE3-4B9B-95B7-D813EECF1897}"/>
              </a:ext>
            </a:extLst>
          </p:cNvPr>
          <p:cNvGrpSpPr/>
          <p:nvPr>
            <p:custDataLst>
              <p:tags r:id="rId10"/>
            </p:custDataLst>
          </p:nvPr>
        </p:nvGrpSpPr>
        <p:grpSpPr>
          <a:xfrm>
            <a:off x="1055608" y="3460751"/>
            <a:ext cx="442451" cy="442451"/>
            <a:chOff x="9417665" y="4178495"/>
            <a:chExt cx="442451" cy="442451"/>
          </a:xfrm>
        </p:grpSpPr>
        <p:sp>
          <p:nvSpPr>
            <p:cNvPr id="20" name="Ellipse 171">
              <a:extLst>
                <a:ext uri="{FF2B5EF4-FFF2-40B4-BE49-F238E27FC236}">
                  <a16:creationId xmlns:a16="http://schemas.microsoft.com/office/drawing/2014/main" id="{53030D00-D88D-480A-9C83-DA7C878F625E}"/>
                </a:ext>
              </a:extLst>
            </p:cNvPr>
            <p:cNvSpPr>
              <a:spLocks/>
            </p:cNvSpPr>
            <p:nvPr/>
          </p:nvSpPr>
          <p:spPr>
            <a:xfrm>
              <a:off x="9417665" y="4178495"/>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21" name="Grafik 106">
              <a:extLst>
                <a:ext uri="{FF2B5EF4-FFF2-40B4-BE49-F238E27FC236}">
                  <a16:creationId xmlns:a16="http://schemas.microsoft.com/office/drawing/2014/main" id="{443ED92D-BBCF-4588-B2F0-15EB9C1C094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496025" y="4258719"/>
              <a:ext cx="285750" cy="285750"/>
            </a:xfrm>
            <a:prstGeom prst="rect">
              <a:avLst/>
            </a:prstGeom>
          </p:spPr>
        </p:pic>
      </p:grpSp>
      <p:grpSp>
        <p:nvGrpSpPr>
          <p:cNvPr id="22" name="Gruppieren 239">
            <a:extLst>
              <a:ext uri="{FF2B5EF4-FFF2-40B4-BE49-F238E27FC236}">
                <a16:creationId xmlns:a16="http://schemas.microsoft.com/office/drawing/2014/main" id="{2F7D9536-1B8E-456D-B988-0A132B7E653C}"/>
              </a:ext>
            </a:extLst>
          </p:cNvPr>
          <p:cNvGrpSpPr/>
          <p:nvPr>
            <p:custDataLst>
              <p:tags r:id="rId11"/>
            </p:custDataLst>
          </p:nvPr>
        </p:nvGrpSpPr>
        <p:grpSpPr>
          <a:xfrm>
            <a:off x="1055607" y="4290127"/>
            <a:ext cx="442451" cy="442451"/>
            <a:chOff x="7547445" y="1771954"/>
            <a:chExt cx="442451" cy="442451"/>
          </a:xfrm>
        </p:grpSpPr>
        <p:sp>
          <p:nvSpPr>
            <p:cNvPr id="23" name="Ellipse 107">
              <a:extLst>
                <a:ext uri="{FF2B5EF4-FFF2-40B4-BE49-F238E27FC236}">
                  <a16:creationId xmlns:a16="http://schemas.microsoft.com/office/drawing/2014/main" id="{F8E6D5E3-7243-4468-9E44-DA4A0212E49C}"/>
                </a:ext>
              </a:extLst>
            </p:cNvPr>
            <p:cNvSpPr>
              <a:spLocks/>
            </p:cNvSpPr>
            <p:nvPr/>
          </p:nvSpPr>
          <p:spPr>
            <a:xfrm>
              <a:off x="7547445" y="1771954"/>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26" name="Grafik 28">
              <a:extLst>
                <a:ext uri="{FF2B5EF4-FFF2-40B4-BE49-F238E27FC236}">
                  <a16:creationId xmlns:a16="http://schemas.microsoft.com/office/drawing/2014/main" id="{37E33A76-6FBD-4A74-9E11-73E372AD548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625797" y="1850304"/>
              <a:ext cx="285750" cy="285750"/>
            </a:xfrm>
            <a:prstGeom prst="rect">
              <a:avLst/>
            </a:prstGeom>
          </p:spPr>
        </p:pic>
      </p:grpSp>
      <p:grpSp>
        <p:nvGrpSpPr>
          <p:cNvPr id="27" name="Gruppieren 252">
            <a:extLst>
              <a:ext uri="{FF2B5EF4-FFF2-40B4-BE49-F238E27FC236}">
                <a16:creationId xmlns:a16="http://schemas.microsoft.com/office/drawing/2014/main" id="{9CCEC021-7C80-42E6-8F7C-039F9000E15B}"/>
              </a:ext>
            </a:extLst>
          </p:cNvPr>
          <p:cNvGrpSpPr/>
          <p:nvPr>
            <p:custDataLst>
              <p:tags r:id="rId12"/>
            </p:custDataLst>
          </p:nvPr>
        </p:nvGrpSpPr>
        <p:grpSpPr>
          <a:xfrm>
            <a:off x="1055606" y="5119503"/>
            <a:ext cx="442451" cy="442451"/>
            <a:chOff x="9417675" y="2574759"/>
            <a:chExt cx="442451" cy="442451"/>
          </a:xfrm>
        </p:grpSpPr>
        <p:sp>
          <p:nvSpPr>
            <p:cNvPr id="28" name="Ellipse 137">
              <a:extLst>
                <a:ext uri="{FF2B5EF4-FFF2-40B4-BE49-F238E27FC236}">
                  <a16:creationId xmlns:a16="http://schemas.microsoft.com/office/drawing/2014/main" id="{7EE8ACDF-4B8D-4C41-B0F5-48B5A63B6032}"/>
                </a:ext>
              </a:extLst>
            </p:cNvPr>
            <p:cNvSpPr>
              <a:spLocks/>
            </p:cNvSpPr>
            <p:nvPr/>
          </p:nvSpPr>
          <p:spPr>
            <a:xfrm>
              <a:off x="9417675" y="2574759"/>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29" name="Grafik 56">
              <a:extLst>
                <a:ext uri="{FF2B5EF4-FFF2-40B4-BE49-F238E27FC236}">
                  <a16:creationId xmlns:a16="http://schemas.microsoft.com/office/drawing/2014/main" id="{9BB6F1FA-4F6A-4B7E-B8CF-AE70C37F4A2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496025" y="2653109"/>
              <a:ext cx="285750" cy="285750"/>
            </a:xfrm>
            <a:prstGeom prst="rect">
              <a:avLst/>
            </a:prstGeom>
          </p:spPr>
        </p:pic>
      </p:grpSp>
    </p:spTree>
    <p:extLst>
      <p:ext uri="{BB962C8B-B14F-4D97-AF65-F5344CB8AC3E}">
        <p14:creationId xmlns:p14="http://schemas.microsoft.com/office/powerpoint/2010/main" val="33624206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D305A72-913A-132C-4F74-8786C32E7154}"/>
              </a:ext>
            </a:extLst>
          </p:cNvPr>
          <p:cNvSpPr>
            <a:spLocks noGrp="1"/>
          </p:cNvSpPr>
          <p:nvPr>
            <p:ph type="body" sz="quarter" idx="10"/>
            <p:custDataLst>
              <p:tags r:id="rId1"/>
            </p:custDataLst>
          </p:nvPr>
        </p:nvSpPr>
        <p:spPr>
          <a:xfrm>
            <a:off x="900000" y="3280068"/>
            <a:ext cx="3798107" cy="2534854"/>
          </a:xfrm>
        </p:spPr>
        <p:txBody>
          <a:bodyPr/>
          <a:lstStyle/>
          <a:p>
            <a:pPr>
              <a:lnSpc>
                <a:spcPct val="120000"/>
              </a:lnSpc>
            </a:pPr>
            <a:r>
              <a:rPr lang="pl-PL" dirty="0"/>
              <a:t>Funda</a:t>
            </a:r>
            <a:r>
              <a:rPr lang="de-DE" dirty="0" err="1"/>
              <a:t>cja</a:t>
            </a:r>
            <a:r>
              <a:rPr lang="pl-PL" dirty="0"/>
              <a:t> </a:t>
            </a:r>
            <a:r>
              <a:rPr lang="pl-PL" b="1" dirty="0">
                <a:solidFill>
                  <a:schemeClr val="accent1"/>
                </a:solidFill>
              </a:rPr>
              <a:t>DKMS</a:t>
            </a:r>
            <a:endParaRPr lang="pl-PL" dirty="0"/>
          </a:p>
          <a:p>
            <a:pPr>
              <a:lnSpc>
                <a:spcPct val="120000"/>
              </a:lnSpc>
            </a:pPr>
            <a:r>
              <a:rPr lang="pl-PL" dirty="0"/>
              <a:t>ul. Altowa 6/9</a:t>
            </a:r>
          </a:p>
          <a:p>
            <a:pPr>
              <a:lnSpc>
                <a:spcPct val="120000"/>
              </a:lnSpc>
            </a:pPr>
            <a:r>
              <a:rPr lang="pl-PL" dirty="0"/>
              <a:t>02-386 Warszawa</a:t>
            </a:r>
          </a:p>
          <a:p>
            <a:pPr>
              <a:lnSpc>
                <a:spcPct val="120000"/>
              </a:lnSpc>
            </a:pPr>
            <a:r>
              <a:rPr lang="pl-PL" dirty="0"/>
              <a:t>Polska</a:t>
            </a:r>
            <a:endParaRPr lang="de-DE" dirty="0"/>
          </a:p>
          <a:p>
            <a:pPr>
              <a:lnSpc>
                <a:spcPct val="120000"/>
              </a:lnSpc>
            </a:pPr>
            <a:endParaRPr lang="pl-PL" dirty="0"/>
          </a:p>
          <a:p>
            <a:pPr>
              <a:lnSpc>
                <a:spcPct val="120000"/>
              </a:lnSpc>
            </a:pPr>
            <a:r>
              <a:rPr lang="pl-PL" dirty="0"/>
              <a:t>T +48 22 882 94 00 </a:t>
            </a:r>
            <a:br>
              <a:rPr lang="pl-PL" dirty="0"/>
            </a:br>
            <a:r>
              <a:rPr lang="pl-PL" dirty="0"/>
              <a:t>F +48 22 882 94 02 </a:t>
            </a:r>
          </a:p>
          <a:p>
            <a:pPr>
              <a:lnSpc>
                <a:spcPct val="120000"/>
              </a:lnSpc>
            </a:pPr>
            <a:r>
              <a:rPr lang="pl-PL" dirty="0">
                <a:hlinkClick r:id="rId4"/>
              </a:rPr>
              <a:t>szkola@dkms.pl</a:t>
            </a:r>
            <a:endParaRPr lang="de-DE" dirty="0"/>
          </a:p>
          <a:p>
            <a:pPr>
              <a:lnSpc>
                <a:spcPct val="120000"/>
              </a:lnSpc>
            </a:pPr>
            <a:endParaRPr lang="de-DE" dirty="0"/>
          </a:p>
          <a:p>
            <a:pPr>
              <a:lnSpc>
                <a:spcPct val="120000"/>
              </a:lnSpc>
            </a:pPr>
            <a:r>
              <a:rPr lang="pl-PL" dirty="0" err="1"/>
              <a:t>dkms</a:t>
            </a:r>
            <a:r>
              <a:rPr lang="pl-PL" dirty="0"/>
              <a:t>.</a:t>
            </a:r>
            <a:r>
              <a:rPr lang="de-DE" dirty="0"/>
              <a:t>p</a:t>
            </a:r>
            <a:r>
              <a:rPr lang="pl-PL" dirty="0"/>
              <a:t>l</a:t>
            </a:r>
            <a:endParaRPr lang="de-DE" dirty="0"/>
          </a:p>
          <a:p>
            <a:pPr>
              <a:lnSpc>
                <a:spcPct val="120000"/>
              </a:lnSpc>
            </a:pPr>
            <a:endParaRPr lang="de-DE" dirty="0"/>
          </a:p>
          <a:p>
            <a:pPr>
              <a:lnSpc>
                <a:spcPct val="120000"/>
              </a:lnSpc>
            </a:pPr>
            <a:r>
              <a:rPr lang="pl-PL" dirty="0"/>
              <a:t>© DKMS 2024</a:t>
            </a:r>
          </a:p>
        </p:txBody>
      </p:sp>
    </p:spTree>
    <p:extLst>
      <p:ext uri="{BB962C8B-B14F-4D97-AF65-F5344CB8AC3E}">
        <p14:creationId xmlns:p14="http://schemas.microsoft.com/office/powerpoint/2010/main" val="456048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C1FC8DCC-A344-763D-8BD7-52512056AC66}"/>
              </a:ext>
            </a:extLst>
          </p:cNvPr>
          <p:cNvSpPr>
            <a:spLocks noGrp="1"/>
          </p:cNvSpPr>
          <p:nvPr>
            <p:ph type="title"/>
            <p:custDataLst>
              <p:tags r:id="rId1"/>
            </p:custDataLst>
          </p:nvPr>
        </p:nvSpPr>
        <p:spPr/>
        <p:txBody>
          <a:bodyPr/>
          <a:lstStyle/>
          <a:p>
            <a:r>
              <a:rPr lang="pl-PL" noProof="0" dirty="0"/>
              <a:t>Agenda</a:t>
            </a:r>
          </a:p>
        </p:txBody>
      </p:sp>
      <p:sp>
        <p:nvSpPr>
          <p:cNvPr id="12" name="Textplatzhalter 11">
            <a:extLst>
              <a:ext uri="{FF2B5EF4-FFF2-40B4-BE49-F238E27FC236}">
                <a16:creationId xmlns:a16="http://schemas.microsoft.com/office/drawing/2014/main" id="{A57EE4D0-2E46-5707-60C6-ABA062E979F8}"/>
              </a:ext>
            </a:extLst>
          </p:cNvPr>
          <p:cNvSpPr>
            <a:spLocks noGrp="1"/>
          </p:cNvSpPr>
          <p:nvPr>
            <p:ph type="body" sz="quarter" idx="13"/>
            <p:custDataLst>
              <p:tags r:id="rId2"/>
            </p:custDataLst>
          </p:nvPr>
        </p:nvSpPr>
        <p:spPr/>
        <p:txBody>
          <a:bodyPr/>
          <a:lstStyle/>
          <a:p>
            <a:r>
              <a:rPr lang="pl-PL" noProof="0">
                <a:solidFill>
                  <a:schemeClr val="accent2"/>
                </a:solidFill>
              </a:rPr>
              <a:t>01</a:t>
            </a:r>
            <a:endParaRPr lang="pl-PL" noProof="0" dirty="0">
              <a:solidFill>
                <a:schemeClr val="accent2"/>
              </a:solidFill>
            </a:endParaRPr>
          </a:p>
        </p:txBody>
      </p:sp>
      <p:sp>
        <p:nvSpPr>
          <p:cNvPr id="14" name="Textplatzhalter 13">
            <a:extLst>
              <a:ext uri="{FF2B5EF4-FFF2-40B4-BE49-F238E27FC236}">
                <a16:creationId xmlns:a16="http://schemas.microsoft.com/office/drawing/2014/main" id="{A62939A1-222E-0542-2CD1-C1ABBAD841C6}"/>
              </a:ext>
            </a:extLst>
          </p:cNvPr>
          <p:cNvSpPr>
            <a:spLocks noGrp="1"/>
          </p:cNvSpPr>
          <p:nvPr>
            <p:ph type="body" sz="quarter" idx="15"/>
            <p:custDataLst>
              <p:tags r:id="rId3"/>
            </p:custDataLst>
          </p:nvPr>
        </p:nvSpPr>
        <p:spPr/>
        <p:txBody>
          <a:bodyPr/>
          <a:lstStyle/>
          <a:p>
            <a:r>
              <a:rPr lang="pl-PL" noProof="0" dirty="0">
                <a:solidFill>
                  <a:schemeClr val="accent4"/>
                </a:solidFill>
              </a:rPr>
              <a:t>04</a:t>
            </a:r>
          </a:p>
        </p:txBody>
      </p:sp>
      <p:sp>
        <p:nvSpPr>
          <p:cNvPr id="18" name="Textplatzhalter 17">
            <a:extLst>
              <a:ext uri="{FF2B5EF4-FFF2-40B4-BE49-F238E27FC236}">
                <a16:creationId xmlns:a16="http://schemas.microsoft.com/office/drawing/2014/main" id="{FAAF6D3D-82F6-3FC6-3965-60A59BD1D4EB}"/>
              </a:ext>
            </a:extLst>
          </p:cNvPr>
          <p:cNvSpPr>
            <a:spLocks noGrp="1"/>
          </p:cNvSpPr>
          <p:nvPr>
            <p:ph type="body" sz="quarter" idx="19"/>
            <p:custDataLst>
              <p:tags r:id="rId4"/>
            </p:custDataLst>
          </p:nvPr>
        </p:nvSpPr>
        <p:spPr/>
        <p:txBody>
          <a:bodyPr/>
          <a:lstStyle/>
          <a:p>
            <a:r>
              <a:rPr lang="pl-PL" noProof="0">
                <a:solidFill>
                  <a:schemeClr val="accent3"/>
                </a:solidFill>
              </a:rPr>
              <a:t>02</a:t>
            </a:r>
            <a:endParaRPr lang="pl-PL" noProof="0" dirty="0">
              <a:solidFill>
                <a:schemeClr val="accent3"/>
              </a:solidFill>
            </a:endParaRPr>
          </a:p>
        </p:txBody>
      </p:sp>
      <p:sp>
        <p:nvSpPr>
          <p:cNvPr id="20" name="Textplatzhalter 19">
            <a:extLst>
              <a:ext uri="{FF2B5EF4-FFF2-40B4-BE49-F238E27FC236}">
                <a16:creationId xmlns:a16="http://schemas.microsoft.com/office/drawing/2014/main" id="{F16F2E67-8D5D-EC15-862D-B82104441487}"/>
              </a:ext>
            </a:extLst>
          </p:cNvPr>
          <p:cNvSpPr>
            <a:spLocks noGrp="1"/>
          </p:cNvSpPr>
          <p:nvPr>
            <p:ph type="body" sz="quarter" idx="21"/>
            <p:custDataLst>
              <p:tags r:id="rId5"/>
            </p:custDataLst>
          </p:nvPr>
        </p:nvSpPr>
        <p:spPr/>
        <p:txBody>
          <a:bodyPr/>
          <a:lstStyle/>
          <a:p>
            <a:r>
              <a:rPr lang="pl-PL" noProof="0">
                <a:solidFill>
                  <a:schemeClr val="accent2"/>
                </a:solidFill>
              </a:rPr>
              <a:t>05</a:t>
            </a:r>
            <a:endParaRPr lang="pl-PL" noProof="0" dirty="0">
              <a:solidFill>
                <a:schemeClr val="accent2"/>
              </a:solidFill>
            </a:endParaRPr>
          </a:p>
        </p:txBody>
      </p:sp>
      <p:sp>
        <p:nvSpPr>
          <p:cNvPr id="24" name="Textplatzhalter 23">
            <a:extLst>
              <a:ext uri="{FF2B5EF4-FFF2-40B4-BE49-F238E27FC236}">
                <a16:creationId xmlns:a16="http://schemas.microsoft.com/office/drawing/2014/main" id="{F5216EDD-F3B5-59DC-42B0-12ADFD46624E}"/>
              </a:ext>
            </a:extLst>
          </p:cNvPr>
          <p:cNvSpPr>
            <a:spLocks noGrp="1"/>
          </p:cNvSpPr>
          <p:nvPr>
            <p:ph type="body" sz="quarter" idx="25"/>
            <p:custDataLst>
              <p:tags r:id="rId6"/>
            </p:custDataLst>
          </p:nvPr>
        </p:nvSpPr>
        <p:spPr/>
        <p:txBody>
          <a:bodyPr/>
          <a:lstStyle/>
          <a:p>
            <a:r>
              <a:rPr lang="pl-PL" noProof="0">
                <a:solidFill>
                  <a:schemeClr val="accent5"/>
                </a:solidFill>
              </a:rPr>
              <a:t>03</a:t>
            </a:r>
            <a:endParaRPr lang="pl-PL" noProof="0" dirty="0">
              <a:solidFill>
                <a:schemeClr val="accent5"/>
              </a:solidFill>
            </a:endParaRPr>
          </a:p>
        </p:txBody>
      </p:sp>
      <p:sp>
        <p:nvSpPr>
          <p:cNvPr id="13" name="Textplatzhalter 12">
            <a:extLst>
              <a:ext uri="{FF2B5EF4-FFF2-40B4-BE49-F238E27FC236}">
                <a16:creationId xmlns:a16="http://schemas.microsoft.com/office/drawing/2014/main" id="{E0653918-B646-409B-7D2D-0F7A15D15216}"/>
              </a:ext>
            </a:extLst>
          </p:cNvPr>
          <p:cNvSpPr>
            <a:spLocks noGrp="1"/>
          </p:cNvSpPr>
          <p:nvPr>
            <p:ph type="body" sz="quarter" idx="14"/>
            <p:custDataLst>
              <p:tags r:id="rId7"/>
            </p:custDataLst>
          </p:nvPr>
        </p:nvSpPr>
        <p:spPr/>
        <p:txBody>
          <a:bodyPr/>
          <a:lstStyle/>
          <a:p>
            <a:r>
              <a:rPr lang="pl-PL" dirty="0"/>
              <a:t>O Fundacji DKMS</a:t>
            </a:r>
            <a:endParaRPr lang="pl-PL" noProof="0" dirty="0"/>
          </a:p>
          <a:p>
            <a:pPr lvl="1"/>
            <a:r>
              <a:rPr lang="pl-PL" dirty="0"/>
              <a:t>Daty, misja i cele</a:t>
            </a:r>
            <a:endParaRPr lang="pl-PL" noProof="0" dirty="0"/>
          </a:p>
        </p:txBody>
      </p:sp>
      <p:sp>
        <p:nvSpPr>
          <p:cNvPr id="15" name="Textplatzhalter 14">
            <a:extLst>
              <a:ext uri="{FF2B5EF4-FFF2-40B4-BE49-F238E27FC236}">
                <a16:creationId xmlns:a16="http://schemas.microsoft.com/office/drawing/2014/main" id="{0D9B0E63-5B81-97F2-95E3-1D2BFFE5159E}"/>
              </a:ext>
            </a:extLst>
          </p:cNvPr>
          <p:cNvSpPr>
            <a:spLocks noGrp="1"/>
          </p:cNvSpPr>
          <p:nvPr>
            <p:ph type="body" sz="quarter" idx="34"/>
            <p:custDataLst>
              <p:tags r:id="rId8"/>
            </p:custDataLst>
          </p:nvPr>
        </p:nvSpPr>
        <p:spPr/>
        <p:txBody>
          <a:bodyPr/>
          <a:lstStyle/>
          <a:p>
            <a:r>
              <a:rPr lang="pl-PL" dirty="0"/>
              <a:t>Fundacja DKMS w liczbach</a:t>
            </a:r>
            <a:endParaRPr lang="pl-PL" noProof="0" dirty="0"/>
          </a:p>
          <a:p>
            <a:pPr lvl="1"/>
            <a:r>
              <a:rPr lang="pl-PL" noProof="0" dirty="0"/>
              <a:t>Potencjalni Dawcy szpiku w Polsce i na świecie</a:t>
            </a:r>
          </a:p>
        </p:txBody>
      </p:sp>
      <p:sp>
        <p:nvSpPr>
          <p:cNvPr id="17" name="Textplatzhalter 16">
            <a:extLst>
              <a:ext uri="{FF2B5EF4-FFF2-40B4-BE49-F238E27FC236}">
                <a16:creationId xmlns:a16="http://schemas.microsoft.com/office/drawing/2014/main" id="{A39B5A28-173E-487B-34B7-DBCF22529F12}"/>
              </a:ext>
            </a:extLst>
          </p:cNvPr>
          <p:cNvSpPr>
            <a:spLocks noGrp="1"/>
          </p:cNvSpPr>
          <p:nvPr>
            <p:ph type="body" sz="quarter" idx="35"/>
            <p:custDataLst>
              <p:tags r:id="rId9"/>
            </p:custDataLst>
          </p:nvPr>
        </p:nvSpPr>
        <p:spPr/>
        <p:txBody>
          <a:bodyPr/>
          <a:lstStyle/>
          <a:p>
            <a:r>
              <a:rPr lang="pl-PL" dirty="0"/>
              <a:t>Kto może zostać potencjalnym Dawcą szpiku?</a:t>
            </a:r>
            <a:endParaRPr lang="pl-PL" noProof="0" dirty="0"/>
          </a:p>
          <a:p>
            <a:pPr lvl="1"/>
            <a:r>
              <a:rPr lang="pl-PL" noProof="0" dirty="0"/>
              <a:t>Kryteria rejestracji</a:t>
            </a:r>
          </a:p>
        </p:txBody>
      </p:sp>
      <p:sp>
        <p:nvSpPr>
          <p:cNvPr id="19" name="Textplatzhalter 18">
            <a:extLst>
              <a:ext uri="{FF2B5EF4-FFF2-40B4-BE49-F238E27FC236}">
                <a16:creationId xmlns:a16="http://schemas.microsoft.com/office/drawing/2014/main" id="{EE5D3C3A-D15D-239C-CFD7-F2AE138D9498}"/>
              </a:ext>
            </a:extLst>
          </p:cNvPr>
          <p:cNvSpPr>
            <a:spLocks noGrp="1"/>
          </p:cNvSpPr>
          <p:nvPr>
            <p:ph type="body" sz="quarter" idx="36"/>
            <p:custDataLst>
              <p:tags r:id="rId10"/>
            </p:custDataLst>
          </p:nvPr>
        </p:nvSpPr>
        <p:spPr/>
        <p:txBody>
          <a:bodyPr/>
          <a:lstStyle/>
          <a:p>
            <a:r>
              <a:rPr lang="pl-PL" noProof="0" dirty="0"/>
              <a:t>Metody pobrania </a:t>
            </a:r>
          </a:p>
          <a:p>
            <a:pPr lvl="1"/>
            <a:r>
              <a:rPr lang="pl-PL" noProof="0" dirty="0"/>
              <a:t>Pobranie komórek macierzystych z krwi obwodowej i pobranie szpiku z talerza kości biodrowej</a:t>
            </a:r>
          </a:p>
        </p:txBody>
      </p:sp>
      <p:sp>
        <p:nvSpPr>
          <p:cNvPr id="21" name="Textplatzhalter 20">
            <a:extLst>
              <a:ext uri="{FF2B5EF4-FFF2-40B4-BE49-F238E27FC236}">
                <a16:creationId xmlns:a16="http://schemas.microsoft.com/office/drawing/2014/main" id="{FC5961A1-A11E-0492-7330-E9A1AC9D7862}"/>
              </a:ext>
            </a:extLst>
          </p:cNvPr>
          <p:cNvSpPr>
            <a:spLocks noGrp="1"/>
          </p:cNvSpPr>
          <p:nvPr>
            <p:ph type="body" sz="quarter" idx="37"/>
            <p:custDataLst>
              <p:tags r:id="rId11"/>
            </p:custDataLst>
          </p:nvPr>
        </p:nvSpPr>
        <p:spPr/>
        <p:txBody>
          <a:bodyPr/>
          <a:lstStyle/>
          <a:p>
            <a:r>
              <a:rPr lang="pl-PL" dirty="0"/>
              <a:t>Ważne informacje dla Dawcy</a:t>
            </a:r>
            <a:endParaRPr lang="pl-PL" noProof="0" dirty="0"/>
          </a:p>
          <a:p>
            <a:pPr lvl="1"/>
            <a:r>
              <a:rPr lang="pl-PL" dirty="0"/>
              <a:t>Co warto wiedzieć?</a:t>
            </a:r>
            <a:endParaRPr lang="pl-PL" noProof="0" dirty="0"/>
          </a:p>
        </p:txBody>
      </p:sp>
      <p:sp>
        <p:nvSpPr>
          <p:cNvPr id="3" name="Datumsplatzhalter 2">
            <a:extLst>
              <a:ext uri="{FF2B5EF4-FFF2-40B4-BE49-F238E27FC236}">
                <a16:creationId xmlns:a16="http://schemas.microsoft.com/office/drawing/2014/main" id="{B745CB0F-CCBE-4359-8668-12F64DD57B04}"/>
              </a:ext>
            </a:extLst>
          </p:cNvPr>
          <p:cNvSpPr>
            <a:spLocks noGrp="1"/>
          </p:cNvSpPr>
          <p:nvPr>
            <p:ph type="dt" sz="half" idx="42"/>
            <p:custDataLst>
              <p:tags r:id="rId12"/>
            </p:custDataLst>
          </p:nvPr>
        </p:nvSpPr>
        <p:spPr/>
        <p:txBody>
          <a:bodyPr/>
          <a:lstStyle/>
          <a:p>
            <a:r>
              <a:rPr lang="en-US"/>
              <a:t>01.08.2023</a:t>
            </a:r>
            <a:endParaRPr lang="pl-PL" dirty="0"/>
          </a:p>
        </p:txBody>
      </p:sp>
      <p:sp>
        <p:nvSpPr>
          <p:cNvPr id="4" name="Fußzeilenplatzhalter 3">
            <a:extLst>
              <a:ext uri="{FF2B5EF4-FFF2-40B4-BE49-F238E27FC236}">
                <a16:creationId xmlns:a16="http://schemas.microsoft.com/office/drawing/2014/main" id="{6CA29C4D-2375-51AD-7B0B-6BB71F4EF617}"/>
              </a:ext>
            </a:extLst>
          </p:cNvPr>
          <p:cNvSpPr>
            <a:spLocks noGrp="1"/>
          </p:cNvSpPr>
          <p:nvPr>
            <p:ph type="ftr" sz="quarter" idx="43"/>
            <p:custDataLst>
              <p:tags r:id="rId13"/>
            </p:custDataLst>
          </p:nvPr>
        </p:nvSpPr>
        <p:spPr/>
        <p:txBody>
          <a:bodyPr/>
          <a:lstStyle/>
          <a:p>
            <a:r>
              <a:rPr lang="pl-PL"/>
              <a:t>Najważniejsze informacje o dawstwie szpiku - Prezentacja w ramach projektu #KOMÓRKOMANIA | C1 - publiczna</a:t>
            </a:r>
            <a:endParaRPr lang="pl-PL" dirty="0"/>
          </a:p>
        </p:txBody>
      </p:sp>
      <p:sp>
        <p:nvSpPr>
          <p:cNvPr id="5" name="Foliennummernplatzhalter 4">
            <a:extLst>
              <a:ext uri="{FF2B5EF4-FFF2-40B4-BE49-F238E27FC236}">
                <a16:creationId xmlns:a16="http://schemas.microsoft.com/office/drawing/2014/main" id="{45750BB8-E75F-E711-9EF2-AF99F726DDAC}"/>
              </a:ext>
            </a:extLst>
          </p:cNvPr>
          <p:cNvSpPr>
            <a:spLocks noGrp="1"/>
          </p:cNvSpPr>
          <p:nvPr>
            <p:ph type="sldNum" sz="quarter" idx="44"/>
            <p:custDataLst>
              <p:tags r:id="rId14"/>
            </p:custDataLst>
          </p:nvPr>
        </p:nvSpPr>
        <p:spPr/>
        <p:txBody>
          <a:bodyPr/>
          <a:lstStyle/>
          <a:p>
            <a:fld id="{92DB0D90-6264-4E90-9724-ABC670DBF4FB}" type="slidenum">
              <a:rPr lang="pl-PL" smtClean="0"/>
              <a:pPr/>
              <a:t>2</a:t>
            </a:fld>
            <a:endParaRPr lang="pl-PL" dirty="0"/>
          </a:p>
        </p:txBody>
      </p:sp>
    </p:spTree>
    <p:extLst>
      <p:ext uri="{BB962C8B-B14F-4D97-AF65-F5344CB8AC3E}">
        <p14:creationId xmlns:p14="http://schemas.microsoft.com/office/powerpoint/2010/main" val="1085227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r>
              <a:rPr lang="pl-PL" sz="2000" noProof="0" dirty="0"/>
              <a:t>Daty, misja i cele</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noProof="0" dirty="0"/>
              <a:t>O Fundacji DKMS </a:t>
            </a:r>
          </a:p>
        </p:txBody>
      </p:sp>
    </p:spTree>
    <p:extLst>
      <p:ext uri="{BB962C8B-B14F-4D97-AF65-F5344CB8AC3E}">
        <p14:creationId xmlns:p14="http://schemas.microsoft.com/office/powerpoint/2010/main" val="20382873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p:txBody>
          <a:bodyPr/>
          <a:lstStyle/>
          <a:p>
            <a:r>
              <a:rPr lang="en-US" altLang="en-US" dirty="0" err="1"/>
              <a:t>Fundacja</a:t>
            </a:r>
            <a:r>
              <a:rPr lang="en-US" altLang="en-US" dirty="0"/>
              <a:t> DKMS </a:t>
            </a:r>
            <a:r>
              <a:rPr lang="en-US" altLang="en-US" dirty="0" err="1"/>
              <a:t>dzia</a:t>
            </a:r>
            <a:r>
              <a:rPr lang="pl-PL" altLang="en-US" dirty="0"/>
              <a:t>ł</a:t>
            </a:r>
            <a:r>
              <a:rPr lang="en-US" altLang="en-US" dirty="0"/>
              <a:t>a</a:t>
            </a:r>
            <a:r>
              <a:rPr lang="pl-PL" altLang="en-US" dirty="0"/>
              <a:t> w Polsce od 2008 roku jako niezależna organizacja pożytku publicznego, </a:t>
            </a:r>
            <a:br>
              <a:rPr lang="pl-PL" altLang="en-US" dirty="0"/>
            </a:br>
            <a:r>
              <a:rPr lang="pl-PL" altLang="en-US" dirty="0"/>
              <a:t>w oparciu o decyzję Ministra Zdrowia, i jest największym Ośrodkiem Dawców Szpiku w kraju. </a:t>
            </a:r>
          </a:p>
          <a:p>
            <a:endParaRPr lang="pl-PL" altLang="en-US" dirty="0"/>
          </a:p>
          <a:p>
            <a:r>
              <a:rPr lang="pl-PL" altLang="en-US" dirty="0"/>
              <a:t>Prowadzi głównie działania mające na celu edukację społeczną w zakresie szerzenia idei dawstwa szpiku oraz rejestruje potencjalnych </a:t>
            </a:r>
            <a:r>
              <a:rPr lang="en-US" altLang="en-US" dirty="0" err="1"/>
              <a:t>Dawców</a:t>
            </a:r>
            <a:r>
              <a:rPr lang="en-US" altLang="en-US" dirty="0"/>
              <a:t> </a:t>
            </a:r>
            <a:r>
              <a:rPr lang="en-US" altLang="en-US" dirty="0" err="1"/>
              <a:t>krwiotwórczych</a:t>
            </a:r>
            <a:r>
              <a:rPr lang="en-US" altLang="en-US" dirty="0"/>
              <a:t> </a:t>
            </a:r>
            <a:r>
              <a:rPr lang="en-US" altLang="en-US" dirty="0" err="1"/>
              <a:t>komórek</a:t>
            </a:r>
            <a:r>
              <a:rPr lang="en-US" altLang="en-US" dirty="0"/>
              <a:t> </a:t>
            </a:r>
            <a:r>
              <a:rPr lang="en-US" altLang="en-US" dirty="0" err="1"/>
              <a:t>macierzystych</a:t>
            </a:r>
            <a:r>
              <a:rPr lang="en-US" altLang="en-US" dirty="0"/>
              <a:t>.</a:t>
            </a:r>
          </a:p>
          <a:p>
            <a:endParaRPr lang="pl-PL" noProof="0" dirty="0"/>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O Fundacji DKMS</a:t>
            </a:r>
          </a:p>
        </p:txBody>
      </p:sp>
      <p:sp>
        <p:nvSpPr>
          <p:cNvPr id="2" name="Datumsplatzhalter 1">
            <a:extLst>
              <a:ext uri="{FF2B5EF4-FFF2-40B4-BE49-F238E27FC236}">
                <a16:creationId xmlns:a16="http://schemas.microsoft.com/office/drawing/2014/main" id="{92685F48-0001-5731-9242-C2D66739A604}"/>
              </a:ext>
            </a:extLst>
          </p:cNvPr>
          <p:cNvSpPr>
            <a:spLocks noGrp="1"/>
          </p:cNvSpPr>
          <p:nvPr>
            <p:ph type="dt" sz="half" idx="18"/>
            <p:custDataLst>
              <p:tags r:id="rId4"/>
            </p:custDataLst>
          </p:nvPr>
        </p:nvSpPr>
        <p:spPr/>
        <p:txBody>
          <a:bodyPr/>
          <a:lstStyle/>
          <a:p>
            <a:pPr algn="r"/>
            <a:r>
              <a:rPr lang="en-US"/>
              <a:t>01.08.2023</a:t>
            </a:r>
            <a:endParaRPr lang="pl-PL" dirty="0"/>
          </a:p>
        </p:txBody>
      </p:sp>
      <p:sp>
        <p:nvSpPr>
          <p:cNvPr id="19" name="x" hidden="1">
            <a:extLst>
              <a:ext uri="{FF2B5EF4-FFF2-40B4-BE49-F238E27FC236}">
                <a16:creationId xmlns:a16="http://schemas.microsoft.com/office/drawing/2014/main" id="{417488D7-B147-04C0-E8A7-7F03F39759CC}"/>
              </a:ext>
            </a:extLst>
          </p:cNvPr>
          <p:cNvSpPr>
            <a:spLocks/>
          </p:cNvSpPr>
          <p:nvPr>
            <p:custDataLst>
              <p:tags r:id="rId5"/>
            </p:custDataLst>
          </p:nvPr>
        </p:nvSpPr>
        <p:spPr>
          <a:xfrm>
            <a:off x="4969007" y="0"/>
            <a:ext cx="7222993" cy="6858000"/>
          </a:xfrm>
          <a:custGeom>
            <a:avLst/>
            <a:gdLst>
              <a:gd name="connsiteX0" fmla="*/ 4150 w 7222993"/>
              <a:gd name="connsiteY0" fmla="*/ 0 h 6858000"/>
              <a:gd name="connsiteX1" fmla="*/ 3802510 w 7222993"/>
              <a:gd name="connsiteY1" fmla="*/ 0 h 6858000"/>
              <a:gd name="connsiteX2" fmla="*/ 3937724 w 7222993"/>
              <a:gd name="connsiteY2" fmla="*/ 176004 h 6858000"/>
              <a:gd name="connsiteX3" fmla="*/ 4532746 w 7222993"/>
              <a:gd name="connsiteY3" fmla="*/ 950582 h 6858000"/>
              <a:gd name="connsiteX4" fmla="*/ 5128001 w 7222993"/>
              <a:gd name="connsiteY4" fmla="*/ 176004 h 6858000"/>
              <a:gd name="connsiteX5" fmla="*/ 5263257 w 7222993"/>
              <a:gd name="connsiteY5" fmla="*/ 0 h 6858000"/>
              <a:gd name="connsiteX6" fmla="*/ 7222993 w 7222993"/>
              <a:gd name="connsiteY6" fmla="*/ 0 h 6858000"/>
              <a:gd name="connsiteX7" fmla="*/ 7222993 w 7222993"/>
              <a:gd name="connsiteY7" fmla="*/ 2397406 h 6858000"/>
              <a:gd name="connsiteX8" fmla="*/ 7054306 w 7222993"/>
              <a:gd name="connsiteY8" fmla="*/ 2617281 h 6858000"/>
              <a:gd name="connsiteX9" fmla="*/ 6433581 w 7222993"/>
              <a:gd name="connsiteY9" fmla="*/ 3426358 h 6858000"/>
              <a:gd name="connsiteX10" fmla="*/ 7054306 w 7222993"/>
              <a:gd name="connsiteY10" fmla="*/ 4235131 h 6858000"/>
              <a:gd name="connsiteX11" fmla="*/ 7222993 w 7222993"/>
              <a:gd name="connsiteY11" fmla="*/ 4454974 h 6858000"/>
              <a:gd name="connsiteX12" fmla="*/ 7222993 w 7222993"/>
              <a:gd name="connsiteY12" fmla="*/ 6858000 h 6858000"/>
              <a:gd name="connsiteX13" fmla="*/ 5267004 w 7222993"/>
              <a:gd name="connsiteY13" fmla="*/ 6858000 h 6858000"/>
              <a:gd name="connsiteX14" fmla="*/ 5128001 w 7222993"/>
              <a:gd name="connsiteY14" fmla="*/ 6677066 h 6858000"/>
              <a:gd name="connsiteX15" fmla="*/ 4532746 w 7222993"/>
              <a:gd name="connsiteY15" fmla="*/ 5902032 h 6858000"/>
              <a:gd name="connsiteX16" fmla="*/ 3937724 w 7222993"/>
              <a:gd name="connsiteY16" fmla="*/ 6677066 h 6858000"/>
              <a:gd name="connsiteX17" fmla="*/ 3798764 w 7222993"/>
              <a:gd name="connsiteY17" fmla="*/ 6858000 h 6858000"/>
              <a:gd name="connsiteX18" fmla="*/ 0 w 7222993"/>
              <a:gd name="connsiteY18" fmla="*/ 6858000 h 6858000"/>
              <a:gd name="connsiteX19" fmla="*/ 43680 w 7222993"/>
              <a:gd name="connsiteY19" fmla="*/ 6801008 h 6858000"/>
              <a:gd name="connsiteX20" fmla="*/ 2632413 w 7222993"/>
              <a:gd name="connsiteY20" fmla="*/ 3426358 h 6858000"/>
              <a:gd name="connsiteX21" fmla="*/ 43680 w 7222993"/>
              <a:gd name="connsiteY21" fmla="*/ 515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22993" h="6858000">
                <a:moveTo>
                  <a:pt x="4150" y="0"/>
                </a:moveTo>
                <a:lnTo>
                  <a:pt x="3802510" y="0"/>
                </a:lnTo>
                <a:lnTo>
                  <a:pt x="3937724" y="176004"/>
                </a:lnTo>
                <a:cubicBezTo>
                  <a:pt x="4124821" y="419551"/>
                  <a:pt x="4324386" y="679345"/>
                  <a:pt x="4532746" y="950582"/>
                </a:cubicBezTo>
                <a:cubicBezTo>
                  <a:pt x="4741200" y="679345"/>
                  <a:pt x="4940842" y="419551"/>
                  <a:pt x="5128001" y="176004"/>
                </a:cubicBezTo>
                <a:lnTo>
                  <a:pt x="5263257" y="0"/>
                </a:lnTo>
                <a:lnTo>
                  <a:pt x="7222993" y="0"/>
                </a:lnTo>
                <a:lnTo>
                  <a:pt x="7222993" y="2397406"/>
                </a:lnTo>
                <a:lnTo>
                  <a:pt x="7054306" y="2617281"/>
                </a:lnTo>
                <a:cubicBezTo>
                  <a:pt x="6850616" y="2882777"/>
                  <a:pt x="6642771" y="3153687"/>
                  <a:pt x="6433581" y="3426358"/>
                </a:cubicBezTo>
                <a:cubicBezTo>
                  <a:pt x="6642771" y="3698878"/>
                  <a:pt x="6850616" y="3969692"/>
                  <a:pt x="7054306" y="4235131"/>
                </a:cubicBezTo>
                <a:lnTo>
                  <a:pt x="7222993" y="4454974"/>
                </a:lnTo>
                <a:lnTo>
                  <a:pt x="7222993" y="6858000"/>
                </a:lnTo>
                <a:lnTo>
                  <a:pt x="5267004" y="6858000"/>
                </a:lnTo>
                <a:lnTo>
                  <a:pt x="5128001" y="6677066"/>
                </a:lnTo>
                <a:cubicBezTo>
                  <a:pt x="4940842" y="6433432"/>
                  <a:pt x="4741200" y="6173496"/>
                  <a:pt x="4532746" y="5902032"/>
                </a:cubicBezTo>
                <a:cubicBezTo>
                  <a:pt x="4324386" y="6173496"/>
                  <a:pt x="4124821" y="6433432"/>
                  <a:pt x="3937724" y="6677066"/>
                </a:cubicBezTo>
                <a:lnTo>
                  <a:pt x="3798764" y="6858000"/>
                </a:lnTo>
                <a:lnTo>
                  <a:pt x="0" y="6858000"/>
                </a:lnTo>
                <a:lnTo>
                  <a:pt x="43680" y="6801008"/>
                </a:lnTo>
                <a:cubicBezTo>
                  <a:pt x="675395" y="5976822"/>
                  <a:pt x="1638763" y="4720827"/>
                  <a:pt x="2632413" y="3426358"/>
                </a:cubicBezTo>
                <a:cubicBezTo>
                  <a:pt x="1638763" y="2131172"/>
                  <a:pt x="675395" y="875701"/>
                  <a:pt x="43680" y="51575"/>
                </a:cubicBezTo>
                <a:close/>
              </a:path>
            </a:pathLst>
          </a:custGeom>
          <a:noFill/>
          <a:ln w="12700" cap="flat">
            <a:solidFill>
              <a:schemeClr val="accent3"/>
            </a:solidFill>
            <a:prstDash val="solid"/>
            <a:round/>
          </a:ln>
        </p:spPr>
        <p:txBody>
          <a:bodyPr lIns="73152" tIns="36576" rIns="73152" bIns="36576" rtlCol="0" anchor="ctr"/>
          <a:lstStyle/>
          <a:p>
            <a:endParaRPr lang="pl-PL" dirty="0"/>
          </a:p>
        </p:txBody>
      </p:sp>
      <p:sp>
        <p:nvSpPr>
          <p:cNvPr id="6" name="Fußzeilenplatzhalter 5">
            <a:extLst>
              <a:ext uri="{FF2B5EF4-FFF2-40B4-BE49-F238E27FC236}">
                <a16:creationId xmlns:a16="http://schemas.microsoft.com/office/drawing/2014/main" id="{F6057950-6B81-9865-081F-1E570FB19F24}"/>
              </a:ext>
            </a:extLst>
          </p:cNvPr>
          <p:cNvSpPr>
            <a:spLocks noGrp="1"/>
          </p:cNvSpPr>
          <p:nvPr>
            <p:ph type="ftr" sz="quarter" idx="19"/>
            <p:custDataLst>
              <p:tags r:id="rId6"/>
            </p:custDataLst>
          </p:nvPr>
        </p:nvSpPr>
        <p:spPr/>
        <p:txBody>
          <a:bodyPr/>
          <a:lstStyle/>
          <a:p>
            <a:r>
              <a:rPr lang="pl-PL" dirty="0"/>
              <a:t>Najważniejsze informacje o dawstwie szpiku - Prezentacja w ramach projektu #KOMÓRKOMANIA | C1 - publiczna</a:t>
            </a:r>
          </a:p>
        </p:txBody>
      </p:sp>
      <p:sp>
        <p:nvSpPr>
          <p:cNvPr id="8" name="Foliennummernplatzhalter 7">
            <a:extLst>
              <a:ext uri="{FF2B5EF4-FFF2-40B4-BE49-F238E27FC236}">
                <a16:creationId xmlns:a16="http://schemas.microsoft.com/office/drawing/2014/main" id="{8F631556-4585-3D74-F516-F1B03F60EEF8}"/>
              </a:ext>
            </a:extLst>
          </p:cNvPr>
          <p:cNvSpPr>
            <a:spLocks noGrp="1"/>
          </p:cNvSpPr>
          <p:nvPr>
            <p:ph type="sldNum" sz="quarter" idx="20"/>
            <p:custDataLst>
              <p:tags r:id="rId7"/>
            </p:custDataLst>
          </p:nvPr>
        </p:nvSpPr>
        <p:spPr/>
        <p:txBody>
          <a:bodyPr/>
          <a:lstStyle/>
          <a:p>
            <a:fld id="{92DB0D90-6264-4E90-9724-ABC670DBF4FB}" type="slidenum">
              <a:rPr lang="pl-PL" smtClean="0"/>
              <a:pPr/>
              <a:t>4</a:t>
            </a:fld>
            <a:endParaRPr lang="pl-PL" dirty="0"/>
          </a:p>
        </p:txBody>
      </p:sp>
      <p:sp>
        <p:nvSpPr>
          <p:cNvPr id="20" name="Textplatzhalter 114">
            <a:extLst>
              <a:ext uri="{FF2B5EF4-FFF2-40B4-BE49-F238E27FC236}">
                <a16:creationId xmlns:a16="http://schemas.microsoft.com/office/drawing/2014/main" id="{DF6B9DCC-F7E3-797C-94C2-CF9AEC9A133D}"/>
              </a:ext>
            </a:extLst>
          </p:cNvPr>
          <p:cNvSpPr txBox="1">
            <a:spLocks/>
          </p:cNvSpPr>
          <p:nvPr/>
        </p:nvSpPr>
        <p:spPr>
          <a:xfrm>
            <a:off x="1673496" y="5220000"/>
            <a:ext cx="8753205" cy="609505"/>
          </a:xfrm>
          <a:prstGeom prst="rect">
            <a:avLst/>
          </a:prstGeom>
          <a:noFill/>
        </p:spPr>
        <p:txBody>
          <a:bodyPr vert="horz" lIns="126000" tIns="0" rIns="0" bIns="0" rtlCol="0" anchor="ctr">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3pPr>
            <a:lvl4pPr marL="0" indent="0" algn="l" defTabSz="914400" rtl="0" eaLnBrk="1" latinLnBrk="0" hangingPunct="1">
              <a:lnSpc>
                <a:spcPct val="90000"/>
              </a:lnSpc>
              <a:spcBef>
                <a:spcPts val="0"/>
              </a:spcBef>
              <a:spcAft>
                <a:spcPts val="0"/>
              </a:spcAft>
              <a:buFont typeface="Arial" panose="020B0604020202020204" pitchFamily="34" charset="0"/>
              <a:buNone/>
              <a:defRPr sz="2000" b="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7pPr>
            <a:lvl8pPr marL="0" indent="0" algn="l" defTabSz="914400" rtl="0" eaLnBrk="1" latinLnBrk="0" hangingPunct="1">
              <a:lnSpc>
                <a:spcPct val="90000"/>
              </a:lnSpc>
              <a:spcBef>
                <a:spcPts val="0"/>
              </a:spcBef>
              <a:buFontTx/>
              <a:buNone/>
              <a:defRPr sz="2000" b="0" kern="1200">
                <a:solidFill>
                  <a:schemeClr val="bg1"/>
                </a:solidFill>
                <a:latin typeface="+mn-lt"/>
                <a:ea typeface="+mn-ea"/>
                <a:cs typeface="+mn-cs"/>
              </a:defRPr>
            </a:lvl8pPr>
            <a:lvl9pPr marL="0" indent="0" algn="l" defTabSz="914400" rtl="0" eaLnBrk="1" latinLnBrk="0" hangingPunct="1">
              <a:lnSpc>
                <a:spcPct val="90000"/>
              </a:lnSpc>
              <a:spcBef>
                <a:spcPts val="0"/>
              </a:spcBef>
              <a:buFontTx/>
              <a:buNone/>
              <a:defRPr sz="2000" kern="1200">
                <a:solidFill>
                  <a:schemeClr val="bg1"/>
                </a:solidFill>
                <a:latin typeface="+mn-lt"/>
                <a:ea typeface="+mn-ea"/>
                <a:cs typeface="+mn-cs"/>
              </a:defRPr>
            </a:lvl9pPr>
          </a:lstStyle>
          <a:p>
            <a:pPr lvl="3"/>
            <a:endParaRPr lang="pl-PL" sz="2650" b="1" dirty="0">
              <a:solidFill>
                <a:schemeClr val="tx2"/>
              </a:solidFill>
            </a:endParaRPr>
          </a:p>
        </p:txBody>
      </p:sp>
      <p:pic>
        <p:nvPicPr>
          <p:cNvPr id="106" name="Picture 105">
            <a:extLst>
              <a:ext uri="{FF2B5EF4-FFF2-40B4-BE49-F238E27FC236}">
                <a16:creationId xmlns:a16="http://schemas.microsoft.com/office/drawing/2014/main" id="{D12004D0-8CEA-44C1-916A-7F9E9D30F827}"/>
              </a:ext>
            </a:extLst>
          </p:cNvPr>
          <p:cNvPicPr>
            <a:picLocks noChangeAspect="1"/>
          </p:cNvPicPr>
          <p:nvPr/>
        </p:nvPicPr>
        <p:blipFill>
          <a:blip r:embed="rId10"/>
          <a:stretch>
            <a:fillRect/>
          </a:stretch>
        </p:blipFill>
        <p:spPr>
          <a:xfrm>
            <a:off x="1686053" y="3516219"/>
            <a:ext cx="8997696" cy="2657781"/>
          </a:xfrm>
          <a:prstGeom prst="rect">
            <a:avLst/>
          </a:prstGeom>
        </p:spPr>
      </p:pic>
    </p:spTree>
    <p:extLst>
      <p:ext uri="{BB962C8B-B14F-4D97-AF65-F5344CB8AC3E}">
        <p14:creationId xmlns:p14="http://schemas.microsoft.com/office/powerpoint/2010/main" val="15509261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p:txBody>
          <a:bodyPr/>
          <a:lstStyle/>
          <a:p>
            <a:pPr fontAlgn="auto">
              <a:defRPr/>
            </a:pPr>
            <a:r>
              <a:rPr lang="pl-PL" altLang="en-US" b="1" dirty="0"/>
              <a:t>Cele fundacji realizowane są m.in. poprzez następujące działania</a:t>
            </a:r>
            <a:r>
              <a:rPr lang="pl-PL" altLang="en-US" dirty="0"/>
              <a:t>:</a:t>
            </a:r>
          </a:p>
          <a:p>
            <a:pPr marL="0" marR="0" lvl="0" indent="0" algn="l" defTabSz="914400" rtl="0" eaLnBrk="1" fontAlgn="auto" latinLnBrk="0" hangingPunct="1">
              <a:spcBef>
                <a:spcPts val="0"/>
              </a:spcBef>
              <a:buClrTx/>
              <a:buSzTx/>
              <a:buFont typeface="Arial" panose="020B0604020202020204" pitchFamily="34" charset="0"/>
              <a:buNone/>
              <a:tabLst/>
              <a:defRPr/>
            </a:pPr>
            <a:endParaRPr lang="pl-PL" noProof="0" dirty="0"/>
          </a:p>
          <a:p>
            <a:pPr lvl="1"/>
            <a:r>
              <a:rPr lang="pl-PL" noProof="0" dirty="0"/>
              <a:t>edukację społeczną w zakresie dobrowolnego dawstwa krwiotwórczych komórek macierzystych;</a:t>
            </a:r>
          </a:p>
          <a:p>
            <a:pPr lvl="1"/>
            <a:r>
              <a:rPr lang="pl-PL" dirty="0"/>
              <a:t>rejestrację potencjalnych Dawców szpiku wraz z oznaczeniem antygenu HLA i wprowadzeniem ich do rejestru;</a:t>
            </a:r>
          </a:p>
          <a:p>
            <a:pPr lvl="1"/>
            <a:r>
              <a:rPr lang="pl-PL" altLang="en-US" dirty="0"/>
              <a:t>badanie i opiekę nad potencjalnymi  oraz faktycznymi Dawcami krwiotwórczych komórek macierzystych;</a:t>
            </a:r>
          </a:p>
          <a:p>
            <a:pPr lvl="1"/>
            <a:r>
              <a:rPr lang="pl-PL" altLang="en-US" dirty="0"/>
              <a:t>współpracę z innymi Ośrodkami Dawców Szpiku, ośrodkami transplantacyjnymi i rejestrem Dawców szpiku na terenie Polski i poza jej granicami. </a:t>
            </a:r>
          </a:p>
          <a:p>
            <a:pPr lvl="4"/>
            <a:endParaRPr lang="pl-PL" noProof="0" dirty="0"/>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Cele i misja Fundacji DKMS</a:t>
            </a:r>
          </a:p>
        </p:txBody>
      </p:sp>
      <p:sp>
        <p:nvSpPr>
          <p:cNvPr id="2" name="Datumsplatzhalter 1">
            <a:extLst>
              <a:ext uri="{FF2B5EF4-FFF2-40B4-BE49-F238E27FC236}">
                <a16:creationId xmlns:a16="http://schemas.microsoft.com/office/drawing/2014/main" id="{92685F48-0001-5731-9242-C2D66739A604}"/>
              </a:ext>
            </a:extLst>
          </p:cNvPr>
          <p:cNvSpPr>
            <a:spLocks noGrp="1"/>
          </p:cNvSpPr>
          <p:nvPr>
            <p:ph type="dt" sz="half" idx="18"/>
            <p:custDataLst>
              <p:tags r:id="rId4"/>
            </p:custDataLst>
          </p:nvPr>
        </p:nvSpPr>
        <p:spPr>
          <a:xfrm>
            <a:off x="10751638" y="6470705"/>
            <a:ext cx="1080000" cy="281691"/>
          </a:xfrm>
        </p:spPr>
        <p:txBody>
          <a:bodyPr/>
          <a:lstStyle/>
          <a:p>
            <a:pPr algn="r"/>
            <a:r>
              <a:rPr lang="pl-PL" dirty="0"/>
              <a:t>01.08.2023</a:t>
            </a:r>
          </a:p>
        </p:txBody>
      </p:sp>
      <p:sp>
        <p:nvSpPr>
          <p:cNvPr id="19" name="x" hidden="1">
            <a:extLst>
              <a:ext uri="{FF2B5EF4-FFF2-40B4-BE49-F238E27FC236}">
                <a16:creationId xmlns:a16="http://schemas.microsoft.com/office/drawing/2014/main" id="{417488D7-B147-04C0-E8A7-7F03F39759CC}"/>
              </a:ext>
            </a:extLst>
          </p:cNvPr>
          <p:cNvSpPr>
            <a:spLocks/>
          </p:cNvSpPr>
          <p:nvPr>
            <p:custDataLst>
              <p:tags r:id="rId5"/>
            </p:custDataLst>
          </p:nvPr>
        </p:nvSpPr>
        <p:spPr>
          <a:xfrm>
            <a:off x="4969007" y="0"/>
            <a:ext cx="7222993" cy="6858000"/>
          </a:xfrm>
          <a:custGeom>
            <a:avLst/>
            <a:gdLst>
              <a:gd name="connsiteX0" fmla="*/ 4150 w 7222993"/>
              <a:gd name="connsiteY0" fmla="*/ 0 h 6858000"/>
              <a:gd name="connsiteX1" fmla="*/ 3802510 w 7222993"/>
              <a:gd name="connsiteY1" fmla="*/ 0 h 6858000"/>
              <a:gd name="connsiteX2" fmla="*/ 3937724 w 7222993"/>
              <a:gd name="connsiteY2" fmla="*/ 176004 h 6858000"/>
              <a:gd name="connsiteX3" fmla="*/ 4532746 w 7222993"/>
              <a:gd name="connsiteY3" fmla="*/ 950582 h 6858000"/>
              <a:gd name="connsiteX4" fmla="*/ 5128001 w 7222993"/>
              <a:gd name="connsiteY4" fmla="*/ 176004 h 6858000"/>
              <a:gd name="connsiteX5" fmla="*/ 5263257 w 7222993"/>
              <a:gd name="connsiteY5" fmla="*/ 0 h 6858000"/>
              <a:gd name="connsiteX6" fmla="*/ 7222993 w 7222993"/>
              <a:gd name="connsiteY6" fmla="*/ 0 h 6858000"/>
              <a:gd name="connsiteX7" fmla="*/ 7222993 w 7222993"/>
              <a:gd name="connsiteY7" fmla="*/ 2397406 h 6858000"/>
              <a:gd name="connsiteX8" fmla="*/ 7054306 w 7222993"/>
              <a:gd name="connsiteY8" fmla="*/ 2617281 h 6858000"/>
              <a:gd name="connsiteX9" fmla="*/ 6433581 w 7222993"/>
              <a:gd name="connsiteY9" fmla="*/ 3426358 h 6858000"/>
              <a:gd name="connsiteX10" fmla="*/ 7054306 w 7222993"/>
              <a:gd name="connsiteY10" fmla="*/ 4235131 h 6858000"/>
              <a:gd name="connsiteX11" fmla="*/ 7222993 w 7222993"/>
              <a:gd name="connsiteY11" fmla="*/ 4454974 h 6858000"/>
              <a:gd name="connsiteX12" fmla="*/ 7222993 w 7222993"/>
              <a:gd name="connsiteY12" fmla="*/ 6858000 h 6858000"/>
              <a:gd name="connsiteX13" fmla="*/ 5267004 w 7222993"/>
              <a:gd name="connsiteY13" fmla="*/ 6858000 h 6858000"/>
              <a:gd name="connsiteX14" fmla="*/ 5128001 w 7222993"/>
              <a:gd name="connsiteY14" fmla="*/ 6677066 h 6858000"/>
              <a:gd name="connsiteX15" fmla="*/ 4532746 w 7222993"/>
              <a:gd name="connsiteY15" fmla="*/ 5902032 h 6858000"/>
              <a:gd name="connsiteX16" fmla="*/ 3937724 w 7222993"/>
              <a:gd name="connsiteY16" fmla="*/ 6677066 h 6858000"/>
              <a:gd name="connsiteX17" fmla="*/ 3798764 w 7222993"/>
              <a:gd name="connsiteY17" fmla="*/ 6858000 h 6858000"/>
              <a:gd name="connsiteX18" fmla="*/ 0 w 7222993"/>
              <a:gd name="connsiteY18" fmla="*/ 6858000 h 6858000"/>
              <a:gd name="connsiteX19" fmla="*/ 43680 w 7222993"/>
              <a:gd name="connsiteY19" fmla="*/ 6801008 h 6858000"/>
              <a:gd name="connsiteX20" fmla="*/ 2632413 w 7222993"/>
              <a:gd name="connsiteY20" fmla="*/ 3426358 h 6858000"/>
              <a:gd name="connsiteX21" fmla="*/ 43680 w 7222993"/>
              <a:gd name="connsiteY21" fmla="*/ 515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22993" h="6858000">
                <a:moveTo>
                  <a:pt x="4150" y="0"/>
                </a:moveTo>
                <a:lnTo>
                  <a:pt x="3802510" y="0"/>
                </a:lnTo>
                <a:lnTo>
                  <a:pt x="3937724" y="176004"/>
                </a:lnTo>
                <a:cubicBezTo>
                  <a:pt x="4124821" y="419551"/>
                  <a:pt x="4324386" y="679345"/>
                  <a:pt x="4532746" y="950582"/>
                </a:cubicBezTo>
                <a:cubicBezTo>
                  <a:pt x="4741200" y="679345"/>
                  <a:pt x="4940842" y="419551"/>
                  <a:pt x="5128001" y="176004"/>
                </a:cubicBezTo>
                <a:lnTo>
                  <a:pt x="5263257" y="0"/>
                </a:lnTo>
                <a:lnTo>
                  <a:pt x="7222993" y="0"/>
                </a:lnTo>
                <a:lnTo>
                  <a:pt x="7222993" y="2397406"/>
                </a:lnTo>
                <a:lnTo>
                  <a:pt x="7054306" y="2617281"/>
                </a:lnTo>
                <a:cubicBezTo>
                  <a:pt x="6850616" y="2882777"/>
                  <a:pt x="6642771" y="3153687"/>
                  <a:pt x="6433581" y="3426358"/>
                </a:cubicBezTo>
                <a:cubicBezTo>
                  <a:pt x="6642771" y="3698878"/>
                  <a:pt x="6850616" y="3969692"/>
                  <a:pt x="7054306" y="4235131"/>
                </a:cubicBezTo>
                <a:lnTo>
                  <a:pt x="7222993" y="4454974"/>
                </a:lnTo>
                <a:lnTo>
                  <a:pt x="7222993" y="6858000"/>
                </a:lnTo>
                <a:lnTo>
                  <a:pt x="5267004" y="6858000"/>
                </a:lnTo>
                <a:lnTo>
                  <a:pt x="5128001" y="6677066"/>
                </a:lnTo>
                <a:cubicBezTo>
                  <a:pt x="4940842" y="6433432"/>
                  <a:pt x="4741200" y="6173496"/>
                  <a:pt x="4532746" y="5902032"/>
                </a:cubicBezTo>
                <a:cubicBezTo>
                  <a:pt x="4324386" y="6173496"/>
                  <a:pt x="4124821" y="6433432"/>
                  <a:pt x="3937724" y="6677066"/>
                </a:cubicBezTo>
                <a:lnTo>
                  <a:pt x="3798764" y="6858000"/>
                </a:lnTo>
                <a:lnTo>
                  <a:pt x="0" y="6858000"/>
                </a:lnTo>
                <a:lnTo>
                  <a:pt x="43680" y="6801008"/>
                </a:lnTo>
                <a:cubicBezTo>
                  <a:pt x="675395" y="5976822"/>
                  <a:pt x="1638763" y="4720827"/>
                  <a:pt x="2632413" y="3426358"/>
                </a:cubicBezTo>
                <a:cubicBezTo>
                  <a:pt x="1638763" y="2131172"/>
                  <a:pt x="675395" y="875701"/>
                  <a:pt x="43680" y="51575"/>
                </a:cubicBezTo>
                <a:close/>
              </a:path>
            </a:pathLst>
          </a:custGeom>
          <a:noFill/>
          <a:ln w="12700" cap="flat">
            <a:solidFill>
              <a:schemeClr val="accent3"/>
            </a:solidFill>
            <a:prstDash val="solid"/>
            <a:round/>
          </a:ln>
        </p:spPr>
        <p:txBody>
          <a:bodyPr lIns="73152" tIns="36576" rIns="73152" bIns="36576" rtlCol="0" anchor="ctr"/>
          <a:lstStyle/>
          <a:p>
            <a:endParaRPr lang="pl-PL" dirty="0"/>
          </a:p>
        </p:txBody>
      </p:sp>
      <p:grpSp>
        <p:nvGrpSpPr>
          <p:cNvPr id="7" name="Gruppieren 6">
            <a:extLst>
              <a:ext uri="{FF2B5EF4-FFF2-40B4-BE49-F238E27FC236}">
                <a16:creationId xmlns:a16="http://schemas.microsoft.com/office/drawing/2014/main" id="{2779E002-23C0-6F70-DCFE-9CC4C70C536B}"/>
              </a:ext>
            </a:extLst>
          </p:cNvPr>
          <p:cNvGrpSpPr/>
          <p:nvPr>
            <p:custDataLst>
              <p:tags r:id="rId6"/>
            </p:custDataLst>
          </p:nvPr>
        </p:nvGrpSpPr>
        <p:grpSpPr>
          <a:xfrm>
            <a:off x="898524" y="5220000"/>
            <a:ext cx="10644971" cy="609505"/>
            <a:chOff x="898524" y="5524895"/>
            <a:chExt cx="10644971" cy="609505"/>
          </a:xfrm>
        </p:grpSpPr>
        <p:sp>
          <p:nvSpPr>
            <p:cNvPr id="3" name="Textplatzhalter 114">
              <a:extLst>
                <a:ext uri="{FF2B5EF4-FFF2-40B4-BE49-F238E27FC236}">
                  <a16:creationId xmlns:a16="http://schemas.microsoft.com/office/drawing/2014/main" id="{849A896D-63A5-710B-5922-FD0E2EF2E9E3}"/>
                </a:ext>
              </a:extLst>
            </p:cNvPr>
            <p:cNvSpPr txBox="1">
              <a:spLocks/>
            </p:cNvSpPr>
            <p:nvPr/>
          </p:nvSpPr>
          <p:spPr>
            <a:xfrm>
              <a:off x="1673496" y="5524895"/>
              <a:ext cx="9869999" cy="609505"/>
            </a:xfrm>
            <a:prstGeom prst="rect">
              <a:avLst/>
            </a:prstGeom>
            <a:noFill/>
          </p:spPr>
          <p:txBody>
            <a:bodyPr vert="horz" lIns="126000" tIns="0" rIns="0" bIns="0" rtlCol="0" anchor="ctr">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3pPr>
              <a:lvl4pPr marL="0" indent="0" algn="l" defTabSz="914400" rtl="0" eaLnBrk="1" latinLnBrk="0" hangingPunct="1">
                <a:lnSpc>
                  <a:spcPct val="90000"/>
                </a:lnSpc>
                <a:spcBef>
                  <a:spcPts val="0"/>
                </a:spcBef>
                <a:spcAft>
                  <a:spcPts val="0"/>
                </a:spcAft>
                <a:buFont typeface="Arial" panose="020B0604020202020204" pitchFamily="34" charset="0"/>
                <a:buNone/>
                <a:defRPr sz="2000" b="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7pPr>
              <a:lvl8pPr marL="0" indent="0" algn="l" defTabSz="914400" rtl="0" eaLnBrk="1" latinLnBrk="0" hangingPunct="1">
                <a:lnSpc>
                  <a:spcPct val="90000"/>
                </a:lnSpc>
                <a:spcBef>
                  <a:spcPts val="0"/>
                </a:spcBef>
                <a:buFontTx/>
                <a:buNone/>
                <a:defRPr sz="2000" b="0" kern="1200">
                  <a:solidFill>
                    <a:schemeClr val="bg1"/>
                  </a:solidFill>
                  <a:latin typeface="+mn-lt"/>
                  <a:ea typeface="+mn-ea"/>
                  <a:cs typeface="+mn-cs"/>
                </a:defRPr>
              </a:lvl8pPr>
              <a:lvl9pPr marL="0" indent="0" algn="l" defTabSz="914400" rtl="0" eaLnBrk="1" latinLnBrk="0" hangingPunct="1">
                <a:lnSpc>
                  <a:spcPct val="90000"/>
                </a:lnSpc>
                <a:spcBef>
                  <a:spcPts val="0"/>
                </a:spcBef>
                <a:buFontTx/>
                <a:buNone/>
                <a:defRPr sz="2000" kern="1200">
                  <a:solidFill>
                    <a:schemeClr val="bg1"/>
                  </a:solidFill>
                  <a:latin typeface="+mn-lt"/>
                  <a:ea typeface="+mn-ea"/>
                  <a:cs typeface="+mn-cs"/>
                </a:defRPr>
              </a:lvl9pPr>
            </a:lstStyle>
            <a:p>
              <a:pPr lvl="3"/>
              <a:r>
                <a:rPr lang="pl-PL" sz="1800" b="1" dirty="0">
                  <a:solidFill>
                    <a:schemeClr val="tx2"/>
                  </a:solidFill>
                </a:rPr>
                <a:t>Misją Fundacji DKMS jest znalezienie Dawcy dla każdego Pacjenta chorującego na nowotwór krwi, potrzebującego przeszczepienia krwiotwórczych komórek macierzystych. </a:t>
              </a:r>
            </a:p>
          </p:txBody>
        </p:sp>
        <p:pic>
          <p:nvPicPr>
            <p:cNvPr id="4" name="Grafik 3">
              <a:extLst>
                <a:ext uri="{FF2B5EF4-FFF2-40B4-BE49-F238E27FC236}">
                  <a16:creationId xmlns:a16="http://schemas.microsoft.com/office/drawing/2014/main" id="{483C2F5B-0235-55C7-D47C-7F479B9D8C0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98524" y="5535791"/>
              <a:ext cx="765788" cy="598609"/>
            </a:xfrm>
            <a:prstGeom prst="rect">
              <a:avLst/>
            </a:prstGeom>
          </p:spPr>
        </p:pic>
      </p:grpSp>
      <p:sp>
        <p:nvSpPr>
          <p:cNvPr id="8" name="Foliennummernplatzhalter 7">
            <a:extLst>
              <a:ext uri="{FF2B5EF4-FFF2-40B4-BE49-F238E27FC236}">
                <a16:creationId xmlns:a16="http://schemas.microsoft.com/office/drawing/2014/main" id="{CC8D1106-6BA1-0C66-A163-77136844215B}"/>
              </a:ext>
            </a:extLst>
          </p:cNvPr>
          <p:cNvSpPr>
            <a:spLocks noGrp="1"/>
          </p:cNvSpPr>
          <p:nvPr>
            <p:ph type="sldNum" sz="quarter" idx="20"/>
            <p:custDataLst>
              <p:tags r:id="rId7"/>
            </p:custDataLst>
          </p:nvPr>
        </p:nvSpPr>
        <p:spPr/>
        <p:txBody>
          <a:bodyPr/>
          <a:lstStyle/>
          <a:p>
            <a:fld id="{92DB0D90-6264-4E90-9724-ABC670DBF4FB}" type="slidenum">
              <a:rPr lang="pl-PL" smtClean="0"/>
              <a:pPr/>
              <a:t>5</a:t>
            </a:fld>
            <a:endParaRPr lang="pl-PL" dirty="0"/>
          </a:p>
        </p:txBody>
      </p:sp>
      <p:sp>
        <p:nvSpPr>
          <p:cNvPr id="18" name="Fußzeilenplatzhalter 5">
            <a:extLst>
              <a:ext uri="{FF2B5EF4-FFF2-40B4-BE49-F238E27FC236}">
                <a16:creationId xmlns:a16="http://schemas.microsoft.com/office/drawing/2014/main" id="{0BB2593B-36BE-4C40-AAE1-EA9D05C7C7C5}"/>
              </a:ext>
            </a:extLst>
          </p:cNvPr>
          <p:cNvSpPr>
            <a:spLocks noGrp="1"/>
          </p:cNvSpPr>
          <p:nvPr>
            <p:ph type="ftr" sz="quarter" idx="19"/>
            <p:custDataLst>
              <p:tags r:id="rId8"/>
            </p:custDataLst>
          </p:nvPr>
        </p:nvSpPr>
        <p:spPr>
          <a:xfrm>
            <a:off x="1498061" y="6470705"/>
            <a:ext cx="9253577" cy="281691"/>
          </a:xfrm>
        </p:spPr>
        <p:txBody>
          <a:bodyPr/>
          <a:lstStyle/>
          <a:p>
            <a:r>
              <a:rPr lang="pl-PL" dirty="0"/>
              <a:t>Najważniejsze informacje o dawstwie szpiku - Prezentacja w ramach projektu #KOMÓRKOMANIA | C1 - publiczna</a:t>
            </a:r>
          </a:p>
        </p:txBody>
      </p:sp>
    </p:spTree>
    <p:extLst>
      <p:ext uri="{BB962C8B-B14F-4D97-AF65-F5344CB8AC3E}">
        <p14:creationId xmlns:p14="http://schemas.microsoft.com/office/powerpoint/2010/main" val="4810341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pPr lvl="1"/>
            <a:r>
              <a:rPr lang="pl-PL" dirty="0"/>
              <a:t>Potencjalni Dawcy szpiku w Polsce i na świecie</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Fundacja DKMS w liczbach</a:t>
            </a:r>
          </a:p>
        </p:txBody>
      </p:sp>
    </p:spTree>
    <p:extLst>
      <p:ext uri="{BB962C8B-B14F-4D97-AF65-F5344CB8AC3E}">
        <p14:creationId xmlns:p14="http://schemas.microsoft.com/office/powerpoint/2010/main" val="352167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a:xfrm>
            <a:off x="1491840" y="1466500"/>
            <a:ext cx="5286376" cy="3976898"/>
          </a:xfrm>
        </p:spPr>
        <p:txBody>
          <a:bodyPr/>
          <a:lstStyle/>
          <a:p>
            <a:pPr marL="0" marR="0" lvl="0" indent="0" algn="l" defTabSz="914400" rtl="0" eaLnBrk="1" fontAlgn="auto" latinLnBrk="0" hangingPunct="1">
              <a:spcBef>
                <a:spcPts val="0"/>
              </a:spcBef>
              <a:buClrTx/>
              <a:buSzTx/>
              <a:buFont typeface="Arial" panose="020B0604020202020204" pitchFamily="34" charset="0"/>
              <a:buNone/>
              <a:tabLst/>
              <a:defRPr/>
            </a:pPr>
            <a:r>
              <a:rPr lang="pl-PL" sz="1400" b="1" dirty="0">
                <a:solidFill>
                  <a:srgbClr val="000000"/>
                </a:solidFill>
                <a:latin typeface="Arial"/>
              </a:rPr>
              <a:t>Ś</a:t>
            </a:r>
            <a:r>
              <a:rPr kumimoji="0" lang="pl-PL" sz="1400" b="1" i="0" u="none" strike="noStrike" kern="1200" cap="none" spc="0" normalizeH="0" baseline="0" noProof="0" dirty="0">
                <a:ln>
                  <a:noFill/>
                </a:ln>
                <a:solidFill>
                  <a:srgbClr val="000000"/>
                </a:solidFill>
                <a:effectLst/>
                <a:uLnTx/>
                <a:uFillTx/>
                <a:latin typeface="Arial"/>
                <a:ea typeface="+mn-ea"/>
                <a:cs typeface="+mn-cs"/>
              </a:rPr>
              <a:t>wiat:</a:t>
            </a:r>
          </a:p>
          <a:p>
            <a:pPr lvl="0" fontAlgn="auto">
              <a:defRPr/>
            </a:pPr>
            <a:r>
              <a:rPr lang="pl-PL" sz="1400" b="1" dirty="0">
                <a:solidFill>
                  <a:srgbClr val="000000"/>
                </a:solidFill>
              </a:rPr>
              <a:t>Ponad 42 383 000* – </a:t>
            </a:r>
            <a:r>
              <a:rPr lang="pl-PL" sz="1400" dirty="0">
                <a:solidFill>
                  <a:srgbClr val="000000"/>
                </a:solidFill>
              </a:rPr>
              <a:t>liczba osób figurujących w światowej bazie Dawców szpiku (</a:t>
            </a:r>
            <a:r>
              <a:rPr lang="en-US" sz="1400" dirty="0"/>
              <a:t>Bone Marrow Donors Worldwide)</a:t>
            </a:r>
            <a:r>
              <a:rPr lang="pl-PL" sz="1400" dirty="0">
                <a:solidFill>
                  <a:srgbClr val="000000"/>
                </a:solidFill>
              </a:rPr>
              <a:t>.</a:t>
            </a:r>
            <a:endParaRPr lang="pl-PL" sz="1400" b="1" dirty="0">
              <a:solidFill>
                <a:srgbClr val="000000"/>
              </a:solidFill>
              <a:latin typeface="Arial"/>
            </a:endParaRPr>
          </a:p>
          <a:p>
            <a:pPr lvl="0" fontAlgn="auto">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Ponad 12 </a:t>
            </a:r>
            <a:r>
              <a:rPr lang="pl-PL" sz="1400" b="1" dirty="0">
                <a:solidFill>
                  <a:srgbClr val="000000"/>
                </a:solidFill>
                <a:latin typeface="Arial"/>
              </a:rPr>
              <a:t>489</a:t>
            </a:r>
            <a:r>
              <a:rPr kumimoji="0" lang="pl-PL" sz="1400" b="1" i="0" u="none" strike="noStrike" kern="1200" cap="none" spc="0" normalizeH="0" baseline="0" noProof="0" dirty="0">
                <a:ln>
                  <a:noFill/>
                </a:ln>
                <a:solidFill>
                  <a:srgbClr val="000000"/>
                </a:solidFill>
                <a:effectLst/>
                <a:uLnTx/>
                <a:uFillTx/>
                <a:latin typeface="Arial"/>
                <a:ea typeface="+mn-ea"/>
                <a:cs typeface="+mn-cs"/>
              </a:rPr>
              <a:t> 000– </a:t>
            </a:r>
            <a:r>
              <a:rPr kumimoji="0" lang="pl-PL" sz="1400" i="0" u="none" strike="noStrike" kern="1200" cap="none" spc="0" normalizeH="0" baseline="0" noProof="0" dirty="0">
                <a:ln>
                  <a:noFill/>
                </a:ln>
                <a:solidFill>
                  <a:srgbClr val="000000"/>
                </a:solidFill>
                <a:effectLst/>
                <a:uLnTx/>
                <a:uFillTx/>
                <a:latin typeface="Arial"/>
                <a:ea typeface="+mn-ea"/>
                <a:cs typeface="+mn-cs"/>
              </a:rPr>
              <a:t>liczba potencjalnych Dawców szpiku zarejestrowanych </a:t>
            </a:r>
            <a:r>
              <a:rPr lang="pl-PL" sz="1400" dirty="0">
                <a:solidFill>
                  <a:srgbClr val="000000"/>
                </a:solidFill>
                <a:latin typeface="Arial"/>
              </a:rPr>
              <a:t>we wszystkich bazach </a:t>
            </a:r>
            <a:r>
              <a:rPr kumimoji="0" lang="pl-PL" sz="1400" i="0" u="none" strike="noStrike" kern="1200" cap="none" spc="0" normalizeH="0" baseline="0" noProof="0" dirty="0">
                <a:ln>
                  <a:noFill/>
                </a:ln>
                <a:solidFill>
                  <a:srgbClr val="000000"/>
                </a:solidFill>
                <a:effectLst/>
                <a:uLnTx/>
                <a:uFillTx/>
                <a:latin typeface="Arial"/>
                <a:ea typeface="+mn-ea"/>
                <a:cs typeface="+mn-cs"/>
              </a:rPr>
              <a:t>DKMS na świecie.</a:t>
            </a:r>
          </a:p>
          <a:p>
            <a:pPr lvl="0" fontAlgn="auto">
              <a:defRPr/>
            </a:pPr>
            <a:endParaRPr kumimoji="0" lang="pl-PL" sz="1400" i="0" u="none" strike="noStrike" kern="1200" cap="none" spc="0" normalizeH="0" baseline="0" noProof="0" dirty="0">
              <a:ln>
                <a:noFill/>
              </a:ln>
              <a:solidFill>
                <a:srgbClr val="000000"/>
              </a:solidFill>
              <a:effectLst/>
              <a:uLnTx/>
              <a:uFillTx/>
              <a:latin typeface="Arial"/>
              <a:ea typeface="+mn-ea"/>
              <a:cs typeface="+mn-cs"/>
            </a:endParaRPr>
          </a:p>
          <a:p>
            <a:pPr lvl="0" fontAlgn="auto">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Polska:</a:t>
            </a:r>
          </a:p>
          <a:p>
            <a:pPr fontAlgn="auto">
              <a:defRPr/>
            </a:pPr>
            <a:r>
              <a:rPr lang="pl-PL" sz="1400" b="1" dirty="0">
                <a:solidFill>
                  <a:srgbClr val="000000"/>
                </a:solidFill>
                <a:latin typeface="Arial"/>
              </a:rPr>
              <a:t>Ponad 2 000 000 - </a:t>
            </a:r>
            <a:r>
              <a:rPr lang="pl-PL" sz="1400" dirty="0">
                <a:solidFill>
                  <a:srgbClr val="000000"/>
                </a:solidFill>
                <a:latin typeface="Arial"/>
              </a:rPr>
              <a:t> </a:t>
            </a:r>
            <a:r>
              <a:rPr lang="pl-PL" altLang="en-US" sz="1400" dirty="0">
                <a:solidFill>
                  <a:srgbClr val="000000"/>
                </a:solidFill>
              </a:rPr>
              <a:t>liczba potencjalnych Dawców szpiku zarejestrowanych w Fundacji DKMS w Polsce (osób, które wyraziły gotowość do oddania krwiotwórczych komórek macierzystych Pacjentom).  </a:t>
            </a:r>
            <a:endParaRPr lang="en-GB" altLang="en-US" sz="1400" dirty="0">
              <a:solidFill>
                <a:srgbClr val="000000"/>
              </a:solidFill>
            </a:endParaRPr>
          </a:p>
          <a:p>
            <a:pPr fontAlgn="auto">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Ponad 13 000- </a:t>
            </a:r>
            <a:r>
              <a:rPr lang="pl-PL" altLang="en-US" sz="1400" dirty="0">
                <a:solidFill>
                  <a:srgbClr val="000000"/>
                </a:solidFill>
              </a:rPr>
              <a:t>liczba realnych Dawców z Fundacji DKMS (osób, które już oddały swoje krwiotwórcze komórki macierzyste Pacjentom).</a:t>
            </a:r>
          </a:p>
          <a:p>
            <a:pPr fontAlgn="auto">
              <a:defRPr/>
            </a:pPr>
            <a:endParaRPr lang="pl-PL" altLang="en-US" sz="1400" dirty="0">
              <a:solidFill>
                <a:srgbClr val="000000"/>
              </a:solidFill>
            </a:endParaRP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Fundacja DKMS w liczbach</a:t>
            </a:r>
            <a:br>
              <a:rPr lang="pl-PL" noProof="0" dirty="0"/>
            </a:br>
            <a:endParaRPr lang="pl-PL" noProof="0" dirty="0"/>
          </a:p>
        </p:txBody>
      </p:sp>
      <p:sp>
        <p:nvSpPr>
          <p:cNvPr id="4" name="Datumsplatzhalter 3">
            <a:extLst>
              <a:ext uri="{FF2B5EF4-FFF2-40B4-BE49-F238E27FC236}">
                <a16:creationId xmlns:a16="http://schemas.microsoft.com/office/drawing/2014/main" id="{65658852-8347-CFE2-E09A-880573107D35}"/>
              </a:ext>
            </a:extLst>
          </p:cNvPr>
          <p:cNvSpPr>
            <a:spLocks noGrp="1"/>
          </p:cNvSpPr>
          <p:nvPr>
            <p:ph type="dt" sz="half" idx="18"/>
            <p:custDataLst>
              <p:tags r:id="rId4"/>
            </p:custDataLst>
          </p:nvPr>
        </p:nvSpPr>
        <p:spPr/>
        <p:txBody>
          <a:bodyPr/>
          <a:lstStyle/>
          <a:p>
            <a:r>
              <a:rPr lang="en-US"/>
              <a:t>01.08.2023</a:t>
            </a:r>
            <a:endParaRPr lang="pl-PL" dirty="0"/>
          </a:p>
        </p:txBody>
      </p:sp>
      <p:sp>
        <p:nvSpPr>
          <p:cNvPr id="2" name="Fußzeilenplatzhalter 1">
            <a:extLst>
              <a:ext uri="{FF2B5EF4-FFF2-40B4-BE49-F238E27FC236}">
                <a16:creationId xmlns:a16="http://schemas.microsoft.com/office/drawing/2014/main" id="{59B33AFD-C0A7-FFB2-B128-DF40FB25472E}"/>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6" name="Foliennummernplatzhalter 5">
            <a:extLst>
              <a:ext uri="{FF2B5EF4-FFF2-40B4-BE49-F238E27FC236}">
                <a16:creationId xmlns:a16="http://schemas.microsoft.com/office/drawing/2014/main" id="{67BA6E1A-B3E8-D896-5CB7-72BBA61347AC}"/>
              </a:ext>
            </a:extLst>
          </p:cNvPr>
          <p:cNvSpPr>
            <a:spLocks noGrp="1"/>
          </p:cNvSpPr>
          <p:nvPr>
            <p:ph type="sldNum" sz="quarter" idx="20"/>
            <p:custDataLst>
              <p:tags r:id="rId6"/>
            </p:custDataLst>
          </p:nvPr>
        </p:nvSpPr>
        <p:spPr/>
        <p:txBody>
          <a:bodyPr/>
          <a:lstStyle/>
          <a:p>
            <a:fld id="{92DB0D90-6264-4E90-9724-ABC670DBF4FB}" type="slidenum">
              <a:rPr lang="pl-PL" smtClean="0"/>
              <a:pPr/>
              <a:t>7</a:t>
            </a:fld>
            <a:endParaRPr lang="pl-PL" dirty="0"/>
          </a:p>
        </p:txBody>
      </p:sp>
      <p:pic>
        <p:nvPicPr>
          <p:cNvPr id="13" name="Grafik 74">
            <a:extLst>
              <a:ext uri="{FF2B5EF4-FFF2-40B4-BE49-F238E27FC236}">
                <a16:creationId xmlns:a16="http://schemas.microsoft.com/office/drawing/2014/main" id="{F2811FBF-9068-4E31-83B7-AD46B2E7B709}"/>
              </a:ext>
            </a:extLst>
          </p:cNvPr>
          <p:cNvPicPr>
            <a:picLocks noChangeAspect="1"/>
          </p:cNvPicPr>
          <p:nvPr>
            <p:custDataLst>
              <p:tags r:id="rId7"/>
            </p:custDataLst>
          </p:nvPr>
        </p:nvPicPr>
        <p:blipFill>
          <a:blip r:embed="rId186">
            <a:extLst>
              <a:ext uri="{96DAC541-7B7A-43D3-8B79-37D633B846F1}">
                <asvg:svgBlip xmlns:asvg="http://schemas.microsoft.com/office/drawing/2016/SVG/main" r:embed="rId187"/>
              </a:ext>
            </a:extLst>
          </a:blip>
          <a:stretch>
            <a:fillRect/>
          </a:stretch>
        </p:blipFill>
        <p:spPr>
          <a:xfrm>
            <a:off x="898524" y="1443599"/>
            <a:ext cx="383860" cy="383860"/>
          </a:xfrm>
          <a:prstGeom prst="rect">
            <a:avLst/>
          </a:prstGeom>
        </p:spPr>
      </p:pic>
      <p:pic>
        <p:nvPicPr>
          <p:cNvPr id="14" name="Grafik 136">
            <a:extLst>
              <a:ext uri="{FF2B5EF4-FFF2-40B4-BE49-F238E27FC236}">
                <a16:creationId xmlns:a16="http://schemas.microsoft.com/office/drawing/2014/main" id="{ECDCCC55-F533-443D-BD17-9EEF9EE95081}"/>
              </a:ext>
            </a:extLst>
          </p:cNvPr>
          <p:cNvPicPr>
            <a:picLocks noChangeAspect="1"/>
          </p:cNvPicPr>
          <p:nvPr>
            <p:custDataLst>
              <p:tags r:id="rId8"/>
            </p:custDataLst>
          </p:nvPr>
        </p:nvPicPr>
        <p:blipFill>
          <a:blip r:embed="rId188">
            <a:extLst>
              <a:ext uri="{96DAC541-7B7A-43D3-8B79-37D633B846F1}">
                <asvg:svgBlip xmlns:asvg="http://schemas.microsoft.com/office/drawing/2016/SVG/main" r:embed="rId189"/>
              </a:ext>
            </a:extLst>
          </a:blip>
          <a:stretch>
            <a:fillRect/>
          </a:stretch>
        </p:blipFill>
        <p:spPr>
          <a:xfrm>
            <a:off x="898524" y="4775881"/>
            <a:ext cx="383860" cy="383860"/>
          </a:xfrm>
          <a:prstGeom prst="rect">
            <a:avLst/>
          </a:prstGeom>
        </p:spPr>
      </p:pic>
      <p:pic>
        <p:nvPicPr>
          <p:cNvPr id="15" name="Grafik 64">
            <a:extLst>
              <a:ext uri="{FF2B5EF4-FFF2-40B4-BE49-F238E27FC236}">
                <a16:creationId xmlns:a16="http://schemas.microsoft.com/office/drawing/2014/main" id="{18138021-81BC-42A5-B399-F3D6B2C2398A}"/>
              </a:ext>
            </a:extLst>
          </p:cNvPr>
          <p:cNvPicPr>
            <a:picLocks noChangeAspect="1"/>
          </p:cNvPicPr>
          <p:nvPr>
            <p:custDataLst>
              <p:tags r:id="rId9"/>
            </p:custDataLst>
          </p:nvPr>
        </p:nvPicPr>
        <p:blipFill>
          <a:blip r:embed="rId190">
            <a:extLst>
              <a:ext uri="{96DAC541-7B7A-43D3-8B79-37D633B846F1}">
                <asvg:svgBlip xmlns:asvg="http://schemas.microsoft.com/office/drawing/2016/SVG/main" r:embed="rId191"/>
              </a:ext>
            </a:extLst>
          </a:blip>
          <a:stretch>
            <a:fillRect/>
          </a:stretch>
        </p:blipFill>
        <p:spPr>
          <a:xfrm>
            <a:off x="898524" y="3352939"/>
            <a:ext cx="383860" cy="383860"/>
          </a:xfrm>
          <a:prstGeom prst="rect">
            <a:avLst/>
          </a:prstGeom>
        </p:spPr>
      </p:pic>
      <p:sp>
        <p:nvSpPr>
          <p:cNvPr id="10" name="TextBox 9">
            <a:extLst>
              <a:ext uri="{FF2B5EF4-FFF2-40B4-BE49-F238E27FC236}">
                <a16:creationId xmlns:a16="http://schemas.microsoft.com/office/drawing/2014/main" id="{14CDE264-E7EE-462E-AF3D-08EC89585080}"/>
              </a:ext>
            </a:extLst>
          </p:cNvPr>
          <p:cNvSpPr txBox="1"/>
          <p:nvPr/>
        </p:nvSpPr>
        <p:spPr>
          <a:xfrm>
            <a:off x="1282383" y="6021851"/>
            <a:ext cx="2773516" cy="353943"/>
          </a:xfrm>
          <a:prstGeom prst="rect">
            <a:avLst/>
          </a:prstGeom>
          <a:noFill/>
        </p:spPr>
        <p:txBody>
          <a:bodyPr wrap="none" rtlCol="0">
            <a:spAutoFit/>
          </a:bodyPr>
          <a:lstStyle/>
          <a:p>
            <a:pPr algn="ctr"/>
            <a:r>
              <a:rPr lang="pl-PL" sz="900" dirty="0">
                <a:solidFill>
                  <a:srgbClr val="000000"/>
                </a:solidFill>
              </a:rPr>
              <a:t>* </a:t>
            </a:r>
            <a:r>
              <a:rPr lang="pl-PL" sz="800" dirty="0">
                <a:solidFill>
                  <a:srgbClr val="000000"/>
                </a:solidFill>
              </a:rPr>
              <a:t>Dane 24.07.2024 [dostęp: https://statistics.wmda.info/] </a:t>
            </a:r>
          </a:p>
          <a:p>
            <a:pPr algn="ctr"/>
            <a:endParaRPr lang="en-US" sz="800" dirty="0"/>
          </a:p>
        </p:txBody>
      </p:sp>
      <p:grpSp>
        <p:nvGrpSpPr>
          <p:cNvPr id="368" name="Group 2">
            <a:extLst>
              <a:ext uri="{FF2B5EF4-FFF2-40B4-BE49-F238E27FC236}">
                <a16:creationId xmlns:a16="http://schemas.microsoft.com/office/drawing/2014/main" id="{005337EC-661F-4741-BD45-4C0B9AFE1289}"/>
              </a:ext>
            </a:extLst>
          </p:cNvPr>
          <p:cNvGrpSpPr>
            <a:grpSpLocks noChangeAspect="1"/>
          </p:cNvGrpSpPr>
          <p:nvPr>
            <p:custDataLst>
              <p:tags r:id="rId10"/>
            </p:custDataLst>
          </p:nvPr>
        </p:nvGrpSpPr>
        <p:grpSpPr>
          <a:xfrm>
            <a:off x="6124849" y="1996858"/>
            <a:ext cx="5889577" cy="2864284"/>
            <a:chOff x="395288" y="1901766"/>
            <a:chExt cx="8353424" cy="4062529"/>
          </a:xfrm>
          <a:solidFill>
            <a:schemeClr val="bg2"/>
          </a:solidFill>
        </p:grpSpPr>
        <p:sp>
          <p:nvSpPr>
            <p:cNvPr id="369" name="Freeform 3">
              <a:extLst>
                <a:ext uri="{FF2B5EF4-FFF2-40B4-BE49-F238E27FC236}">
                  <a16:creationId xmlns:a16="http://schemas.microsoft.com/office/drawing/2014/main" id="{C60BFF3C-292E-48A8-A156-8EFED4FA6E2E}"/>
                </a:ext>
              </a:extLst>
            </p:cNvPr>
            <p:cNvSpPr>
              <a:spLocks noChangeAspect="1"/>
            </p:cNvSpPr>
            <p:nvPr>
              <p:custDataLst>
                <p:tags r:id="rId11"/>
              </p:custDataLst>
            </p:nvPr>
          </p:nvSpPr>
          <p:spPr>
            <a:xfrm>
              <a:off x="2666062" y="5039910"/>
              <a:ext cx="456739" cy="912706"/>
            </a:xfrm>
            <a:custGeom>
              <a:avLst/>
              <a:gdLst/>
              <a:ahLst/>
              <a:cxnLst/>
              <a:rect l="l" t="t" r="r" b="b"/>
              <a:pathLst>
                <a:path w="456739" h="912706">
                  <a:moveTo>
                    <a:pt x="110368" y="829995"/>
                  </a:moveTo>
                  <a:lnTo>
                    <a:pt x="119232" y="844463"/>
                  </a:lnTo>
                  <a:lnTo>
                    <a:pt x="130773" y="868050"/>
                  </a:lnTo>
                  <a:lnTo>
                    <a:pt x="160781" y="887087"/>
                  </a:lnTo>
                  <a:lnTo>
                    <a:pt x="193096" y="895063"/>
                  </a:lnTo>
                  <a:lnTo>
                    <a:pt x="182709" y="911097"/>
                  </a:lnTo>
                  <a:lnTo>
                    <a:pt x="160781" y="912706"/>
                  </a:lnTo>
                  <a:lnTo>
                    <a:pt x="149010" y="901361"/>
                  </a:lnTo>
                  <a:lnTo>
                    <a:pt x="135102" y="900503"/>
                  </a:lnTo>
                  <a:lnTo>
                    <a:pt x="110383" y="900486"/>
                  </a:lnTo>
                  <a:close/>
                  <a:moveTo>
                    <a:pt x="164858" y="0"/>
                  </a:moveTo>
                  <a:lnTo>
                    <a:pt x="195061" y="5897"/>
                  </a:lnTo>
                  <a:lnTo>
                    <a:pt x="208631" y="23421"/>
                  </a:lnTo>
                  <a:lnTo>
                    <a:pt x="217637" y="3905"/>
                  </a:lnTo>
                  <a:lnTo>
                    <a:pt x="243960" y="4906"/>
                  </a:lnTo>
                  <a:lnTo>
                    <a:pt x="247686" y="10093"/>
                  </a:lnTo>
                  <a:lnTo>
                    <a:pt x="290123" y="49799"/>
                  </a:lnTo>
                  <a:lnTo>
                    <a:pt x="308995" y="53516"/>
                  </a:lnTo>
                  <a:lnTo>
                    <a:pt x="337198" y="71606"/>
                  </a:lnTo>
                  <a:lnTo>
                    <a:pt x="360972" y="81206"/>
                  </a:lnTo>
                  <a:lnTo>
                    <a:pt x="364285" y="92068"/>
                  </a:lnTo>
                  <a:lnTo>
                    <a:pt x="341560" y="129675"/>
                  </a:lnTo>
                  <a:lnTo>
                    <a:pt x="364837" y="136442"/>
                  </a:lnTo>
                  <a:lnTo>
                    <a:pt x="390760" y="140240"/>
                  </a:lnTo>
                  <a:lnTo>
                    <a:pt x="409015" y="136241"/>
                  </a:lnTo>
                  <a:lnTo>
                    <a:pt x="429953" y="117223"/>
                  </a:lnTo>
                  <a:lnTo>
                    <a:pt x="433727" y="95410"/>
                  </a:lnTo>
                  <a:lnTo>
                    <a:pt x="445158" y="90688"/>
                  </a:lnTo>
                  <a:lnTo>
                    <a:pt x="456739" y="104928"/>
                  </a:lnTo>
                  <a:lnTo>
                    <a:pt x="456268" y="124703"/>
                  </a:lnTo>
                  <a:lnTo>
                    <a:pt x="436833" y="138405"/>
                  </a:lnTo>
                  <a:lnTo>
                    <a:pt x="421331" y="148551"/>
                  </a:lnTo>
                  <a:lnTo>
                    <a:pt x="395280" y="172842"/>
                  </a:lnTo>
                  <a:lnTo>
                    <a:pt x="364482" y="207196"/>
                  </a:lnTo>
                  <a:lnTo>
                    <a:pt x="358716" y="227495"/>
                  </a:lnTo>
                  <a:lnTo>
                    <a:pt x="352541" y="253724"/>
                  </a:lnTo>
                  <a:lnTo>
                    <a:pt x="352767" y="279313"/>
                  </a:lnTo>
                  <a:lnTo>
                    <a:pt x="347759" y="285056"/>
                  </a:lnTo>
                  <a:lnTo>
                    <a:pt x="345971" y="301779"/>
                  </a:lnTo>
                  <a:lnTo>
                    <a:pt x="344393" y="315344"/>
                  </a:lnTo>
                  <a:lnTo>
                    <a:pt x="373699" y="337713"/>
                  </a:lnTo>
                  <a:lnTo>
                    <a:pt x="370548" y="355821"/>
                  </a:lnTo>
                  <a:lnTo>
                    <a:pt x="384972" y="367316"/>
                  </a:lnTo>
                  <a:lnTo>
                    <a:pt x="383799" y="380248"/>
                  </a:lnTo>
                  <a:lnTo>
                    <a:pt x="361619" y="414438"/>
                  </a:lnTo>
                  <a:lnTo>
                    <a:pt x="327395" y="428845"/>
                  </a:lnTo>
                  <a:lnTo>
                    <a:pt x="281100" y="434456"/>
                  </a:lnTo>
                  <a:lnTo>
                    <a:pt x="255744" y="431741"/>
                  </a:lnTo>
                  <a:lnTo>
                    <a:pt x="260596" y="447852"/>
                  </a:lnTo>
                  <a:lnTo>
                    <a:pt x="255869" y="468189"/>
                  </a:lnTo>
                  <a:lnTo>
                    <a:pt x="260129" y="481967"/>
                  </a:lnTo>
                  <a:lnTo>
                    <a:pt x="246283" y="491617"/>
                  </a:lnTo>
                  <a:lnTo>
                    <a:pt x="222631" y="495411"/>
                  </a:lnTo>
                  <a:lnTo>
                    <a:pt x="200435" y="485413"/>
                  </a:lnTo>
                  <a:lnTo>
                    <a:pt x="191526" y="492594"/>
                  </a:lnTo>
                  <a:lnTo>
                    <a:pt x="194745" y="520021"/>
                  </a:lnTo>
                  <a:lnTo>
                    <a:pt x="210330" y="528379"/>
                  </a:lnTo>
                  <a:lnTo>
                    <a:pt x="222967" y="519624"/>
                  </a:lnTo>
                  <a:lnTo>
                    <a:pt x="229843" y="534060"/>
                  </a:lnTo>
                  <a:lnTo>
                    <a:pt x="208589" y="542721"/>
                  </a:lnTo>
                  <a:lnTo>
                    <a:pt x="190054" y="560148"/>
                  </a:lnTo>
                  <a:lnTo>
                    <a:pt x="186660" y="588565"/>
                  </a:lnTo>
                  <a:lnTo>
                    <a:pt x="181203" y="603806"/>
                  </a:lnTo>
                  <a:lnTo>
                    <a:pt x="159397" y="603887"/>
                  </a:lnTo>
                  <a:lnTo>
                    <a:pt x="141304" y="618547"/>
                  </a:lnTo>
                  <a:lnTo>
                    <a:pt x="134685" y="640147"/>
                  </a:lnTo>
                  <a:lnTo>
                    <a:pt x="157386" y="661402"/>
                  </a:lnTo>
                  <a:lnTo>
                    <a:pt x="179454" y="667302"/>
                  </a:lnTo>
                  <a:lnTo>
                    <a:pt x="171512" y="693635"/>
                  </a:lnTo>
                  <a:lnTo>
                    <a:pt x="144249" y="710326"/>
                  </a:lnTo>
                  <a:lnTo>
                    <a:pt x="129248" y="745359"/>
                  </a:lnTo>
                  <a:lnTo>
                    <a:pt x="108181" y="757257"/>
                  </a:lnTo>
                  <a:lnTo>
                    <a:pt x="98722" y="771452"/>
                  </a:lnTo>
                  <a:lnTo>
                    <a:pt x="106177" y="803218"/>
                  </a:lnTo>
                  <a:lnTo>
                    <a:pt x="121540" y="821100"/>
                  </a:lnTo>
                  <a:lnTo>
                    <a:pt x="111810" y="819534"/>
                  </a:lnTo>
                  <a:lnTo>
                    <a:pt x="90416" y="814684"/>
                  </a:lnTo>
                  <a:lnTo>
                    <a:pt x="34638" y="810552"/>
                  </a:lnTo>
                  <a:lnTo>
                    <a:pt x="25068" y="792617"/>
                  </a:lnTo>
                  <a:lnTo>
                    <a:pt x="25517" y="769765"/>
                  </a:lnTo>
                  <a:lnTo>
                    <a:pt x="10149" y="771723"/>
                  </a:lnTo>
                  <a:lnTo>
                    <a:pt x="2017" y="760723"/>
                  </a:lnTo>
                  <a:lnTo>
                    <a:pt x="0" y="728828"/>
                  </a:lnTo>
                  <a:lnTo>
                    <a:pt x="17708" y="715713"/>
                  </a:lnTo>
                  <a:lnTo>
                    <a:pt x="25028" y="696910"/>
                  </a:lnTo>
                  <a:lnTo>
                    <a:pt x="22346" y="682017"/>
                  </a:lnTo>
                  <a:lnTo>
                    <a:pt x="34582" y="657061"/>
                  </a:lnTo>
                  <a:lnTo>
                    <a:pt x="43013" y="618800"/>
                  </a:lnTo>
                  <a:lnTo>
                    <a:pt x="40536" y="602005"/>
                  </a:lnTo>
                  <a:lnTo>
                    <a:pt x="50612" y="596607"/>
                  </a:lnTo>
                  <a:lnTo>
                    <a:pt x="48142" y="585902"/>
                  </a:lnTo>
                  <a:lnTo>
                    <a:pt x="37435" y="580225"/>
                  </a:lnTo>
                  <a:lnTo>
                    <a:pt x="45043" y="568374"/>
                  </a:lnTo>
                  <a:lnTo>
                    <a:pt x="34624" y="557708"/>
                  </a:lnTo>
                  <a:lnTo>
                    <a:pt x="29235" y="525485"/>
                  </a:lnTo>
                  <a:lnTo>
                    <a:pt x="38516" y="519837"/>
                  </a:lnTo>
                  <a:lnTo>
                    <a:pt x="34617" y="486226"/>
                  </a:lnTo>
                  <a:lnTo>
                    <a:pt x="40041" y="458271"/>
                  </a:lnTo>
                  <a:lnTo>
                    <a:pt x="46209" y="434121"/>
                  </a:lnTo>
                  <a:lnTo>
                    <a:pt x="60032" y="424346"/>
                  </a:lnTo>
                  <a:lnTo>
                    <a:pt x="53016" y="398208"/>
                  </a:lnTo>
                  <a:lnTo>
                    <a:pt x="52941" y="373796"/>
                  </a:lnTo>
                  <a:lnTo>
                    <a:pt x="70417" y="356551"/>
                  </a:lnTo>
                  <a:lnTo>
                    <a:pt x="69880" y="334614"/>
                  </a:lnTo>
                  <a:lnTo>
                    <a:pt x="83054" y="309155"/>
                  </a:lnTo>
                  <a:lnTo>
                    <a:pt x="83113" y="285332"/>
                  </a:lnTo>
                  <a:lnTo>
                    <a:pt x="77120" y="280619"/>
                  </a:lnTo>
                  <a:lnTo>
                    <a:pt x="66486" y="236367"/>
                  </a:lnTo>
                  <a:lnTo>
                    <a:pt x="80707" y="210235"/>
                  </a:lnTo>
                  <a:lnTo>
                    <a:pt x="78524" y="185788"/>
                  </a:lnTo>
                  <a:lnTo>
                    <a:pt x="86775" y="162977"/>
                  </a:lnTo>
                  <a:lnTo>
                    <a:pt x="101891" y="139561"/>
                  </a:lnTo>
                  <a:lnTo>
                    <a:pt x="118181" y="124104"/>
                  </a:lnTo>
                  <a:lnTo>
                    <a:pt x="111273" y="114378"/>
                  </a:lnTo>
                  <a:lnTo>
                    <a:pt x="116093" y="106415"/>
                  </a:lnTo>
                  <a:lnTo>
                    <a:pt x="115362" y="65405"/>
                  </a:lnTo>
                  <a:lnTo>
                    <a:pt x="140504" y="53333"/>
                  </a:lnTo>
                  <a:lnTo>
                    <a:pt x="148426" y="27998"/>
                  </a:lnTo>
                  <a:lnTo>
                    <a:pt x="145623" y="2191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0" name="Freeform 4">
              <a:extLst>
                <a:ext uri="{FF2B5EF4-FFF2-40B4-BE49-F238E27FC236}">
                  <a16:creationId xmlns:a16="http://schemas.microsoft.com/office/drawing/2014/main" id="{8FFCEB1E-1851-4FE2-AE7B-6EA06A2EA4AD}"/>
                </a:ext>
              </a:extLst>
            </p:cNvPr>
            <p:cNvSpPr>
              <a:spLocks noChangeAspect="1"/>
            </p:cNvSpPr>
            <p:nvPr>
              <p:custDataLst>
                <p:tags r:id="rId12"/>
              </p:custDataLst>
            </p:nvPr>
          </p:nvSpPr>
          <p:spPr>
            <a:xfrm>
              <a:off x="2537617" y="3888436"/>
              <a:ext cx="45703" cy="81965"/>
            </a:xfrm>
            <a:custGeom>
              <a:avLst/>
              <a:gdLst/>
              <a:ahLst/>
              <a:cxnLst/>
              <a:rect l="l" t="t" r="r" b="b"/>
              <a:pathLst>
                <a:path w="45703" h="81965">
                  <a:moveTo>
                    <a:pt x="18215" y="45210"/>
                  </a:moveTo>
                  <a:lnTo>
                    <a:pt x="25160" y="46201"/>
                  </a:lnTo>
                  <a:lnTo>
                    <a:pt x="33239" y="66564"/>
                  </a:lnTo>
                  <a:lnTo>
                    <a:pt x="33362" y="80750"/>
                  </a:lnTo>
                  <a:lnTo>
                    <a:pt x="27699" y="81965"/>
                  </a:lnTo>
                  <a:lnTo>
                    <a:pt x="21835" y="67882"/>
                  </a:lnTo>
                  <a:lnTo>
                    <a:pt x="13192" y="60792"/>
                  </a:lnTo>
                  <a:close/>
                  <a:moveTo>
                    <a:pt x="10849" y="4219"/>
                  </a:moveTo>
                  <a:lnTo>
                    <a:pt x="26083" y="4963"/>
                  </a:lnTo>
                  <a:lnTo>
                    <a:pt x="26776" y="11407"/>
                  </a:lnTo>
                  <a:lnTo>
                    <a:pt x="1615" y="15369"/>
                  </a:lnTo>
                  <a:lnTo>
                    <a:pt x="0" y="6203"/>
                  </a:lnTo>
                  <a:close/>
                  <a:moveTo>
                    <a:pt x="27468" y="0"/>
                  </a:moveTo>
                  <a:lnTo>
                    <a:pt x="45703" y="11160"/>
                  </a:lnTo>
                  <a:lnTo>
                    <a:pt x="41721" y="28733"/>
                  </a:lnTo>
                  <a:lnTo>
                    <a:pt x="37477" y="25570"/>
                  </a:lnTo>
                  <a:lnTo>
                    <a:pt x="37855" y="12646"/>
                  </a:lnTo>
                  <a:lnTo>
                    <a:pt x="27514" y="285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1" name="Freeform 5">
              <a:extLst>
                <a:ext uri="{FF2B5EF4-FFF2-40B4-BE49-F238E27FC236}">
                  <a16:creationId xmlns:a16="http://schemas.microsoft.com/office/drawing/2014/main" id="{2EB5F9B7-EF3F-4AC1-844F-90BC8FCE6253}"/>
                </a:ext>
              </a:extLst>
            </p:cNvPr>
            <p:cNvSpPr>
              <a:spLocks noChangeAspect="1"/>
            </p:cNvSpPr>
            <p:nvPr>
              <p:custDataLst>
                <p:tags r:id="rId13"/>
              </p:custDataLst>
            </p:nvPr>
          </p:nvSpPr>
          <p:spPr>
            <a:xfrm>
              <a:off x="2301040" y="4096112"/>
              <a:ext cx="25907" cy="62101"/>
            </a:xfrm>
            <a:custGeom>
              <a:avLst/>
              <a:gdLst/>
              <a:ahLst/>
              <a:cxnLst/>
              <a:rect l="0" t="0" r="0" b="0"/>
              <a:pathLst>
                <a:path w="25907" h="62101">
                  <a:moveTo>
                    <a:pt x="1986" y="16492"/>
                  </a:moveTo>
                  <a:lnTo>
                    <a:pt x="1805" y="12987"/>
                  </a:lnTo>
                  <a:lnTo>
                    <a:pt x="4599" y="11890"/>
                  </a:lnTo>
                  <a:lnTo>
                    <a:pt x="8789" y="14709"/>
                  </a:lnTo>
                  <a:lnTo>
                    <a:pt x="17058" y="314"/>
                  </a:lnTo>
                  <a:lnTo>
                    <a:pt x="21445" y="0"/>
                  </a:lnTo>
                  <a:lnTo>
                    <a:pt x="21531" y="3502"/>
                  </a:lnTo>
                  <a:lnTo>
                    <a:pt x="25906" y="3611"/>
                  </a:lnTo>
                  <a:lnTo>
                    <a:pt x="25521" y="10099"/>
                  </a:lnTo>
                  <a:lnTo>
                    <a:pt x="21784" y="20401"/>
                  </a:lnTo>
                  <a:lnTo>
                    <a:pt x="23804" y="24081"/>
                  </a:lnTo>
                  <a:lnTo>
                    <a:pt x="21385" y="32587"/>
                  </a:lnTo>
                  <a:lnTo>
                    <a:pt x="22842" y="34859"/>
                  </a:lnTo>
                  <a:lnTo>
                    <a:pt x="20167" y="46850"/>
                  </a:lnTo>
                  <a:lnTo>
                    <a:pt x="15633" y="53138"/>
                  </a:lnTo>
                  <a:lnTo>
                    <a:pt x="11464" y="53892"/>
                  </a:lnTo>
                  <a:lnTo>
                    <a:pt x="6890" y="62093"/>
                  </a:lnTo>
                  <a:lnTo>
                    <a:pt x="0" y="62100"/>
                  </a:lnTo>
                  <a:lnTo>
                    <a:pt x="1807" y="3534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2" name="Freeform 6">
              <a:extLst>
                <a:ext uri="{FF2B5EF4-FFF2-40B4-BE49-F238E27FC236}">
                  <a16:creationId xmlns:a16="http://schemas.microsoft.com/office/drawing/2014/main" id="{15566F0F-9FE6-4619-8E18-7AC1DE866BCA}"/>
                </a:ext>
              </a:extLst>
            </p:cNvPr>
            <p:cNvSpPr>
              <a:spLocks noChangeAspect="1"/>
            </p:cNvSpPr>
            <p:nvPr>
              <p:custDataLst>
                <p:tags r:id="rId14"/>
              </p:custDataLst>
            </p:nvPr>
          </p:nvSpPr>
          <p:spPr>
            <a:xfrm>
              <a:off x="2754353" y="4754004"/>
              <a:ext cx="279118" cy="311147"/>
            </a:xfrm>
            <a:custGeom>
              <a:avLst/>
              <a:gdLst/>
              <a:ahLst/>
              <a:cxnLst/>
              <a:rect l="0" t="0" r="0" b="0"/>
              <a:pathLst>
                <a:path w="279118" h="311147">
                  <a:moveTo>
                    <a:pt x="155669" y="290812"/>
                  </a:moveTo>
                  <a:lnTo>
                    <a:pt x="129346" y="289811"/>
                  </a:lnTo>
                  <a:lnTo>
                    <a:pt x="120340" y="309327"/>
                  </a:lnTo>
                  <a:lnTo>
                    <a:pt x="106770" y="291803"/>
                  </a:lnTo>
                  <a:lnTo>
                    <a:pt x="76567" y="285906"/>
                  </a:lnTo>
                  <a:lnTo>
                    <a:pt x="57332" y="307816"/>
                  </a:lnTo>
                  <a:lnTo>
                    <a:pt x="40678" y="311146"/>
                  </a:lnTo>
                  <a:lnTo>
                    <a:pt x="31635" y="277734"/>
                  </a:lnTo>
                  <a:lnTo>
                    <a:pt x="19234" y="250695"/>
                  </a:lnTo>
                  <a:lnTo>
                    <a:pt x="26504" y="227471"/>
                  </a:lnTo>
                  <a:lnTo>
                    <a:pt x="14395" y="217336"/>
                  </a:lnTo>
                  <a:lnTo>
                    <a:pt x="11315" y="200101"/>
                  </a:lnTo>
                  <a:lnTo>
                    <a:pt x="0" y="183898"/>
                  </a:lnTo>
                  <a:lnTo>
                    <a:pt x="14561" y="158262"/>
                  </a:lnTo>
                  <a:lnTo>
                    <a:pt x="4632" y="138360"/>
                  </a:lnTo>
                  <a:lnTo>
                    <a:pt x="9928" y="130415"/>
                  </a:lnTo>
                  <a:lnTo>
                    <a:pt x="5792" y="121662"/>
                  </a:lnTo>
                  <a:lnTo>
                    <a:pt x="14809" y="109883"/>
                  </a:lnTo>
                  <a:lnTo>
                    <a:pt x="15262" y="89858"/>
                  </a:lnTo>
                  <a:lnTo>
                    <a:pt x="16397" y="73350"/>
                  </a:lnTo>
                  <a:lnTo>
                    <a:pt x="21360" y="65413"/>
                  </a:lnTo>
                  <a:lnTo>
                    <a:pt x="1402" y="27753"/>
                  </a:lnTo>
                  <a:lnTo>
                    <a:pt x="18565" y="29730"/>
                  </a:lnTo>
                  <a:lnTo>
                    <a:pt x="30450" y="29220"/>
                  </a:lnTo>
                  <a:lnTo>
                    <a:pt x="35599" y="22157"/>
                  </a:lnTo>
                  <a:lnTo>
                    <a:pt x="55782" y="12701"/>
                  </a:lnTo>
                  <a:lnTo>
                    <a:pt x="67944" y="3947"/>
                  </a:lnTo>
                  <a:lnTo>
                    <a:pt x="98148" y="0"/>
                  </a:lnTo>
                  <a:lnTo>
                    <a:pt x="95691" y="17475"/>
                  </a:lnTo>
                  <a:lnTo>
                    <a:pt x="98529" y="26448"/>
                  </a:lnTo>
                  <a:lnTo>
                    <a:pt x="96674" y="42115"/>
                  </a:lnTo>
                  <a:lnTo>
                    <a:pt x="121740" y="63085"/>
                  </a:lnTo>
                  <a:lnTo>
                    <a:pt x="147589" y="66954"/>
                  </a:lnTo>
                  <a:lnTo>
                    <a:pt x="156671" y="75718"/>
                  </a:lnTo>
                  <a:lnTo>
                    <a:pt x="172274" y="80369"/>
                  </a:lnTo>
                  <a:lnTo>
                    <a:pt x="181828" y="87191"/>
                  </a:lnTo>
                  <a:lnTo>
                    <a:pt x="196348" y="86960"/>
                  </a:lnTo>
                  <a:lnTo>
                    <a:pt x="209755" y="93931"/>
                  </a:lnTo>
                  <a:lnTo>
                    <a:pt x="210773" y="107536"/>
                  </a:lnTo>
                  <a:lnTo>
                    <a:pt x="215272" y="114416"/>
                  </a:lnTo>
                  <a:lnTo>
                    <a:pt x="215576" y="124589"/>
                  </a:lnTo>
                  <a:lnTo>
                    <a:pt x="208840" y="124983"/>
                  </a:lnTo>
                  <a:lnTo>
                    <a:pt x="217717" y="152517"/>
                  </a:lnTo>
                  <a:lnTo>
                    <a:pt x="261970" y="153495"/>
                  </a:lnTo>
                  <a:lnTo>
                    <a:pt x="258581" y="167192"/>
                  </a:lnTo>
                  <a:lnTo>
                    <a:pt x="261057" y="176565"/>
                  </a:lnTo>
                  <a:lnTo>
                    <a:pt x="273665" y="183242"/>
                  </a:lnTo>
                  <a:lnTo>
                    <a:pt x="279117" y="198051"/>
                  </a:lnTo>
                  <a:lnTo>
                    <a:pt x="275017" y="216862"/>
                  </a:lnTo>
                  <a:lnTo>
                    <a:pt x="268693" y="227349"/>
                  </a:lnTo>
                  <a:lnTo>
                    <a:pt x="270913" y="241019"/>
                  </a:lnTo>
                  <a:lnTo>
                    <a:pt x="263697" y="245985"/>
                  </a:lnTo>
                  <a:lnTo>
                    <a:pt x="263303" y="238581"/>
                  </a:lnTo>
                  <a:lnTo>
                    <a:pt x="241800" y="226317"/>
                  </a:lnTo>
                  <a:lnTo>
                    <a:pt x="220367" y="225978"/>
                  </a:lnTo>
                  <a:lnTo>
                    <a:pt x="180140" y="232951"/>
                  </a:lnTo>
                  <a:lnTo>
                    <a:pt x="169069" y="254089"/>
                  </a:lnTo>
                  <a:lnTo>
                    <a:pt x="168486" y="267047"/>
                  </a:lnTo>
                  <a:lnTo>
                    <a:pt x="159395" y="29599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3" name="Freeform 7">
              <a:extLst>
                <a:ext uri="{FF2B5EF4-FFF2-40B4-BE49-F238E27FC236}">
                  <a16:creationId xmlns:a16="http://schemas.microsoft.com/office/drawing/2014/main" id="{2AC2128D-55D4-4148-909C-90AF971A180B}"/>
                </a:ext>
              </a:extLst>
            </p:cNvPr>
            <p:cNvSpPr>
              <a:spLocks noChangeAspect="1"/>
            </p:cNvSpPr>
            <p:nvPr>
              <p:custDataLst>
                <p:tags r:id="rId15"/>
              </p:custDataLst>
            </p:nvPr>
          </p:nvSpPr>
          <p:spPr>
            <a:xfrm>
              <a:off x="2652863" y="4406805"/>
              <a:ext cx="906163" cy="931228"/>
            </a:xfrm>
            <a:custGeom>
              <a:avLst/>
              <a:gdLst/>
              <a:ahLst/>
              <a:cxnLst/>
              <a:rect l="0" t="0" r="0" b="0"/>
              <a:pathLst>
                <a:path w="906163" h="931228">
                  <a:moveTo>
                    <a:pt x="377681" y="840301"/>
                  </a:moveTo>
                  <a:lnTo>
                    <a:pt x="408479" y="805947"/>
                  </a:lnTo>
                  <a:lnTo>
                    <a:pt x="434530" y="781656"/>
                  </a:lnTo>
                  <a:lnTo>
                    <a:pt x="450032" y="771510"/>
                  </a:lnTo>
                  <a:lnTo>
                    <a:pt x="469467" y="757808"/>
                  </a:lnTo>
                  <a:lnTo>
                    <a:pt x="469938" y="738033"/>
                  </a:lnTo>
                  <a:lnTo>
                    <a:pt x="458357" y="723793"/>
                  </a:lnTo>
                  <a:lnTo>
                    <a:pt x="446926" y="728515"/>
                  </a:lnTo>
                  <a:lnTo>
                    <a:pt x="451458" y="714307"/>
                  </a:lnTo>
                  <a:lnTo>
                    <a:pt x="454585" y="699790"/>
                  </a:lnTo>
                  <a:lnTo>
                    <a:pt x="454597" y="686333"/>
                  </a:lnTo>
                  <a:lnTo>
                    <a:pt x="446290" y="681900"/>
                  </a:lnTo>
                  <a:lnTo>
                    <a:pt x="437632" y="685850"/>
                  </a:lnTo>
                  <a:lnTo>
                    <a:pt x="429026" y="684766"/>
                  </a:lnTo>
                  <a:lnTo>
                    <a:pt x="426328" y="675369"/>
                  </a:lnTo>
                  <a:lnTo>
                    <a:pt x="424180" y="653064"/>
                  </a:lnTo>
                  <a:lnTo>
                    <a:pt x="419857" y="645815"/>
                  </a:lnTo>
                  <a:lnTo>
                    <a:pt x="404268" y="639254"/>
                  </a:lnTo>
                  <a:lnTo>
                    <a:pt x="394846" y="644001"/>
                  </a:lnTo>
                  <a:lnTo>
                    <a:pt x="370479" y="639349"/>
                  </a:lnTo>
                  <a:lnTo>
                    <a:pt x="372013" y="606559"/>
                  </a:lnTo>
                  <a:lnTo>
                    <a:pt x="365187" y="593184"/>
                  </a:lnTo>
                  <a:lnTo>
                    <a:pt x="372403" y="588218"/>
                  </a:lnTo>
                  <a:lnTo>
                    <a:pt x="370183" y="574548"/>
                  </a:lnTo>
                  <a:lnTo>
                    <a:pt x="376507" y="564061"/>
                  </a:lnTo>
                  <a:lnTo>
                    <a:pt x="380607" y="545250"/>
                  </a:lnTo>
                  <a:lnTo>
                    <a:pt x="375155" y="530441"/>
                  </a:lnTo>
                  <a:lnTo>
                    <a:pt x="362547" y="523764"/>
                  </a:lnTo>
                  <a:lnTo>
                    <a:pt x="360071" y="514391"/>
                  </a:lnTo>
                  <a:lnTo>
                    <a:pt x="363460" y="500694"/>
                  </a:lnTo>
                  <a:lnTo>
                    <a:pt x="319207" y="499716"/>
                  </a:lnTo>
                  <a:lnTo>
                    <a:pt x="310330" y="472182"/>
                  </a:lnTo>
                  <a:lnTo>
                    <a:pt x="317066" y="471788"/>
                  </a:lnTo>
                  <a:lnTo>
                    <a:pt x="316762" y="461615"/>
                  </a:lnTo>
                  <a:lnTo>
                    <a:pt x="312263" y="454735"/>
                  </a:lnTo>
                  <a:lnTo>
                    <a:pt x="311245" y="441130"/>
                  </a:lnTo>
                  <a:lnTo>
                    <a:pt x="297838" y="434159"/>
                  </a:lnTo>
                  <a:lnTo>
                    <a:pt x="283318" y="434390"/>
                  </a:lnTo>
                  <a:lnTo>
                    <a:pt x="273764" y="427568"/>
                  </a:lnTo>
                  <a:lnTo>
                    <a:pt x="258161" y="422917"/>
                  </a:lnTo>
                  <a:lnTo>
                    <a:pt x="249079" y="414153"/>
                  </a:lnTo>
                  <a:lnTo>
                    <a:pt x="223230" y="410284"/>
                  </a:lnTo>
                  <a:lnTo>
                    <a:pt x="198164" y="389314"/>
                  </a:lnTo>
                  <a:lnTo>
                    <a:pt x="200019" y="373647"/>
                  </a:lnTo>
                  <a:lnTo>
                    <a:pt x="197181" y="364674"/>
                  </a:lnTo>
                  <a:lnTo>
                    <a:pt x="199638" y="347199"/>
                  </a:lnTo>
                  <a:lnTo>
                    <a:pt x="169434" y="351146"/>
                  </a:lnTo>
                  <a:lnTo>
                    <a:pt x="157272" y="359900"/>
                  </a:lnTo>
                  <a:lnTo>
                    <a:pt x="137089" y="369356"/>
                  </a:lnTo>
                  <a:lnTo>
                    <a:pt x="131940" y="376419"/>
                  </a:lnTo>
                  <a:lnTo>
                    <a:pt x="120055" y="376929"/>
                  </a:lnTo>
                  <a:lnTo>
                    <a:pt x="102892" y="374952"/>
                  </a:lnTo>
                  <a:lnTo>
                    <a:pt x="89872" y="378975"/>
                  </a:lnTo>
                  <a:lnTo>
                    <a:pt x="79371" y="376293"/>
                  </a:lnTo>
                  <a:lnTo>
                    <a:pt x="80913" y="340867"/>
                  </a:lnTo>
                  <a:lnTo>
                    <a:pt x="61973" y="354598"/>
                  </a:lnTo>
                  <a:lnTo>
                    <a:pt x="41603" y="353995"/>
                  </a:lnTo>
                  <a:lnTo>
                    <a:pt x="32874" y="341567"/>
                  </a:lnTo>
                  <a:lnTo>
                    <a:pt x="17555" y="340217"/>
                  </a:lnTo>
                  <a:lnTo>
                    <a:pt x="22433" y="330223"/>
                  </a:lnTo>
                  <a:lnTo>
                    <a:pt x="9606" y="316075"/>
                  </a:lnTo>
                  <a:lnTo>
                    <a:pt x="0" y="295156"/>
                  </a:lnTo>
                  <a:lnTo>
                    <a:pt x="6090" y="290913"/>
                  </a:lnTo>
                  <a:lnTo>
                    <a:pt x="6065" y="281114"/>
                  </a:lnTo>
                  <a:lnTo>
                    <a:pt x="20018" y="274421"/>
                  </a:lnTo>
                  <a:lnTo>
                    <a:pt x="17717" y="261890"/>
                  </a:lnTo>
                  <a:lnTo>
                    <a:pt x="23607" y="253831"/>
                  </a:lnTo>
                  <a:lnTo>
                    <a:pt x="25283" y="243027"/>
                  </a:lnTo>
                  <a:lnTo>
                    <a:pt x="51678" y="227280"/>
                  </a:lnTo>
                  <a:lnTo>
                    <a:pt x="70596" y="222830"/>
                  </a:lnTo>
                  <a:lnTo>
                    <a:pt x="73691" y="219354"/>
                  </a:lnTo>
                  <a:lnTo>
                    <a:pt x="94491" y="220439"/>
                  </a:lnTo>
                  <a:lnTo>
                    <a:pt x="104868" y="157092"/>
                  </a:lnTo>
                  <a:lnTo>
                    <a:pt x="105413" y="147080"/>
                  </a:lnTo>
                  <a:lnTo>
                    <a:pt x="101799" y="133861"/>
                  </a:lnTo>
                  <a:lnTo>
                    <a:pt x="91559" y="125440"/>
                  </a:lnTo>
                  <a:lnTo>
                    <a:pt x="91677" y="108668"/>
                  </a:lnTo>
                  <a:lnTo>
                    <a:pt x="104676" y="104865"/>
                  </a:lnTo>
                  <a:lnTo>
                    <a:pt x="109292" y="107255"/>
                  </a:lnTo>
                  <a:lnTo>
                    <a:pt x="110072" y="98413"/>
                  </a:lnTo>
                  <a:lnTo>
                    <a:pt x="96547" y="96026"/>
                  </a:lnTo>
                  <a:lnTo>
                    <a:pt x="96261" y="81580"/>
                  </a:lnTo>
                  <a:lnTo>
                    <a:pt x="141235" y="82095"/>
                  </a:lnTo>
                  <a:lnTo>
                    <a:pt x="148870" y="74136"/>
                  </a:lnTo>
                  <a:lnTo>
                    <a:pt x="155283" y="81459"/>
                  </a:lnTo>
                  <a:lnTo>
                    <a:pt x="159783" y="95078"/>
                  </a:lnTo>
                  <a:lnTo>
                    <a:pt x="164139" y="92233"/>
                  </a:lnTo>
                  <a:lnTo>
                    <a:pt x="176847" y="104443"/>
                  </a:lnTo>
                  <a:lnTo>
                    <a:pt x="194794" y="102947"/>
                  </a:lnTo>
                  <a:lnTo>
                    <a:pt x="199262" y="95883"/>
                  </a:lnTo>
                  <a:lnTo>
                    <a:pt x="216428" y="90493"/>
                  </a:lnTo>
                  <a:lnTo>
                    <a:pt x="225932" y="86704"/>
                  </a:lnTo>
                  <a:lnTo>
                    <a:pt x="228614" y="76925"/>
                  </a:lnTo>
                  <a:lnTo>
                    <a:pt x="245102" y="70355"/>
                  </a:lnTo>
                  <a:lnTo>
                    <a:pt x="243854" y="65501"/>
                  </a:lnTo>
                  <a:lnTo>
                    <a:pt x="224300" y="63516"/>
                  </a:lnTo>
                  <a:lnTo>
                    <a:pt x="221095" y="48968"/>
                  </a:lnTo>
                  <a:lnTo>
                    <a:pt x="222026" y="33475"/>
                  </a:lnTo>
                  <a:lnTo>
                    <a:pt x="211695" y="27482"/>
                  </a:lnTo>
                  <a:lnTo>
                    <a:pt x="216021" y="25354"/>
                  </a:lnTo>
                  <a:lnTo>
                    <a:pt x="233109" y="28312"/>
                  </a:lnTo>
                  <a:lnTo>
                    <a:pt x="251464" y="34091"/>
                  </a:lnTo>
                  <a:lnTo>
                    <a:pt x="258127" y="28626"/>
                  </a:lnTo>
                  <a:lnTo>
                    <a:pt x="274726" y="25038"/>
                  </a:lnTo>
                  <a:lnTo>
                    <a:pt x="300545" y="16382"/>
                  </a:lnTo>
                  <a:lnTo>
                    <a:pt x="308986" y="7553"/>
                  </a:lnTo>
                  <a:lnTo>
                    <a:pt x="305930" y="1024"/>
                  </a:lnTo>
                  <a:lnTo>
                    <a:pt x="317930" y="0"/>
                  </a:lnTo>
                  <a:lnTo>
                    <a:pt x="323302" y="5333"/>
                  </a:lnTo>
                  <a:lnTo>
                    <a:pt x="320301" y="15491"/>
                  </a:lnTo>
                  <a:lnTo>
                    <a:pt x="328232" y="18994"/>
                  </a:lnTo>
                  <a:lnTo>
                    <a:pt x="333526" y="29739"/>
                  </a:lnTo>
                  <a:lnTo>
                    <a:pt x="327124" y="37883"/>
                  </a:lnTo>
                  <a:lnTo>
                    <a:pt x="323451" y="57552"/>
                  </a:lnTo>
                  <a:lnTo>
                    <a:pt x="329360" y="69230"/>
                  </a:lnTo>
                  <a:lnTo>
                    <a:pt x="331033" y="79915"/>
                  </a:lnTo>
                  <a:lnTo>
                    <a:pt x="345233" y="90748"/>
                  </a:lnTo>
                  <a:lnTo>
                    <a:pt x="356563" y="91893"/>
                  </a:lnTo>
                  <a:lnTo>
                    <a:pt x="359115" y="87371"/>
                  </a:lnTo>
                  <a:lnTo>
                    <a:pt x="366409" y="86373"/>
                  </a:lnTo>
                  <a:lnTo>
                    <a:pt x="376854" y="82323"/>
                  </a:lnTo>
                  <a:lnTo>
                    <a:pt x="384359" y="76183"/>
                  </a:lnTo>
                  <a:lnTo>
                    <a:pt x="397127" y="78141"/>
                  </a:lnTo>
                  <a:lnTo>
                    <a:pt x="402743" y="77314"/>
                  </a:lnTo>
                  <a:lnTo>
                    <a:pt x="415293" y="79205"/>
                  </a:lnTo>
                  <a:lnTo>
                    <a:pt x="417373" y="74486"/>
                  </a:lnTo>
                  <a:lnTo>
                    <a:pt x="413501" y="69895"/>
                  </a:lnTo>
                  <a:lnTo>
                    <a:pt x="415809" y="63208"/>
                  </a:lnTo>
                  <a:lnTo>
                    <a:pt x="425125" y="65260"/>
                  </a:lnTo>
                  <a:lnTo>
                    <a:pt x="436024" y="62899"/>
                  </a:lnTo>
                  <a:lnTo>
                    <a:pt x="449246" y="67793"/>
                  </a:lnTo>
                  <a:lnTo>
                    <a:pt x="459326" y="72557"/>
                  </a:lnTo>
                  <a:lnTo>
                    <a:pt x="466471" y="66295"/>
                  </a:lnTo>
                  <a:lnTo>
                    <a:pt x="471634" y="67260"/>
                  </a:lnTo>
                  <a:lnTo>
                    <a:pt x="474782" y="73761"/>
                  </a:lnTo>
                  <a:lnTo>
                    <a:pt x="485835" y="72111"/>
                  </a:lnTo>
                  <a:lnTo>
                    <a:pt x="494681" y="63338"/>
                  </a:lnTo>
                  <a:lnTo>
                    <a:pt x="501769" y="46327"/>
                  </a:lnTo>
                  <a:lnTo>
                    <a:pt x="515423" y="25175"/>
                  </a:lnTo>
                  <a:lnTo>
                    <a:pt x="523286" y="24082"/>
                  </a:lnTo>
                  <a:lnTo>
                    <a:pt x="528996" y="36868"/>
                  </a:lnTo>
                  <a:lnTo>
                    <a:pt x="541943" y="77267"/>
                  </a:lnTo>
                  <a:lnTo>
                    <a:pt x="554288" y="81079"/>
                  </a:lnTo>
                  <a:lnTo>
                    <a:pt x="554911" y="97016"/>
                  </a:lnTo>
                  <a:lnTo>
                    <a:pt x="537549" y="116019"/>
                  </a:lnTo>
                  <a:lnTo>
                    <a:pt x="544729" y="122976"/>
                  </a:lnTo>
                  <a:lnTo>
                    <a:pt x="585531" y="126601"/>
                  </a:lnTo>
                  <a:lnTo>
                    <a:pt x="586363" y="149739"/>
                  </a:lnTo>
                  <a:lnTo>
                    <a:pt x="603896" y="134591"/>
                  </a:lnTo>
                  <a:lnTo>
                    <a:pt x="632942" y="142888"/>
                  </a:lnTo>
                  <a:lnTo>
                    <a:pt x="671280" y="156987"/>
                  </a:lnTo>
                  <a:lnTo>
                    <a:pt x="682546" y="170518"/>
                  </a:lnTo>
                  <a:lnTo>
                    <a:pt x="678761" y="183303"/>
                  </a:lnTo>
                  <a:lnTo>
                    <a:pt x="705601" y="176184"/>
                  </a:lnTo>
                  <a:lnTo>
                    <a:pt x="750523" y="188401"/>
                  </a:lnTo>
                  <a:lnTo>
                    <a:pt x="785009" y="187501"/>
                  </a:lnTo>
                  <a:lnTo>
                    <a:pt x="819132" y="206625"/>
                  </a:lnTo>
                  <a:lnTo>
                    <a:pt x="848611" y="232530"/>
                  </a:lnTo>
                  <a:lnTo>
                    <a:pt x="866392" y="239204"/>
                  </a:lnTo>
                  <a:lnTo>
                    <a:pt x="886131" y="240133"/>
                  </a:lnTo>
                  <a:lnTo>
                    <a:pt x="894496" y="247433"/>
                  </a:lnTo>
                  <a:lnTo>
                    <a:pt x="902330" y="276931"/>
                  </a:lnTo>
                  <a:lnTo>
                    <a:pt x="906162" y="290964"/>
                  </a:lnTo>
                  <a:lnTo>
                    <a:pt x="896970" y="329375"/>
                  </a:lnTo>
                  <a:lnTo>
                    <a:pt x="885227" y="344574"/>
                  </a:lnTo>
                  <a:lnTo>
                    <a:pt x="852691" y="377031"/>
                  </a:lnTo>
                  <a:lnTo>
                    <a:pt x="837985" y="403472"/>
                  </a:lnTo>
                  <a:lnTo>
                    <a:pt x="820897" y="423797"/>
                  </a:lnTo>
                  <a:lnTo>
                    <a:pt x="815126" y="424255"/>
                  </a:lnTo>
                  <a:lnTo>
                    <a:pt x="808678" y="441540"/>
                  </a:lnTo>
                  <a:lnTo>
                    <a:pt x="810316" y="485722"/>
                  </a:lnTo>
                  <a:lnTo>
                    <a:pt x="803881" y="522260"/>
                  </a:lnTo>
                  <a:lnTo>
                    <a:pt x="801428" y="537947"/>
                  </a:lnTo>
                  <a:lnTo>
                    <a:pt x="794130" y="547352"/>
                  </a:lnTo>
                  <a:lnTo>
                    <a:pt x="790037" y="579320"/>
                  </a:lnTo>
                  <a:lnTo>
                    <a:pt x="766633" y="610699"/>
                  </a:lnTo>
                  <a:lnTo>
                    <a:pt x="762709" y="635647"/>
                  </a:lnTo>
                  <a:lnTo>
                    <a:pt x="744026" y="646148"/>
                  </a:lnTo>
                  <a:lnTo>
                    <a:pt x="738621" y="660707"/>
                  </a:lnTo>
                  <a:lnTo>
                    <a:pt x="713544" y="660649"/>
                  </a:lnTo>
                  <a:lnTo>
                    <a:pt x="677233" y="670004"/>
                  </a:lnTo>
                  <a:lnTo>
                    <a:pt x="660975" y="680856"/>
                  </a:lnTo>
                  <a:lnTo>
                    <a:pt x="635123" y="687994"/>
                  </a:lnTo>
                  <a:lnTo>
                    <a:pt x="607958" y="707503"/>
                  </a:lnTo>
                  <a:lnTo>
                    <a:pt x="588419" y="731914"/>
                  </a:lnTo>
                  <a:lnTo>
                    <a:pt x="585059" y="750375"/>
                  </a:lnTo>
                  <a:lnTo>
                    <a:pt x="588897" y="764077"/>
                  </a:lnTo>
                  <a:lnTo>
                    <a:pt x="584585" y="789253"/>
                  </a:lnTo>
                  <a:lnTo>
                    <a:pt x="579347" y="801467"/>
                  </a:lnTo>
                  <a:lnTo>
                    <a:pt x="563215" y="815284"/>
                  </a:lnTo>
                  <a:lnTo>
                    <a:pt x="537604" y="859784"/>
                  </a:lnTo>
                  <a:lnTo>
                    <a:pt x="517306" y="880004"/>
                  </a:lnTo>
                  <a:lnTo>
                    <a:pt x="501613" y="891975"/>
                  </a:lnTo>
                  <a:lnTo>
                    <a:pt x="491087" y="916442"/>
                  </a:lnTo>
                  <a:lnTo>
                    <a:pt x="475817" y="931227"/>
                  </a:lnTo>
                  <a:lnTo>
                    <a:pt x="469425" y="916582"/>
                  </a:lnTo>
                  <a:lnTo>
                    <a:pt x="479604" y="904361"/>
                  </a:lnTo>
                  <a:lnTo>
                    <a:pt x="466254" y="886899"/>
                  </a:lnTo>
                  <a:lnTo>
                    <a:pt x="448145" y="872774"/>
                  </a:lnTo>
                  <a:lnTo>
                    <a:pt x="424392" y="856466"/>
                  </a:lnTo>
                  <a:lnTo>
                    <a:pt x="415811" y="857207"/>
                  </a:lnTo>
                  <a:lnTo>
                    <a:pt x="392664" y="837605"/>
                  </a:lnTo>
                  <a:close/>
                </a:path>
              </a:pathLst>
            </a:custGeom>
            <a:solidFill>
              <a:schemeClr val="bg2"/>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4" name="Freeform 8">
              <a:extLst>
                <a:ext uri="{FF2B5EF4-FFF2-40B4-BE49-F238E27FC236}">
                  <a16:creationId xmlns:a16="http://schemas.microsoft.com/office/drawing/2014/main" id="{2BB1460A-2F4C-435B-A8B9-BB1B2B115690}"/>
                </a:ext>
              </a:extLst>
            </p:cNvPr>
            <p:cNvSpPr>
              <a:spLocks noChangeAspect="1"/>
            </p:cNvSpPr>
            <p:nvPr>
              <p:custDataLst>
                <p:tags r:id="rId16"/>
              </p:custDataLst>
            </p:nvPr>
          </p:nvSpPr>
          <p:spPr>
            <a:xfrm>
              <a:off x="1106080" y="1925853"/>
              <a:ext cx="2039347" cy="1580755"/>
            </a:xfrm>
            <a:custGeom>
              <a:avLst/>
              <a:gdLst/>
              <a:ahLst/>
              <a:cxnLst/>
              <a:rect l="l" t="t" r="r" b="b"/>
              <a:pathLst>
                <a:path w="2039347" h="1580755">
                  <a:moveTo>
                    <a:pt x="1776972" y="1428715"/>
                  </a:moveTo>
                  <a:lnTo>
                    <a:pt x="1785059" y="1442843"/>
                  </a:lnTo>
                  <a:lnTo>
                    <a:pt x="1801799" y="1446730"/>
                  </a:lnTo>
                  <a:lnTo>
                    <a:pt x="1823202" y="1445940"/>
                  </a:lnTo>
                  <a:lnTo>
                    <a:pt x="1811849" y="1457781"/>
                  </a:lnTo>
                  <a:lnTo>
                    <a:pt x="1803299" y="1459661"/>
                  </a:lnTo>
                  <a:lnTo>
                    <a:pt x="1774019" y="1447402"/>
                  </a:lnTo>
                  <a:lnTo>
                    <a:pt x="1768253" y="1437693"/>
                  </a:lnTo>
                  <a:close/>
                  <a:moveTo>
                    <a:pt x="1773317" y="1342184"/>
                  </a:moveTo>
                  <a:lnTo>
                    <a:pt x="1803669" y="1349726"/>
                  </a:lnTo>
                  <a:lnTo>
                    <a:pt x="1827276" y="1362244"/>
                  </a:lnTo>
                  <a:lnTo>
                    <a:pt x="1827952" y="1367722"/>
                  </a:lnTo>
                  <a:lnTo>
                    <a:pt x="1816713" y="1368255"/>
                  </a:lnTo>
                  <a:lnTo>
                    <a:pt x="1786796" y="1358890"/>
                  </a:lnTo>
                  <a:lnTo>
                    <a:pt x="1765333" y="1344717"/>
                  </a:lnTo>
                  <a:close/>
                  <a:moveTo>
                    <a:pt x="291751" y="1317567"/>
                  </a:moveTo>
                  <a:lnTo>
                    <a:pt x="315984" y="1324190"/>
                  </a:lnTo>
                  <a:lnTo>
                    <a:pt x="330147" y="1328786"/>
                  </a:lnTo>
                  <a:lnTo>
                    <a:pt x="351844" y="1331990"/>
                  </a:lnTo>
                  <a:lnTo>
                    <a:pt x="359693" y="1342401"/>
                  </a:lnTo>
                  <a:lnTo>
                    <a:pt x="371101" y="1356657"/>
                  </a:lnTo>
                  <a:lnTo>
                    <a:pt x="394143" y="1368991"/>
                  </a:lnTo>
                  <a:lnTo>
                    <a:pt x="403665" y="1385407"/>
                  </a:lnTo>
                  <a:lnTo>
                    <a:pt x="392057" y="1389526"/>
                  </a:lnTo>
                  <a:lnTo>
                    <a:pt x="354152" y="1376060"/>
                  </a:lnTo>
                  <a:lnTo>
                    <a:pt x="347228" y="1365486"/>
                  </a:lnTo>
                  <a:lnTo>
                    <a:pt x="326569" y="1355018"/>
                  </a:lnTo>
                  <a:lnTo>
                    <a:pt x="322414" y="1346463"/>
                  </a:lnTo>
                  <a:lnTo>
                    <a:pt x="298654" y="1341046"/>
                  </a:lnTo>
                  <a:lnTo>
                    <a:pt x="289762" y="1324597"/>
                  </a:lnTo>
                  <a:close/>
                  <a:moveTo>
                    <a:pt x="1964955" y="1291235"/>
                  </a:moveTo>
                  <a:lnTo>
                    <a:pt x="1975665" y="1292581"/>
                  </a:lnTo>
                  <a:lnTo>
                    <a:pt x="1971205" y="1300896"/>
                  </a:lnTo>
                  <a:lnTo>
                    <a:pt x="1958883" y="1320109"/>
                  </a:lnTo>
                  <a:lnTo>
                    <a:pt x="1943606" y="1346544"/>
                  </a:lnTo>
                  <a:lnTo>
                    <a:pt x="1958673" y="1336367"/>
                  </a:lnTo>
                  <a:lnTo>
                    <a:pt x="1974176" y="1342828"/>
                  </a:lnTo>
                  <a:lnTo>
                    <a:pt x="1966076" y="1353305"/>
                  </a:lnTo>
                  <a:lnTo>
                    <a:pt x="1986556" y="1361513"/>
                  </a:lnTo>
                  <a:lnTo>
                    <a:pt x="1997206" y="1354218"/>
                  </a:lnTo>
                  <a:lnTo>
                    <a:pt x="2020225" y="1363421"/>
                  </a:lnTo>
                  <a:lnTo>
                    <a:pt x="2013081" y="1385207"/>
                  </a:lnTo>
                  <a:lnTo>
                    <a:pt x="2029236" y="1380135"/>
                  </a:lnTo>
                  <a:lnTo>
                    <a:pt x="2032179" y="1395838"/>
                  </a:lnTo>
                  <a:lnTo>
                    <a:pt x="2039347" y="1414116"/>
                  </a:lnTo>
                  <a:lnTo>
                    <a:pt x="2029628" y="1439783"/>
                  </a:lnTo>
                  <a:lnTo>
                    <a:pt x="2019188" y="1440862"/>
                  </a:lnTo>
                  <a:lnTo>
                    <a:pt x="2004012" y="1435379"/>
                  </a:lnTo>
                  <a:lnTo>
                    <a:pt x="2009022" y="1411488"/>
                  </a:lnTo>
                  <a:lnTo>
                    <a:pt x="2002591" y="1407758"/>
                  </a:lnTo>
                  <a:lnTo>
                    <a:pt x="1975808" y="1433113"/>
                  </a:lnTo>
                  <a:lnTo>
                    <a:pt x="1962035" y="1432102"/>
                  </a:lnTo>
                  <a:lnTo>
                    <a:pt x="1978337" y="1418391"/>
                  </a:lnTo>
                  <a:lnTo>
                    <a:pt x="1956188" y="1411272"/>
                  </a:lnTo>
                  <a:lnTo>
                    <a:pt x="1931387" y="1413024"/>
                  </a:lnTo>
                  <a:lnTo>
                    <a:pt x="1886588" y="1412129"/>
                  </a:lnTo>
                  <a:lnTo>
                    <a:pt x="1883045" y="1403431"/>
                  </a:lnTo>
                  <a:lnTo>
                    <a:pt x="1897424" y="1393053"/>
                  </a:lnTo>
                  <a:lnTo>
                    <a:pt x="1887382" y="1385017"/>
                  </a:lnTo>
                  <a:lnTo>
                    <a:pt x="1906767" y="1367110"/>
                  </a:lnTo>
                  <a:lnTo>
                    <a:pt x="1930614" y="1319159"/>
                  </a:lnTo>
                  <a:lnTo>
                    <a:pt x="1944927" y="1301803"/>
                  </a:lnTo>
                  <a:close/>
                  <a:moveTo>
                    <a:pt x="180455" y="1211995"/>
                  </a:moveTo>
                  <a:lnTo>
                    <a:pt x="191304" y="1216116"/>
                  </a:lnTo>
                  <a:lnTo>
                    <a:pt x="213464" y="1213580"/>
                  </a:lnTo>
                  <a:lnTo>
                    <a:pt x="206551" y="1249324"/>
                  </a:lnTo>
                  <a:lnTo>
                    <a:pt x="226643" y="1274329"/>
                  </a:lnTo>
                  <a:lnTo>
                    <a:pt x="217438" y="1274269"/>
                  </a:lnTo>
                  <a:lnTo>
                    <a:pt x="203528" y="1260079"/>
                  </a:lnTo>
                  <a:lnTo>
                    <a:pt x="194998" y="1245715"/>
                  </a:lnTo>
                  <a:lnTo>
                    <a:pt x="183350" y="1235947"/>
                  </a:lnTo>
                  <a:lnTo>
                    <a:pt x="179078" y="1222094"/>
                  </a:lnTo>
                  <a:close/>
                  <a:moveTo>
                    <a:pt x="1409622" y="935386"/>
                  </a:moveTo>
                  <a:lnTo>
                    <a:pt x="1419072" y="936170"/>
                  </a:lnTo>
                  <a:lnTo>
                    <a:pt x="1424939" y="943504"/>
                  </a:lnTo>
                  <a:lnTo>
                    <a:pt x="1415898" y="962191"/>
                  </a:lnTo>
                  <a:lnTo>
                    <a:pt x="1405694" y="959179"/>
                  </a:lnTo>
                  <a:lnTo>
                    <a:pt x="1399633" y="948575"/>
                  </a:lnTo>
                  <a:lnTo>
                    <a:pt x="1400712" y="946113"/>
                  </a:lnTo>
                  <a:close/>
                  <a:moveTo>
                    <a:pt x="1332963" y="916360"/>
                  </a:moveTo>
                  <a:lnTo>
                    <a:pt x="1364666" y="916704"/>
                  </a:lnTo>
                  <a:lnTo>
                    <a:pt x="1364176" y="923698"/>
                  </a:lnTo>
                  <a:lnTo>
                    <a:pt x="1337161" y="943484"/>
                  </a:lnTo>
                  <a:lnTo>
                    <a:pt x="1320864" y="942660"/>
                  </a:lnTo>
                  <a:lnTo>
                    <a:pt x="1315808" y="932976"/>
                  </a:lnTo>
                  <a:close/>
                  <a:moveTo>
                    <a:pt x="1272177" y="811682"/>
                  </a:moveTo>
                  <a:lnTo>
                    <a:pt x="1288856" y="814776"/>
                  </a:lnTo>
                  <a:lnTo>
                    <a:pt x="1293138" y="831394"/>
                  </a:lnTo>
                  <a:lnTo>
                    <a:pt x="1304951" y="825580"/>
                  </a:lnTo>
                  <a:lnTo>
                    <a:pt x="1318371" y="835452"/>
                  </a:lnTo>
                  <a:lnTo>
                    <a:pt x="1343648" y="848295"/>
                  </a:lnTo>
                  <a:lnTo>
                    <a:pt x="1370090" y="859895"/>
                  </a:lnTo>
                  <a:lnTo>
                    <a:pt x="1372135" y="877479"/>
                  </a:lnTo>
                  <a:lnTo>
                    <a:pt x="1389125" y="874610"/>
                  </a:lnTo>
                  <a:lnTo>
                    <a:pt x="1405604" y="886799"/>
                  </a:lnTo>
                  <a:lnTo>
                    <a:pt x="1385117" y="898307"/>
                  </a:lnTo>
                  <a:lnTo>
                    <a:pt x="1349197" y="889520"/>
                  </a:lnTo>
                  <a:lnTo>
                    <a:pt x="1336233" y="872972"/>
                  </a:lnTo>
                  <a:lnTo>
                    <a:pt x="1313344" y="892520"/>
                  </a:lnTo>
                  <a:lnTo>
                    <a:pt x="1280497" y="911353"/>
                  </a:lnTo>
                  <a:lnTo>
                    <a:pt x="1272572" y="890049"/>
                  </a:lnTo>
                  <a:lnTo>
                    <a:pt x="1241290" y="893561"/>
                  </a:lnTo>
                  <a:lnTo>
                    <a:pt x="1261354" y="875408"/>
                  </a:lnTo>
                  <a:lnTo>
                    <a:pt x="1264306" y="846195"/>
                  </a:lnTo>
                  <a:close/>
                  <a:moveTo>
                    <a:pt x="1502742" y="712505"/>
                  </a:moveTo>
                  <a:lnTo>
                    <a:pt x="1520763" y="723515"/>
                  </a:lnTo>
                  <a:lnTo>
                    <a:pt x="1521020" y="740432"/>
                  </a:lnTo>
                  <a:lnTo>
                    <a:pt x="1518420" y="745844"/>
                  </a:lnTo>
                  <a:lnTo>
                    <a:pt x="1503419" y="757399"/>
                  </a:lnTo>
                  <a:lnTo>
                    <a:pt x="1477544" y="759354"/>
                  </a:lnTo>
                  <a:lnTo>
                    <a:pt x="1471784" y="740194"/>
                  </a:lnTo>
                  <a:lnTo>
                    <a:pt x="1481588" y="718026"/>
                  </a:lnTo>
                  <a:close/>
                  <a:moveTo>
                    <a:pt x="987466" y="637088"/>
                  </a:moveTo>
                  <a:lnTo>
                    <a:pt x="1011954" y="648791"/>
                  </a:lnTo>
                  <a:lnTo>
                    <a:pt x="1025803" y="656186"/>
                  </a:lnTo>
                  <a:lnTo>
                    <a:pt x="1032728" y="663962"/>
                  </a:lnTo>
                  <a:lnTo>
                    <a:pt x="1046802" y="679520"/>
                  </a:lnTo>
                  <a:lnTo>
                    <a:pt x="1032448" y="693683"/>
                  </a:lnTo>
                  <a:lnTo>
                    <a:pt x="1001336" y="681451"/>
                  </a:lnTo>
                  <a:lnTo>
                    <a:pt x="982537" y="685873"/>
                  </a:lnTo>
                  <a:lnTo>
                    <a:pt x="951015" y="667635"/>
                  </a:lnTo>
                  <a:lnTo>
                    <a:pt x="971328" y="654955"/>
                  </a:lnTo>
                  <a:close/>
                  <a:moveTo>
                    <a:pt x="1056933" y="562116"/>
                  </a:moveTo>
                  <a:lnTo>
                    <a:pt x="1087375" y="569001"/>
                  </a:lnTo>
                  <a:lnTo>
                    <a:pt x="1110729" y="587828"/>
                  </a:lnTo>
                  <a:lnTo>
                    <a:pt x="1142088" y="635110"/>
                  </a:lnTo>
                  <a:lnTo>
                    <a:pt x="1121607" y="655368"/>
                  </a:lnTo>
                  <a:lnTo>
                    <a:pt x="1164537" y="663651"/>
                  </a:lnTo>
                  <a:lnTo>
                    <a:pt x="1164435" y="705003"/>
                  </a:lnTo>
                  <a:lnTo>
                    <a:pt x="1195282" y="673388"/>
                  </a:lnTo>
                  <a:lnTo>
                    <a:pt x="1222877" y="699388"/>
                  </a:lnTo>
                  <a:lnTo>
                    <a:pt x="1216002" y="728940"/>
                  </a:lnTo>
                  <a:lnTo>
                    <a:pt x="1238331" y="755453"/>
                  </a:lnTo>
                  <a:lnTo>
                    <a:pt x="1262431" y="727037"/>
                  </a:lnTo>
                  <a:lnTo>
                    <a:pt x="1279269" y="692575"/>
                  </a:lnTo>
                  <a:lnTo>
                    <a:pt x="1280531" y="647882"/>
                  </a:lnTo>
                  <a:lnTo>
                    <a:pt x="1313335" y="651039"/>
                  </a:lnTo>
                  <a:lnTo>
                    <a:pt x="1347456" y="657079"/>
                  </a:lnTo>
                  <a:lnTo>
                    <a:pt x="1378437" y="677316"/>
                  </a:lnTo>
                  <a:lnTo>
                    <a:pt x="1379827" y="697357"/>
                  </a:lnTo>
                  <a:lnTo>
                    <a:pt x="1362650" y="718664"/>
                  </a:lnTo>
                  <a:lnTo>
                    <a:pt x="1378925" y="739837"/>
                  </a:lnTo>
                  <a:lnTo>
                    <a:pt x="1375988" y="758884"/>
                  </a:lnTo>
                  <a:lnTo>
                    <a:pt x="1330791" y="785961"/>
                  </a:lnTo>
                  <a:lnTo>
                    <a:pt x="1298686" y="791886"/>
                  </a:lnTo>
                  <a:lnTo>
                    <a:pt x="1274818" y="780306"/>
                  </a:lnTo>
                  <a:lnTo>
                    <a:pt x="1267936" y="799584"/>
                  </a:lnTo>
                  <a:lnTo>
                    <a:pt x="1245688" y="831566"/>
                  </a:lnTo>
                  <a:lnTo>
                    <a:pt x="1238952" y="847961"/>
                  </a:lnTo>
                  <a:lnTo>
                    <a:pt x="1212183" y="873079"/>
                  </a:lnTo>
                  <a:lnTo>
                    <a:pt x="1179141" y="875522"/>
                  </a:lnTo>
                  <a:lnTo>
                    <a:pt x="1160916" y="891041"/>
                  </a:lnTo>
                  <a:lnTo>
                    <a:pt x="1159391" y="914692"/>
                  </a:lnTo>
                  <a:lnTo>
                    <a:pt x="1132537" y="919215"/>
                  </a:lnTo>
                  <a:lnTo>
                    <a:pt x="1104294" y="948283"/>
                  </a:lnTo>
                  <a:lnTo>
                    <a:pt x="1079260" y="988038"/>
                  </a:lnTo>
                  <a:lnTo>
                    <a:pt x="1070309" y="1015452"/>
                  </a:lnTo>
                  <a:lnTo>
                    <a:pt x="1069032" y="1055228"/>
                  </a:lnTo>
                  <a:lnTo>
                    <a:pt x="1102954" y="1060880"/>
                  </a:lnTo>
                  <a:lnTo>
                    <a:pt x="1113351" y="1092369"/>
                  </a:lnTo>
                  <a:lnTo>
                    <a:pt x="1124144" y="1117565"/>
                  </a:lnTo>
                  <a:lnTo>
                    <a:pt x="1156445" y="1111029"/>
                  </a:lnTo>
                  <a:lnTo>
                    <a:pt x="1199336" y="1125327"/>
                  </a:lnTo>
                  <a:lnTo>
                    <a:pt x="1222413" y="1137807"/>
                  </a:lnTo>
                  <a:lnTo>
                    <a:pt x="1238930" y="1153228"/>
                  </a:lnTo>
                  <a:lnTo>
                    <a:pt x="1267853" y="1162166"/>
                  </a:lnTo>
                  <a:lnTo>
                    <a:pt x="1292306" y="1175778"/>
                  </a:lnTo>
                  <a:lnTo>
                    <a:pt x="1330422" y="1177637"/>
                  </a:lnTo>
                  <a:lnTo>
                    <a:pt x="1355529" y="1180744"/>
                  </a:lnTo>
                  <a:lnTo>
                    <a:pt x="1351758" y="1208429"/>
                  </a:lnTo>
                  <a:lnTo>
                    <a:pt x="1358941" y="1240168"/>
                  </a:lnTo>
                  <a:lnTo>
                    <a:pt x="1375659" y="1275026"/>
                  </a:lnTo>
                  <a:lnTo>
                    <a:pt x="1410003" y="1304220"/>
                  </a:lnTo>
                  <a:lnTo>
                    <a:pt x="1427774" y="1294250"/>
                  </a:lnTo>
                  <a:lnTo>
                    <a:pt x="1440264" y="1262494"/>
                  </a:lnTo>
                  <a:lnTo>
                    <a:pt x="1428208" y="1212900"/>
                  </a:lnTo>
                  <a:lnTo>
                    <a:pt x="1411926" y="1196146"/>
                  </a:lnTo>
                  <a:lnTo>
                    <a:pt x="1448878" y="1181125"/>
                  </a:lnTo>
                  <a:lnTo>
                    <a:pt x="1475034" y="1158483"/>
                  </a:lnTo>
                  <a:lnTo>
                    <a:pt x="1487827" y="1135756"/>
                  </a:lnTo>
                  <a:lnTo>
                    <a:pt x="1485938" y="1113746"/>
                  </a:lnTo>
                  <a:lnTo>
                    <a:pt x="1470263" y="1085467"/>
                  </a:lnTo>
                  <a:lnTo>
                    <a:pt x="1442227" y="1060120"/>
                  </a:lnTo>
                  <a:lnTo>
                    <a:pt x="1469467" y="1024336"/>
                  </a:lnTo>
                  <a:lnTo>
                    <a:pt x="1459404" y="992958"/>
                  </a:lnTo>
                  <a:lnTo>
                    <a:pt x="1451691" y="937749"/>
                  </a:lnTo>
                  <a:lnTo>
                    <a:pt x="1467761" y="929466"/>
                  </a:lnTo>
                  <a:lnTo>
                    <a:pt x="1507335" y="939225"/>
                  </a:lnTo>
                  <a:lnTo>
                    <a:pt x="1531065" y="942703"/>
                  </a:lnTo>
                  <a:lnTo>
                    <a:pt x="1550184" y="933299"/>
                  </a:lnTo>
                  <a:lnTo>
                    <a:pt x="1571682" y="945417"/>
                  </a:lnTo>
                  <a:lnTo>
                    <a:pt x="1600108" y="966002"/>
                  </a:lnTo>
                  <a:lnTo>
                    <a:pt x="1607111" y="979677"/>
                  </a:lnTo>
                  <a:lnTo>
                    <a:pt x="1648273" y="982337"/>
                  </a:lnTo>
                  <a:lnTo>
                    <a:pt x="1647583" y="1011612"/>
                  </a:lnTo>
                  <a:lnTo>
                    <a:pt x="1655256" y="1054939"/>
                  </a:lnTo>
                  <a:lnTo>
                    <a:pt x="1676339" y="1060239"/>
                  </a:lnTo>
                  <a:lnTo>
                    <a:pt x="1693069" y="1080102"/>
                  </a:lnTo>
                  <a:lnTo>
                    <a:pt x="1726492" y="1061382"/>
                  </a:lnTo>
                  <a:lnTo>
                    <a:pt x="1748573" y="1023713"/>
                  </a:lnTo>
                  <a:lnTo>
                    <a:pt x="1763846" y="1007651"/>
                  </a:lnTo>
                  <a:lnTo>
                    <a:pt x="1781822" y="1038403"/>
                  </a:lnTo>
                  <a:lnTo>
                    <a:pt x="1811885" y="1081611"/>
                  </a:lnTo>
                  <a:lnTo>
                    <a:pt x="1837410" y="1121514"/>
                  </a:lnTo>
                  <a:lnTo>
                    <a:pt x="1828128" y="1142131"/>
                  </a:lnTo>
                  <a:lnTo>
                    <a:pt x="1858831" y="1160492"/>
                  </a:lnTo>
                  <a:lnTo>
                    <a:pt x="1879580" y="1178950"/>
                  </a:lnTo>
                  <a:lnTo>
                    <a:pt x="1916386" y="1187256"/>
                  </a:lnTo>
                  <a:lnTo>
                    <a:pt x="1931203" y="1197463"/>
                  </a:lnTo>
                  <a:lnTo>
                    <a:pt x="1940351" y="1224329"/>
                  </a:lnTo>
                  <a:lnTo>
                    <a:pt x="1958327" y="1228520"/>
                  </a:lnTo>
                  <a:lnTo>
                    <a:pt x="1967601" y="1240378"/>
                  </a:lnTo>
                  <a:lnTo>
                    <a:pt x="1969285" y="1275374"/>
                  </a:lnTo>
                  <a:lnTo>
                    <a:pt x="1952532" y="1286973"/>
                  </a:lnTo>
                  <a:lnTo>
                    <a:pt x="1935965" y="1297752"/>
                  </a:lnTo>
                  <a:lnTo>
                    <a:pt x="1897926" y="1308622"/>
                  </a:lnTo>
                  <a:lnTo>
                    <a:pt x="1868882" y="1333569"/>
                  </a:lnTo>
                  <a:lnTo>
                    <a:pt x="1829859" y="1338469"/>
                  </a:lnTo>
                  <a:lnTo>
                    <a:pt x="1780489" y="1332111"/>
                  </a:lnTo>
                  <a:lnTo>
                    <a:pt x="1745846" y="1331893"/>
                  </a:lnTo>
                  <a:lnTo>
                    <a:pt x="1721939" y="1333986"/>
                  </a:lnTo>
                  <a:lnTo>
                    <a:pt x="1702613" y="1355570"/>
                  </a:lnTo>
                  <a:lnTo>
                    <a:pt x="1673186" y="1368816"/>
                  </a:lnTo>
                  <a:lnTo>
                    <a:pt x="1639890" y="1407975"/>
                  </a:lnTo>
                  <a:lnTo>
                    <a:pt x="1613322" y="1434954"/>
                  </a:lnTo>
                  <a:lnTo>
                    <a:pt x="1632928" y="1430170"/>
                  </a:lnTo>
                  <a:lnTo>
                    <a:pt x="1669981" y="1391621"/>
                  </a:lnTo>
                  <a:lnTo>
                    <a:pt x="1718398" y="1366885"/>
                  </a:lnTo>
                  <a:lnTo>
                    <a:pt x="1752934" y="1363910"/>
                  </a:lnTo>
                  <a:lnTo>
                    <a:pt x="1773368" y="1378512"/>
                  </a:lnTo>
                  <a:lnTo>
                    <a:pt x="1751568" y="1398384"/>
                  </a:lnTo>
                  <a:lnTo>
                    <a:pt x="1758883" y="1429969"/>
                  </a:lnTo>
                  <a:lnTo>
                    <a:pt x="1766416" y="1451860"/>
                  </a:lnTo>
                  <a:lnTo>
                    <a:pt x="1796398" y="1466257"/>
                  </a:lnTo>
                  <a:lnTo>
                    <a:pt x="1834544" y="1462093"/>
                  </a:lnTo>
                  <a:lnTo>
                    <a:pt x="1857686" y="1429533"/>
                  </a:lnTo>
                  <a:lnTo>
                    <a:pt x="1859291" y="1450584"/>
                  </a:lnTo>
                  <a:lnTo>
                    <a:pt x="1874196" y="1461038"/>
                  </a:lnTo>
                  <a:lnTo>
                    <a:pt x="1845643" y="1479844"/>
                  </a:lnTo>
                  <a:lnTo>
                    <a:pt x="1794519" y="1496818"/>
                  </a:lnTo>
                  <a:lnTo>
                    <a:pt x="1771624" y="1508301"/>
                  </a:lnTo>
                  <a:lnTo>
                    <a:pt x="1745829" y="1528629"/>
                  </a:lnTo>
                  <a:lnTo>
                    <a:pt x="1728301" y="1526563"/>
                  </a:lnTo>
                  <a:lnTo>
                    <a:pt x="1727417" y="1502642"/>
                  </a:lnTo>
                  <a:lnTo>
                    <a:pt x="1767494" y="1479078"/>
                  </a:lnTo>
                  <a:lnTo>
                    <a:pt x="1730549" y="1480014"/>
                  </a:lnTo>
                  <a:lnTo>
                    <a:pt x="1704895" y="1483495"/>
                  </a:lnTo>
                  <a:lnTo>
                    <a:pt x="1689801" y="1467298"/>
                  </a:lnTo>
                  <a:lnTo>
                    <a:pt x="1689821" y="1427830"/>
                  </a:lnTo>
                  <a:lnTo>
                    <a:pt x="1679573" y="1419406"/>
                  </a:lnTo>
                  <a:lnTo>
                    <a:pt x="1664095" y="1424369"/>
                  </a:lnTo>
                  <a:lnTo>
                    <a:pt x="1656426" y="1416687"/>
                  </a:lnTo>
                  <a:lnTo>
                    <a:pt x="1638820" y="1438692"/>
                  </a:lnTo>
                  <a:lnTo>
                    <a:pt x="1631779" y="1461193"/>
                  </a:lnTo>
                  <a:lnTo>
                    <a:pt x="1623585" y="1474267"/>
                  </a:lnTo>
                  <a:lnTo>
                    <a:pt x="1613778" y="1478700"/>
                  </a:lnTo>
                  <a:lnTo>
                    <a:pt x="1606388" y="1480137"/>
                  </a:lnTo>
                  <a:lnTo>
                    <a:pt x="1604078" y="1487188"/>
                  </a:lnTo>
                  <a:lnTo>
                    <a:pt x="1561542" y="1487212"/>
                  </a:lnTo>
                  <a:lnTo>
                    <a:pt x="1526476" y="1487408"/>
                  </a:lnTo>
                  <a:lnTo>
                    <a:pt x="1516061" y="1492655"/>
                  </a:lnTo>
                  <a:lnTo>
                    <a:pt x="1491667" y="1513089"/>
                  </a:lnTo>
                  <a:lnTo>
                    <a:pt x="1488782" y="1515290"/>
                  </a:lnTo>
                  <a:lnTo>
                    <a:pt x="1481394" y="1526278"/>
                  </a:lnTo>
                  <a:lnTo>
                    <a:pt x="1460208" y="1526271"/>
                  </a:lnTo>
                  <a:lnTo>
                    <a:pt x="1437532" y="1526382"/>
                  </a:lnTo>
                  <a:lnTo>
                    <a:pt x="1427112" y="1530847"/>
                  </a:lnTo>
                  <a:lnTo>
                    <a:pt x="1430844" y="1536359"/>
                  </a:lnTo>
                  <a:lnTo>
                    <a:pt x="1432922" y="1544901"/>
                  </a:lnTo>
                  <a:lnTo>
                    <a:pt x="1432475" y="1547735"/>
                  </a:lnTo>
                  <a:lnTo>
                    <a:pt x="1402281" y="1561599"/>
                  </a:lnTo>
                  <a:lnTo>
                    <a:pt x="1378499" y="1565967"/>
                  </a:lnTo>
                  <a:lnTo>
                    <a:pt x="1351687" y="1580755"/>
                  </a:lnTo>
                  <a:lnTo>
                    <a:pt x="1345898" y="1580755"/>
                  </a:lnTo>
                  <a:lnTo>
                    <a:pt x="1338056" y="1576395"/>
                  </a:lnTo>
                  <a:lnTo>
                    <a:pt x="1335467" y="1572439"/>
                  </a:lnTo>
                  <a:lnTo>
                    <a:pt x="1335974" y="1569547"/>
                  </a:lnTo>
                  <a:lnTo>
                    <a:pt x="1341053" y="1559825"/>
                  </a:lnTo>
                  <a:lnTo>
                    <a:pt x="1351901" y="1544481"/>
                  </a:lnTo>
                  <a:lnTo>
                    <a:pt x="1358650" y="1527902"/>
                  </a:lnTo>
                  <a:lnTo>
                    <a:pt x="1354031" y="1503355"/>
                  </a:lnTo>
                  <a:lnTo>
                    <a:pt x="1349110" y="1477490"/>
                  </a:lnTo>
                  <a:lnTo>
                    <a:pt x="1325060" y="1464017"/>
                  </a:lnTo>
                  <a:lnTo>
                    <a:pt x="1327906" y="1458897"/>
                  </a:lnTo>
                  <a:lnTo>
                    <a:pt x="1324522" y="1455371"/>
                  </a:lnTo>
                  <a:lnTo>
                    <a:pt x="1318183" y="1455371"/>
                  </a:lnTo>
                  <a:lnTo>
                    <a:pt x="1313541" y="1450793"/>
                  </a:lnTo>
                  <a:lnTo>
                    <a:pt x="1312381" y="1443938"/>
                  </a:lnTo>
                  <a:lnTo>
                    <a:pt x="1307890" y="1446935"/>
                  </a:lnTo>
                  <a:lnTo>
                    <a:pt x="1301699" y="1446042"/>
                  </a:lnTo>
                  <a:lnTo>
                    <a:pt x="1303111" y="1443171"/>
                  </a:lnTo>
                  <a:lnTo>
                    <a:pt x="1297675" y="1440317"/>
                  </a:lnTo>
                  <a:lnTo>
                    <a:pt x="1295439" y="1432674"/>
                  </a:lnTo>
                  <a:lnTo>
                    <a:pt x="1277521" y="1423341"/>
                  </a:lnTo>
                  <a:lnTo>
                    <a:pt x="1258832" y="1413595"/>
                  </a:lnTo>
                  <a:lnTo>
                    <a:pt x="1236262" y="1402238"/>
                  </a:lnTo>
                  <a:lnTo>
                    <a:pt x="1214603" y="1391534"/>
                  </a:lnTo>
                  <a:lnTo>
                    <a:pt x="1193949" y="1399888"/>
                  </a:lnTo>
                  <a:lnTo>
                    <a:pt x="1186399" y="1400177"/>
                  </a:lnTo>
                  <a:lnTo>
                    <a:pt x="1158007" y="1392507"/>
                  </a:lnTo>
                  <a:lnTo>
                    <a:pt x="1139310" y="1396345"/>
                  </a:lnTo>
                  <a:lnTo>
                    <a:pt x="1116920" y="1387184"/>
                  </a:lnTo>
                  <a:lnTo>
                    <a:pt x="1093356" y="1382466"/>
                  </a:lnTo>
                  <a:lnTo>
                    <a:pt x="1077238" y="1380642"/>
                  </a:lnTo>
                  <a:lnTo>
                    <a:pt x="1070062" y="1375614"/>
                  </a:lnTo>
                  <a:lnTo>
                    <a:pt x="1065963" y="1359239"/>
                  </a:lnTo>
                  <a:lnTo>
                    <a:pt x="1058149" y="1359382"/>
                  </a:lnTo>
                  <a:lnTo>
                    <a:pt x="1058081" y="1370853"/>
                  </a:lnTo>
                  <a:lnTo>
                    <a:pt x="1010307" y="1370832"/>
                  </a:lnTo>
                  <a:lnTo>
                    <a:pt x="931335" y="1370853"/>
                  </a:lnTo>
                  <a:lnTo>
                    <a:pt x="852894" y="1370857"/>
                  </a:lnTo>
                  <a:lnTo>
                    <a:pt x="783606" y="1370853"/>
                  </a:lnTo>
                  <a:lnTo>
                    <a:pt x="714358" y="1370853"/>
                  </a:lnTo>
                  <a:lnTo>
                    <a:pt x="646264" y="1370853"/>
                  </a:lnTo>
                  <a:lnTo>
                    <a:pt x="575904" y="1370853"/>
                  </a:lnTo>
                  <a:lnTo>
                    <a:pt x="553213" y="1370853"/>
                  </a:lnTo>
                  <a:lnTo>
                    <a:pt x="484685" y="1370853"/>
                  </a:lnTo>
                  <a:lnTo>
                    <a:pt x="419131" y="1370853"/>
                  </a:lnTo>
                  <a:lnTo>
                    <a:pt x="416033" y="1370777"/>
                  </a:lnTo>
                  <a:lnTo>
                    <a:pt x="371344" y="1341360"/>
                  </a:lnTo>
                  <a:lnTo>
                    <a:pt x="354854" y="1328312"/>
                  </a:lnTo>
                  <a:lnTo>
                    <a:pt x="313052" y="1315743"/>
                  </a:lnTo>
                  <a:lnTo>
                    <a:pt x="300191" y="1288661"/>
                  </a:lnTo>
                  <a:lnTo>
                    <a:pt x="303479" y="1269710"/>
                  </a:lnTo>
                  <a:lnTo>
                    <a:pt x="273945" y="1256478"/>
                  </a:lnTo>
                  <a:lnTo>
                    <a:pt x="269896" y="1231226"/>
                  </a:lnTo>
                  <a:lnTo>
                    <a:pt x="241972" y="1208260"/>
                  </a:lnTo>
                  <a:lnTo>
                    <a:pt x="241484" y="1191828"/>
                  </a:lnTo>
                  <a:lnTo>
                    <a:pt x="254320" y="1176345"/>
                  </a:lnTo>
                  <a:lnTo>
                    <a:pt x="253679" y="1155936"/>
                  </a:lnTo>
                  <a:lnTo>
                    <a:pt x="214438" y="1135170"/>
                  </a:lnTo>
                  <a:lnTo>
                    <a:pt x="190833" y="1097467"/>
                  </a:lnTo>
                  <a:lnTo>
                    <a:pt x="176403" y="1073437"/>
                  </a:lnTo>
                  <a:lnTo>
                    <a:pt x="155270" y="1058204"/>
                  </a:lnTo>
                  <a:lnTo>
                    <a:pt x="139715" y="1044280"/>
                  </a:lnTo>
                  <a:lnTo>
                    <a:pt x="127462" y="1026566"/>
                  </a:lnTo>
                  <a:lnTo>
                    <a:pt x="104289" y="1037675"/>
                  </a:lnTo>
                  <a:lnTo>
                    <a:pt x="81835" y="1056715"/>
                  </a:lnTo>
                  <a:lnTo>
                    <a:pt x="61328" y="1034312"/>
                  </a:lnTo>
                  <a:lnTo>
                    <a:pt x="45214" y="1019257"/>
                  </a:lnTo>
                  <a:lnTo>
                    <a:pt x="22732" y="1009687"/>
                  </a:lnTo>
                  <a:lnTo>
                    <a:pt x="0" y="1008663"/>
                  </a:lnTo>
                  <a:lnTo>
                    <a:pt x="122" y="801732"/>
                  </a:lnTo>
                  <a:lnTo>
                    <a:pt x="273" y="654875"/>
                  </a:lnTo>
                  <a:lnTo>
                    <a:pt x="43333" y="664738"/>
                  </a:lnTo>
                  <a:lnTo>
                    <a:pt x="79669" y="684284"/>
                  </a:lnTo>
                  <a:lnTo>
                    <a:pt x="103738" y="687999"/>
                  </a:lnTo>
                  <a:lnTo>
                    <a:pt x="124001" y="671094"/>
                  </a:lnTo>
                  <a:lnTo>
                    <a:pt x="151957" y="658342"/>
                  </a:lnTo>
                  <a:lnTo>
                    <a:pt x="186244" y="663337"/>
                  </a:lnTo>
                  <a:lnTo>
                    <a:pt x="220819" y="645311"/>
                  </a:lnTo>
                  <a:lnTo>
                    <a:pt x="258597" y="635010"/>
                  </a:lnTo>
                  <a:lnTo>
                    <a:pt x="274455" y="652112"/>
                  </a:lnTo>
                  <a:lnTo>
                    <a:pt x="291678" y="642491"/>
                  </a:lnTo>
                  <a:lnTo>
                    <a:pt x="296835" y="622948"/>
                  </a:lnTo>
                  <a:lnTo>
                    <a:pt x="312786" y="627390"/>
                  </a:lnTo>
                  <a:lnTo>
                    <a:pt x="351814" y="664348"/>
                  </a:lnTo>
                  <a:lnTo>
                    <a:pt x="382548" y="636472"/>
                  </a:lnTo>
                  <a:lnTo>
                    <a:pt x="385668" y="667649"/>
                  </a:lnTo>
                  <a:lnTo>
                    <a:pt x="414028" y="660950"/>
                  </a:lnTo>
                  <a:lnTo>
                    <a:pt x="422743" y="648976"/>
                  </a:lnTo>
                  <a:lnTo>
                    <a:pt x="450702" y="651351"/>
                  </a:lnTo>
                  <a:lnTo>
                    <a:pt x="486004" y="668539"/>
                  </a:lnTo>
                  <a:lnTo>
                    <a:pt x="540022" y="683424"/>
                  </a:lnTo>
                  <a:lnTo>
                    <a:pt x="571789" y="690280"/>
                  </a:lnTo>
                  <a:lnTo>
                    <a:pt x="594400" y="687682"/>
                  </a:lnTo>
                  <a:lnTo>
                    <a:pt x="625537" y="708046"/>
                  </a:lnTo>
                  <a:lnTo>
                    <a:pt x="593061" y="727784"/>
                  </a:lnTo>
                  <a:lnTo>
                    <a:pt x="634786" y="736254"/>
                  </a:lnTo>
                  <a:lnTo>
                    <a:pt x="697092" y="731599"/>
                  </a:lnTo>
                  <a:lnTo>
                    <a:pt x="716754" y="724677"/>
                  </a:lnTo>
                  <a:lnTo>
                    <a:pt x="741360" y="748307"/>
                  </a:lnTo>
                  <a:lnTo>
                    <a:pt x="766470" y="728387"/>
                  </a:lnTo>
                  <a:lnTo>
                    <a:pt x="742912" y="711531"/>
                  </a:lnTo>
                  <a:lnTo>
                    <a:pt x="757818" y="697829"/>
                  </a:lnTo>
                  <a:lnTo>
                    <a:pt x="785914" y="695977"/>
                  </a:lnTo>
                  <a:lnTo>
                    <a:pt x="804381" y="691953"/>
                  </a:lnTo>
                  <a:lnTo>
                    <a:pt x="823012" y="701549"/>
                  </a:lnTo>
                  <a:lnTo>
                    <a:pt x="846208" y="723212"/>
                  </a:lnTo>
                  <a:lnTo>
                    <a:pt x="871986" y="720046"/>
                  </a:lnTo>
                  <a:lnTo>
                    <a:pt x="912769" y="737880"/>
                  </a:lnTo>
                  <a:lnTo>
                    <a:pt x="948602" y="731617"/>
                  </a:lnTo>
                  <a:lnTo>
                    <a:pt x="982274" y="732566"/>
                  </a:lnTo>
                  <a:lnTo>
                    <a:pt x="979610" y="707845"/>
                  </a:lnTo>
                  <a:lnTo>
                    <a:pt x="1000133" y="700850"/>
                  </a:lnTo>
                  <a:lnTo>
                    <a:pt x="1035902" y="714411"/>
                  </a:lnTo>
                  <a:lnTo>
                    <a:pt x="1035764" y="751754"/>
                  </a:lnTo>
                  <a:lnTo>
                    <a:pt x="1050455" y="720326"/>
                  </a:lnTo>
                  <a:lnTo>
                    <a:pt x="1069023" y="721393"/>
                  </a:lnTo>
                  <a:lnTo>
                    <a:pt x="1079461" y="681086"/>
                  </a:lnTo>
                  <a:lnTo>
                    <a:pt x="1054733" y="655953"/>
                  </a:lnTo>
                  <a:lnTo>
                    <a:pt x="1027790" y="639313"/>
                  </a:lnTo>
                  <a:lnTo>
                    <a:pt x="1029641" y="593079"/>
                  </a:lnTo>
                  <a:close/>
                  <a:moveTo>
                    <a:pt x="595734" y="501226"/>
                  </a:moveTo>
                  <a:lnTo>
                    <a:pt x="619323" y="509777"/>
                  </a:lnTo>
                  <a:lnTo>
                    <a:pt x="607800" y="530371"/>
                  </a:lnTo>
                  <a:lnTo>
                    <a:pt x="659167" y="517098"/>
                  </a:lnTo>
                  <a:lnTo>
                    <a:pt x="691266" y="539196"/>
                  </a:lnTo>
                  <a:lnTo>
                    <a:pt x="717351" y="516846"/>
                  </a:lnTo>
                  <a:lnTo>
                    <a:pt x="738444" y="531220"/>
                  </a:lnTo>
                  <a:lnTo>
                    <a:pt x="757330" y="573677"/>
                  </a:lnTo>
                  <a:lnTo>
                    <a:pt x="768926" y="555872"/>
                  </a:lnTo>
                  <a:lnTo>
                    <a:pt x="752528" y="511186"/>
                  </a:lnTo>
                  <a:lnTo>
                    <a:pt x="772839" y="504711"/>
                  </a:lnTo>
                  <a:lnTo>
                    <a:pt x="795780" y="511783"/>
                  </a:lnTo>
                  <a:lnTo>
                    <a:pt x="821636" y="529504"/>
                  </a:lnTo>
                  <a:lnTo>
                    <a:pt x="836123" y="571645"/>
                  </a:lnTo>
                  <a:lnTo>
                    <a:pt x="843280" y="601605"/>
                  </a:lnTo>
                  <a:lnTo>
                    <a:pt x="882045" y="622368"/>
                  </a:lnTo>
                  <a:lnTo>
                    <a:pt x="923700" y="642017"/>
                  </a:lnTo>
                  <a:lnTo>
                    <a:pt x="921195" y="660101"/>
                  </a:lnTo>
                  <a:lnTo>
                    <a:pt x="883296" y="663391"/>
                  </a:lnTo>
                  <a:lnTo>
                    <a:pt x="898020" y="679036"/>
                  </a:lnTo>
                  <a:lnTo>
                    <a:pt x="890243" y="693852"/>
                  </a:lnTo>
                  <a:lnTo>
                    <a:pt x="848468" y="687517"/>
                  </a:lnTo>
                  <a:lnTo>
                    <a:pt x="808766" y="676587"/>
                  </a:lnTo>
                  <a:lnTo>
                    <a:pt x="781932" y="679053"/>
                  </a:lnTo>
                  <a:lnTo>
                    <a:pt x="738595" y="692758"/>
                  </a:lnTo>
                  <a:lnTo>
                    <a:pt x="680100" y="698787"/>
                  </a:lnTo>
                  <a:lnTo>
                    <a:pt x="639035" y="702578"/>
                  </a:lnTo>
                  <a:lnTo>
                    <a:pt x="626529" y="683579"/>
                  </a:lnTo>
                  <a:lnTo>
                    <a:pt x="595020" y="672523"/>
                  </a:lnTo>
                  <a:lnTo>
                    <a:pt x="574524" y="677065"/>
                  </a:lnTo>
                  <a:lnTo>
                    <a:pt x="546085" y="644672"/>
                  </a:lnTo>
                  <a:lnTo>
                    <a:pt x="561442" y="640273"/>
                  </a:lnTo>
                  <a:lnTo>
                    <a:pt x="597072" y="633202"/>
                  </a:lnTo>
                  <a:lnTo>
                    <a:pt x="629612" y="635065"/>
                  </a:lnTo>
                  <a:lnTo>
                    <a:pt x="659742" y="627840"/>
                  </a:lnTo>
                  <a:lnTo>
                    <a:pt x="615103" y="618099"/>
                  </a:lnTo>
                  <a:lnTo>
                    <a:pt x="565778" y="621422"/>
                  </a:lnTo>
                  <a:lnTo>
                    <a:pt x="533048" y="620582"/>
                  </a:lnTo>
                  <a:lnTo>
                    <a:pt x="520870" y="605132"/>
                  </a:lnTo>
                  <a:lnTo>
                    <a:pt x="574405" y="588232"/>
                  </a:lnTo>
                  <a:lnTo>
                    <a:pt x="538799" y="588825"/>
                  </a:lnTo>
                  <a:lnTo>
                    <a:pt x="498489" y="577619"/>
                  </a:lnTo>
                  <a:lnTo>
                    <a:pt x="517863" y="545388"/>
                  </a:lnTo>
                  <a:lnTo>
                    <a:pt x="533934" y="528045"/>
                  </a:lnTo>
                  <a:close/>
                  <a:moveTo>
                    <a:pt x="824924" y="486734"/>
                  </a:moveTo>
                  <a:lnTo>
                    <a:pt x="842467" y="496544"/>
                  </a:lnTo>
                  <a:lnTo>
                    <a:pt x="822154" y="525678"/>
                  </a:lnTo>
                  <a:lnTo>
                    <a:pt x="786145" y="494764"/>
                  </a:lnTo>
                  <a:lnTo>
                    <a:pt x="793993" y="488521"/>
                  </a:lnTo>
                  <a:close/>
                  <a:moveTo>
                    <a:pt x="1399843" y="481375"/>
                  </a:moveTo>
                  <a:lnTo>
                    <a:pt x="1452670" y="486201"/>
                  </a:lnTo>
                  <a:lnTo>
                    <a:pt x="1492475" y="510606"/>
                  </a:lnTo>
                  <a:lnTo>
                    <a:pt x="1494520" y="522768"/>
                  </a:lnTo>
                  <a:lnTo>
                    <a:pt x="1469982" y="521488"/>
                  </a:lnTo>
                  <a:lnTo>
                    <a:pt x="1445117" y="520560"/>
                  </a:lnTo>
                  <a:lnTo>
                    <a:pt x="1419851" y="526458"/>
                  </a:lnTo>
                  <a:lnTo>
                    <a:pt x="1413167" y="523798"/>
                  </a:lnTo>
                  <a:lnTo>
                    <a:pt x="1387770" y="500401"/>
                  </a:lnTo>
                  <a:lnTo>
                    <a:pt x="1388744" y="484355"/>
                  </a:lnTo>
                  <a:close/>
                  <a:moveTo>
                    <a:pt x="1273509" y="479397"/>
                  </a:moveTo>
                  <a:lnTo>
                    <a:pt x="1256520" y="508186"/>
                  </a:lnTo>
                  <a:lnTo>
                    <a:pt x="1274705" y="535549"/>
                  </a:lnTo>
                  <a:lnTo>
                    <a:pt x="1296039" y="500086"/>
                  </a:lnTo>
                  <a:lnTo>
                    <a:pt x="1354542" y="481767"/>
                  </a:lnTo>
                  <a:lnTo>
                    <a:pt x="1394141" y="527581"/>
                  </a:lnTo>
                  <a:lnTo>
                    <a:pt x="1390705" y="556027"/>
                  </a:lnTo>
                  <a:lnTo>
                    <a:pt x="1436369" y="543465"/>
                  </a:lnTo>
                  <a:lnTo>
                    <a:pt x="1458206" y="526133"/>
                  </a:lnTo>
                  <a:lnTo>
                    <a:pt x="1509421" y="548170"/>
                  </a:lnTo>
                  <a:lnTo>
                    <a:pt x="1541211" y="568701"/>
                  </a:lnTo>
                  <a:lnTo>
                    <a:pt x="1544200" y="587312"/>
                  </a:lnTo>
                  <a:lnTo>
                    <a:pt x="1587063" y="577690"/>
                  </a:lnTo>
                  <a:lnTo>
                    <a:pt x="1611120" y="604677"/>
                  </a:lnTo>
                  <a:lnTo>
                    <a:pt x="1666840" y="621230"/>
                  </a:lnTo>
                  <a:lnTo>
                    <a:pt x="1686947" y="637981"/>
                  </a:lnTo>
                  <a:lnTo>
                    <a:pt x="1708782" y="676340"/>
                  </a:lnTo>
                  <a:lnTo>
                    <a:pt x="1666400" y="695165"/>
                  </a:lnTo>
                  <a:lnTo>
                    <a:pt x="1720766" y="721261"/>
                  </a:lnTo>
                  <a:lnTo>
                    <a:pt x="1757411" y="729962"/>
                  </a:lnTo>
                  <a:lnTo>
                    <a:pt x="1790589" y="765978"/>
                  </a:lnTo>
                  <a:lnTo>
                    <a:pt x="1826897" y="768554"/>
                  </a:lnTo>
                  <a:lnTo>
                    <a:pt x="1819714" y="795606"/>
                  </a:lnTo>
                  <a:lnTo>
                    <a:pt x="1779198" y="839616"/>
                  </a:lnTo>
                  <a:lnTo>
                    <a:pt x="1750797" y="823532"/>
                  </a:lnTo>
                  <a:lnTo>
                    <a:pt x="1714502" y="786865"/>
                  </a:lnTo>
                  <a:lnTo>
                    <a:pt x="1684638" y="791678"/>
                  </a:lnTo>
                  <a:lnTo>
                    <a:pt x="1681723" y="813543"/>
                  </a:lnTo>
                  <a:lnTo>
                    <a:pt x="1705998" y="835496"/>
                  </a:lnTo>
                  <a:lnTo>
                    <a:pt x="1737334" y="852707"/>
                  </a:lnTo>
                  <a:lnTo>
                    <a:pt x="1746842" y="862582"/>
                  </a:lnTo>
                  <a:lnTo>
                    <a:pt x="1761864" y="898975"/>
                  </a:lnTo>
                  <a:lnTo>
                    <a:pt x="1753914" y="925017"/>
                  </a:lnTo>
                  <a:lnTo>
                    <a:pt x="1724801" y="915238"/>
                  </a:lnTo>
                  <a:lnTo>
                    <a:pt x="1666906" y="886077"/>
                  </a:lnTo>
                  <a:lnTo>
                    <a:pt x="1699534" y="917449"/>
                  </a:lnTo>
                  <a:lnTo>
                    <a:pt x="1723572" y="939165"/>
                  </a:lnTo>
                  <a:lnTo>
                    <a:pt x="1727328" y="951622"/>
                  </a:lnTo>
                  <a:lnTo>
                    <a:pt x="1664733" y="937372"/>
                  </a:lnTo>
                  <a:lnTo>
                    <a:pt x="1615196" y="916482"/>
                  </a:lnTo>
                  <a:lnTo>
                    <a:pt x="1587221" y="898796"/>
                  </a:lnTo>
                  <a:lnTo>
                    <a:pt x="1595279" y="888484"/>
                  </a:lnTo>
                  <a:lnTo>
                    <a:pt x="1560839" y="869571"/>
                  </a:lnTo>
                  <a:lnTo>
                    <a:pt x="1527228" y="851564"/>
                  </a:lnTo>
                  <a:lnTo>
                    <a:pt x="1527595" y="862346"/>
                  </a:lnTo>
                  <a:lnTo>
                    <a:pt x="1460852" y="868256"/>
                  </a:lnTo>
                  <a:lnTo>
                    <a:pt x="1441325" y="855518"/>
                  </a:lnTo>
                  <a:lnTo>
                    <a:pt x="1456529" y="827942"/>
                  </a:lnTo>
                  <a:lnTo>
                    <a:pt x="1499901" y="827271"/>
                  </a:lnTo>
                  <a:lnTo>
                    <a:pt x="1547417" y="822446"/>
                  </a:lnTo>
                  <a:lnTo>
                    <a:pt x="1539705" y="808907"/>
                  </a:lnTo>
                  <a:lnTo>
                    <a:pt x="1547760" y="789842"/>
                  </a:lnTo>
                  <a:lnTo>
                    <a:pt x="1577623" y="752098"/>
                  </a:lnTo>
                  <a:lnTo>
                    <a:pt x="1571278" y="734725"/>
                  </a:lnTo>
                  <a:lnTo>
                    <a:pt x="1562378" y="721171"/>
                  </a:lnTo>
                  <a:lnTo>
                    <a:pt x="1527023" y="701813"/>
                  </a:lnTo>
                  <a:lnTo>
                    <a:pt x="1480262" y="688133"/>
                  </a:lnTo>
                  <a:lnTo>
                    <a:pt x="1495045" y="677895"/>
                  </a:lnTo>
                  <a:lnTo>
                    <a:pt x="1470607" y="652512"/>
                  </a:lnTo>
                  <a:lnTo>
                    <a:pt x="1450265" y="650171"/>
                  </a:lnTo>
                  <a:lnTo>
                    <a:pt x="1432062" y="636121"/>
                  </a:lnTo>
                  <a:lnTo>
                    <a:pt x="1419708" y="648306"/>
                  </a:lnTo>
                  <a:lnTo>
                    <a:pt x="1377859" y="653594"/>
                  </a:lnTo>
                  <a:lnTo>
                    <a:pt x="1293855" y="644398"/>
                  </a:lnTo>
                  <a:lnTo>
                    <a:pt x="1245029" y="632260"/>
                  </a:lnTo>
                  <a:lnTo>
                    <a:pt x="1207595" y="625994"/>
                  </a:lnTo>
                  <a:lnTo>
                    <a:pt x="1188397" y="611314"/>
                  </a:lnTo>
                  <a:lnTo>
                    <a:pt x="1212535" y="592089"/>
                  </a:lnTo>
                  <a:lnTo>
                    <a:pt x="1179747" y="591904"/>
                  </a:lnTo>
                  <a:lnTo>
                    <a:pt x="1172430" y="548542"/>
                  </a:lnTo>
                  <a:lnTo>
                    <a:pt x="1190171" y="509423"/>
                  </a:lnTo>
                  <a:lnTo>
                    <a:pt x="1213908" y="491293"/>
                  </a:lnTo>
                  <a:close/>
                  <a:moveTo>
                    <a:pt x="938112" y="477598"/>
                  </a:moveTo>
                  <a:lnTo>
                    <a:pt x="965639" y="487029"/>
                  </a:lnTo>
                  <a:lnTo>
                    <a:pt x="1006816" y="481362"/>
                  </a:lnTo>
                  <a:lnTo>
                    <a:pt x="1012817" y="494318"/>
                  </a:lnTo>
                  <a:lnTo>
                    <a:pt x="991267" y="515552"/>
                  </a:lnTo>
                  <a:lnTo>
                    <a:pt x="1026205" y="534421"/>
                  </a:lnTo>
                  <a:lnTo>
                    <a:pt x="1022050" y="573287"/>
                  </a:lnTo>
                  <a:lnTo>
                    <a:pt x="984202" y="589773"/>
                  </a:lnTo>
                  <a:lnTo>
                    <a:pt x="961969" y="586227"/>
                  </a:lnTo>
                  <a:lnTo>
                    <a:pt x="945997" y="569938"/>
                  </a:lnTo>
                  <a:lnTo>
                    <a:pt x="888632" y="536601"/>
                  </a:lnTo>
                  <a:lnTo>
                    <a:pt x="889094" y="522609"/>
                  </a:lnTo>
                  <a:lnTo>
                    <a:pt x="936220" y="528048"/>
                  </a:lnTo>
                  <a:lnTo>
                    <a:pt x="910791" y="499210"/>
                  </a:lnTo>
                  <a:close/>
                  <a:moveTo>
                    <a:pt x="1073209" y="464482"/>
                  </a:moveTo>
                  <a:lnTo>
                    <a:pt x="1121305" y="466059"/>
                  </a:lnTo>
                  <a:lnTo>
                    <a:pt x="1165398" y="477021"/>
                  </a:lnTo>
                  <a:lnTo>
                    <a:pt x="1130909" y="516621"/>
                  </a:lnTo>
                  <a:lnTo>
                    <a:pt x="1103386" y="525153"/>
                  </a:lnTo>
                  <a:lnTo>
                    <a:pt x="1078625" y="557636"/>
                  </a:lnTo>
                  <a:lnTo>
                    <a:pt x="1052292" y="556028"/>
                  </a:lnTo>
                  <a:lnTo>
                    <a:pt x="1037891" y="517764"/>
                  </a:lnTo>
                  <a:lnTo>
                    <a:pt x="1038248" y="495768"/>
                  </a:lnTo>
                  <a:lnTo>
                    <a:pt x="1050308" y="476765"/>
                  </a:lnTo>
                  <a:close/>
                  <a:moveTo>
                    <a:pt x="449187" y="450229"/>
                  </a:moveTo>
                  <a:lnTo>
                    <a:pt x="482151" y="459662"/>
                  </a:lnTo>
                  <a:lnTo>
                    <a:pt x="541108" y="462181"/>
                  </a:lnTo>
                  <a:lnTo>
                    <a:pt x="563526" y="475253"/>
                  </a:lnTo>
                  <a:lnTo>
                    <a:pt x="588308" y="494087"/>
                  </a:lnTo>
                  <a:lnTo>
                    <a:pt x="559290" y="505289"/>
                  </a:lnTo>
                  <a:lnTo>
                    <a:pt x="502690" y="536166"/>
                  </a:lnTo>
                  <a:lnTo>
                    <a:pt x="474067" y="566434"/>
                  </a:lnTo>
                  <a:lnTo>
                    <a:pt x="474067" y="585071"/>
                  </a:lnTo>
                  <a:lnTo>
                    <a:pt x="413309" y="605450"/>
                  </a:lnTo>
                  <a:lnTo>
                    <a:pt x="401126" y="586923"/>
                  </a:lnTo>
                  <a:lnTo>
                    <a:pt x="347829" y="564344"/>
                  </a:lnTo>
                  <a:lnTo>
                    <a:pt x="357731" y="546065"/>
                  </a:lnTo>
                  <a:lnTo>
                    <a:pt x="373720" y="514140"/>
                  </a:lnTo>
                  <a:lnTo>
                    <a:pt x="393740" y="484945"/>
                  </a:lnTo>
                  <a:lnTo>
                    <a:pt x="371170" y="457331"/>
                  </a:lnTo>
                  <a:close/>
                  <a:moveTo>
                    <a:pt x="1065196" y="394840"/>
                  </a:moveTo>
                  <a:lnTo>
                    <a:pt x="1085349" y="411219"/>
                  </a:lnTo>
                  <a:lnTo>
                    <a:pt x="1093774" y="425879"/>
                  </a:lnTo>
                  <a:lnTo>
                    <a:pt x="1081213" y="443683"/>
                  </a:lnTo>
                  <a:lnTo>
                    <a:pt x="1047702" y="440274"/>
                  </a:lnTo>
                  <a:lnTo>
                    <a:pt x="1019720" y="428294"/>
                  </a:lnTo>
                  <a:lnTo>
                    <a:pt x="1032008" y="407433"/>
                  </a:lnTo>
                  <a:close/>
                  <a:moveTo>
                    <a:pt x="980963" y="343845"/>
                  </a:moveTo>
                  <a:lnTo>
                    <a:pt x="998608" y="366044"/>
                  </a:lnTo>
                  <a:lnTo>
                    <a:pt x="999327" y="390322"/>
                  </a:lnTo>
                  <a:lnTo>
                    <a:pt x="988811" y="424956"/>
                  </a:lnTo>
                  <a:lnTo>
                    <a:pt x="950754" y="429685"/>
                  </a:lnTo>
                  <a:lnTo>
                    <a:pt x="925942" y="422306"/>
                  </a:lnTo>
                  <a:lnTo>
                    <a:pt x="926420" y="395144"/>
                  </a:lnTo>
                  <a:lnTo>
                    <a:pt x="888584" y="398749"/>
                  </a:lnTo>
                  <a:lnTo>
                    <a:pt x="887120" y="362228"/>
                  </a:lnTo>
                  <a:lnTo>
                    <a:pt x="911952" y="363718"/>
                  </a:lnTo>
                  <a:lnTo>
                    <a:pt x="946720" y="347391"/>
                  </a:lnTo>
                  <a:lnTo>
                    <a:pt x="979186" y="350166"/>
                  </a:lnTo>
                  <a:close/>
                  <a:moveTo>
                    <a:pt x="725181" y="340268"/>
                  </a:moveTo>
                  <a:lnTo>
                    <a:pt x="749015" y="345852"/>
                  </a:lnTo>
                  <a:lnTo>
                    <a:pt x="756798" y="368655"/>
                  </a:lnTo>
                  <a:lnTo>
                    <a:pt x="765846" y="385517"/>
                  </a:lnTo>
                  <a:lnTo>
                    <a:pt x="786401" y="377615"/>
                  </a:lnTo>
                  <a:lnTo>
                    <a:pt x="810590" y="379669"/>
                  </a:lnTo>
                  <a:lnTo>
                    <a:pt x="814653" y="402690"/>
                  </a:lnTo>
                  <a:lnTo>
                    <a:pt x="800607" y="424712"/>
                  </a:lnTo>
                  <a:lnTo>
                    <a:pt x="722437" y="431868"/>
                  </a:lnTo>
                  <a:lnTo>
                    <a:pt x="664198" y="451684"/>
                  </a:lnTo>
                  <a:lnTo>
                    <a:pt x="629095" y="452717"/>
                  </a:lnTo>
                  <a:lnTo>
                    <a:pt x="626151" y="437825"/>
                  </a:lnTo>
                  <a:lnTo>
                    <a:pt x="674097" y="417439"/>
                  </a:lnTo>
                  <a:lnTo>
                    <a:pt x="569810" y="422950"/>
                  </a:lnTo>
                  <a:lnTo>
                    <a:pt x="537535" y="414670"/>
                  </a:lnTo>
                  <a:lnTo>
                    <a:pt x="569029" y="368781"/>
                  </a:lnTo>
                  <a:lnTo>
                    <a:pt x="590753" y="355428"/>
                  </a:lnTo>
                  <a:lnTo>
                    <a:pt x="655715" y="371522"/>
                  </a:lnTo>
                  <a:lnTo>
                    <a:pt x="696718" y="399432"/>
                  </a:lnTo>
                  <a:lnTo>
                    <a:pt x="737046" y="402984"/>
                  </a:lnTo>
                  <a:lnTo>
                    <a:pt x="704034" y="357775"/>
                  </a:lnTo>
                  <a:close/>
                  <a:moveTo>
                    <a:pt x="1021470" y="322456"/>
                  </a:moveTo>
                  <a:lnTo>
                    <a:pt x="1069044" y="325549"/>
                  </a:lnTo>
                  <a:lnTo>
                    <a:pt x="1094670" y="341130"/>
                  </a:lnTo>
                  <a:lnTo>
                    <a:pt x="1140117" y="341023"/>
                  </a:lnTo>
                  <a:lnTo>
                    <a:pt x="1160042" y="356829"/>
                  </a:lnTo>
                  <a:lnTo>
                    <a:pt x="1154783" y="374716"/>
                  </a:lnTo>
                  <a:lnTo>
                    <a:pt x="1181269" y="385410"/>
                  </a:lnTo>
                  <a:lnTo>
                    <a:pt x="1195930" y="396577"/>
                  </a:lnTo>
                  <a:lnTo>
                    <a:pt x="1227064" y="398637"/>
                  </a:lnTo>
                  <a:lnTo>
                    <a:pt x="1260744" y="402554"/>
                  </a:lnTo>
                  <a:lnTo>
                    <a:pt x="1297435" y="392400"/>
                  </a:lnTo>
                  <a:lnTo>
                    <a:pt x="1344436" y="388399"/>
                  </a:lnTo>
                  <a:lnTo>
                    <a:pt x="1381943" y="391706"/>
                  </a:lnTo>
                  <a:lnTo>
                    <a:pt x="1406665" y="409341"/>
                  </a:lnTo>
                  <a:lnTo>
                    <a:pt x="1411826" y="428502"/>
                  </a:lnTo>
                  <a:lnTo>
                    <a:pt x="1397426" y="440711"/>
                  </a:lnTo>
                  <a:lnTo>
                    <a:pt x="1363008" y="450523"/>
                  </a:lnTo>
                  <a:lnTo>
                    <a:pt x="1333461" y="444977"/>
                  </a:lnTo>
                  <a:lnTo>
                    <a:pt x="1267247" y="452000"/>
                  </a:lnTo>
                  <a:lnTo>
                    <a:pt x="1219860" y="452807"/>
                  </a:lnTo>
                  <a:lnTo>
                    <a:pt x="1182596" y="447191"/>
                  </a:lnTo>
                  <a:lnTo>
                    <a:pt x="1121249" y="432431"/>
                  </a:lnTo>
                  <a:lnTo>
                    <a:pt x="1113266" y="407014"/>
                  </a:lnTo>
                  <a:lnTo>
                    <a:pt x="1110459" y="383766"/>
                  </a:lnTo>
                  <a:lnTo>
                    <a:pt x="1087286" y="363056"/>
                  </a:lnTo>
                  <a:lnTo>
                    <a:pt x="1039536" y="357222"/>
                  </a:lnTo>
                  <a:lnTo>
                    <a:pt x="1012785" y="342347"/>
                  </a:lnTo>
                  <a:close/>
                  <a:moveTo>
                    <a:pt x="572432" y="298724"/>
                  </a:moveTo>
                  <a:lnTo>
                    <a:pt x="569265" y="336266"/>
                  </a:lnTo>
                  <a:lnTo>
                    <a:pt x="551485" y="352976"/>
                  </a:lnTo>
                  <a:lnTo>
                    <a:pt x="529918" y="355317"/>
                  </a:lnTo>
                  <a:lnTo>
                    <a:pt x="487009" y="375702"/>
                  </a:lnTo>
                  <a:lnTo>
                    <a:pt x="450061" y="382946"/>
                  </a:lnTo>
                  <a:lnTo>
                    <a:pt x="418786" y="372699"/>
                  </a:lnTo>
                  <a:lnTo>
                    <a:pt x="457966" y="336869"/>
                  </a:lnTo>
                  <a:lnTo>
                    <a:pt x="505369" y="305280"/>
                  </a:lnTo>
                  <a:lnTo>
                    <a:pt x="540773" y="305963"/>
                  </a:lnTo>
                  <a:close/>
                  <a:moveTo>
                    <a:pt x="1028599" y="289355"/>
                  </a:moveTo>
                  <a:lnTo>
                    <a:pt x="1075081" y="290080"/>
                  </a:lnTo>
                  <a:lnTo>
                    <a:pt x="1091283" y="299264"/>
                  </a:lnTo>
                  <a:lnTo>
                    <a:pt x="1088528" y="304897"/>
                  </a:lnTo>
                  <a:lnTo>
                    <a:pt x="1078011" y="306307"/>
                  </a:lnTo>
                  <a:lnTo>
                    <a:pt x="1034753" y="303169"/>
                  </a:lnTo>
                  <a:close/>
                  <a:moveTo>
                    <a:pt x="686325" y="273498"/>
                  </a:moveTo>
                  <a:lnTo>
                    <a:pt x="718872" y="281317"/>
                  </a:lnTo>
                  <a:lnTo>
                    <a:pt x="711197" y="296169"/>
                  </a:lnTo>
                  <a:lnTo>
                    <a:pt x="668165" y="310339"/>
                  </a:lnTo>
                  <a:lnTo>
                    <a:pt x="633931" y="294429"/>
                  </a:lnTo>
                  <a:lnTo>
                    <a:pt x="652621" y="278589"/>
                  </a:lnTo>
                  <a:close/>
                  <a:moveTo>
                    <a:pt x="680888" y="238296"/>
                  </a:moveTo>
                  <a:lnTo>
                    <a:pt x="693268" y="240617"/>
                  </a:lnTo>
                  <a:lnTo>
                    <a:pt x="723288" y="250898"/>
                  </a:lnTo>
                  <a:lnTo>
                    <a:pt x="695169" y="260749"/>
                  </a:lnTo>
                  <a:lnTo>
                    <a:pt x="656834" y="260700"/>
                  </a:lnTo>
                  <a:lnTo>
                    <a:pt x="657208" y="253500"/>
                  </a:lnTo>
                  <a:close/>
                  <a:moveTo>
                    <a:pt x="977916" y="237177"/>
                  </a:moveTo>
                  <a:lnTo>
                    <a:pt x="1007803" y="239214"/>
                  </a:lnTo>
                  <a:lnTo>
                    <a:pt x="1021256" y="242583"/>
                  </a:lnTo>
                  <a:lnTo>
                    <a:pt x="1048843" y="260175"/>
                  </a:lnTo>
                  <a:lnTo>
                    <a:pt x="1042587" y="278295"/>
                  </a:lnTo>
                  <a:lnTo>
                    <a:pt x="1008435" y="288563"/>
                  </a:lnTo>
                  <a:lnTo>
                    <a:pt x="989635" y="277002"/>
                  </a:lnTo>
                  <a:lnTo>
                    <a:pt x="979743" y="258169"/>
                  </a:lnTo>
                  <a:close/>
                  <a:moveTo>
                    <a:pt x="819562" y="215127"/>
                  </a:moveTo>
                  <a:lnTo>
                    <a:pt x="864874" y="222148"/>
                  </a:lnTo>
                  <a:lnTo>
                    <a:pt x="927292" y="240820"/>
                  </a:lnTo>
                  <a:lnTo>
                    <a:pt x="944950" y="264883"/>
                  </a:lnTo>
                  <a:lnTo>
                    <a:pt x="953935" y="285735"/>
                  </a:lnTo>
                  <a:lnTo>
                    <a:pt x="916241" y="280188"/>
                  </a:lnTo>
                  <a:lnTo>
                    <a:pt x="878249" y="263954"/>
                  </a:lnTo>
                  <a:lnTo>
                    <a:pt x="826860" y="262088"/>
                  </a:lnTo>
                  <a:lnTo>
                    <a:pt x="849151" y="247074"/>
                  </a:lnTo>
                  <a:lnTo>
                    <a:pt x="821241" y="234808"/>
                  </a:lnTo>
                  <a:close/>
                  <a:moveTo>
                    <a:pt x="1121540" y="111281"/>
                  </a:moveTo>
                  <a:lnTo>
                    <a:pt x="1151015" y="140220"/>
                  </a:lnTo>
                  <a:lnTo>
                    <a:pt x="1189861" y="151698"/>
                  </a:lnTo>
                  <a:lnTo>
                    <a:pt x="1227717" y="161787"/>
                  </a:lnTo>
                  <a:lnTo>
                    <a:pt x="1245952" y="196531"/>
                  </a:lnTo>
                  <a:lnTo>
                    <a:pt x="1273782" y="213304"/>
                  </a:lnTo>
                  <a:lnTo>
                    <a:pt x="1242084" y="228619"/>
                  </a:lnTo>
                  <a:lnTo>
                    <a:pt x="1199432" y="266768"/>
                  </a:lnTo>
                  <a:lnTo>
                    <a:pt x="1158599" y="270375"/>
                  </a:lnTo>
                  <a:lnTo>
                    <a:pt x="1110764" y="263949"/>
                  </a:lnTo>
                  <a:lnTo>
                    <a:pt x="1085962" y="243337"/>
                  </a:lnTo>
                  <a:lnTo>
                    <a:pt x="1086318" y="224801"/>
                  </a:lnTo>
                  <a:lnTo>
                    <a:pt x="1104565" y="211070"/>
                  </a:lnTo>
                  <a:lnTo>
                    <a:pt x="1062352" y="211464"/>
                  </a:lnTo>
                  <a:lnTo>
                    <a:pt x="1036912" y="194182"/>
                  </a:lnTo>
                  <a:lnTo>
                    <a:pt x="1022288" y="170389"/>
                  </a:lnTo>
                  <a:lnTo>
                    <a:pt x="1038290" y="146722"/>
                  </a:lnTo>
                  <a:lnTo>
                    <a:pt x="1054286" y="130308"/>
                  </a:lnTo>
                  <a:lnTo>
                    <a:pt x="1077946" y="126521"/>
                  </a:lnTo>
                  <a:lnTo>
                    <a:pt x="1067859" y="114062"/>
                  </a:lnTo>
                  <a:close/>
                  <a:moveTo>
                    <a:pt x="1573460" y="0"/>
                  </a:moveTo>
                  <a:lnTo>
                    <a:pt x="1623451" y="3682"/>
                  </a:lnTo>
                  <a:lnTo>
                    <a:pt x="1673443" y="7357"/>
                  </a:lnTo>
                  <a:lnTo>
                    <a:pt x="1735135" y="11882"/>
                  </a:lnTo>
                  <a:lnTo>
                    <a:pt x="1784702" y="19254"/>
                  </a:lnTo>
                  <a:lnTo>
                    <a:pt x="1826943" y="34785"/>
                  </a:lnTo>
                  <a:lnTo>
                    <a:pt x="1825930" y="49933"/>
                  </a:lnTo>
                  <a:lnTo>
                    <a:pt x="1769606" y="74286"/>
                  </a:lnTo>
                  <a:lnTo>
                    <a:pt x="1713759" y="85540"/>
                  </a:lnTo>
                  <a:lnTo>
                    <a:pt x="1692889" y="97902"/>
                  </a:lnTo>
                  <a:lnTo>
                    <a:pt x="1743146" y="97618"/>
                  </a:lnTo>
                  <a:lnTo>
                    <a:pt x="1688678" y="130702"/>
                  </a:lnTo>
                  <a:lnTo>
                    <a:pt x="1651060" y="145945"/>
                  </a:lnTo>
                  <a:lnTo>
                    <a:pt x="1611581" y="189216"/>
                  </a:lnTo>
                  <a:lnTo>
                    <a:pt x="1563967" y="197879"/>
                  </a:lnTo>
                  <a:lnTo>
                    <a:pt x="1549259" y="208478"/>
                  </a:lnTo>
                  <a:lnTo>
                    <a:pt x="1479370" y="214017"/>
                  </a:lnTo>
                  <a:lnTo>
                    <a:pt x="1511190" y="220485"/>
                  </a:lnTo>
                  <a:lnTo>
                    <a:pt x="1495234" y="229656"/>
                  </a:lnTo>
                  <a:lnTo>
                    <a:pt x="1514324" y="254751"/>
                  </a:lnTo>
                  <a:lnTo>
                    <a:pt x="1492393" y="271996"/>
                  </a:lnTo>
                  <a:lnTo>
                    <a:pt x="1456731" y="286114"/>
                  </a:lnTo>
                  <a:lnTo>
                    <a:pt x="1445786" y="305458"/>
                  </a:lnTo>
                  <a:lnTo>
                    <a:pt x="1413544" y="320101"/>
                  </a:lnTo>
                  <a:lnTo>
                    <a:pt x="1416772" y="331112"/>
                  </a:lnTo>
                  <a:lnTo>
                    <a:pt x="1456215" y="329235"/>
                  </a:lnTo>
                  <a:lnTo>
                    <a:pt x="1456717" y="341050"/>
                  </a:lnTo>
                  <a:lnTo>
                    <a:pt x="1395037" y="369775"/>
                  </a:lnTo>
                  <a:lnTo>
                    <a:pt x="1334719" y="356616"/>
                  </a:lnTo>
                  <a:lnTo>
                    <a:pt x="1266915" y="364021"/>
                  </a:lnTo>
                  <a:lnTo>
                    <a:pt x="1232564" y="358245"/>
                  </a:lnTo>
                  <a:lnTo>
                    <a:pt x="1188922" y="355738"/>
                  </a:lnTo>
                  <a:lnTo>
                    <a:pt x="1186027" y="332626"/>
                  </a:lnTo>
                  <a:lnTo>
                    <a:pt x="1228700" y="321630"/>
                  </a:lnTo>
                  <a:lnTo>
                    <a:pt x="1217329" y="286110"/>
                  </a:lnTo>
                  <a:lnTo>
                    <a:pt x="1231410" y="282617"/>
                  </a:lnTo>
                  <a:lnTo>
                    <a:pt x="1293125" y="303976"/>
                  </a:lnTo>
                  <a:lnTo>
                    <a:pt x="1261648" y="272144"/>
                  </a:lnTo>
                  <a:lnTo>
                    <a:pt x="1224210" y="262517"/>
                  </a:lnTo>
                  <a:lnTo>
                    <a:pt x="1242906" y="242946"/>
                  </a:lnTo>
                  <a:lnTo>
                    <a:pt x="1283838" y="230791"/>
                  </a:lnTo>
                  <a:lnTo>
                    <a:pt x="1290387" y="212863"/>
                  </a:lnTo>
                  <a:lnTo>
                    <a:pt x="1257786" y="192551"/>
                  </a:lnTo>
                  <a:lnTo>
                    <a:pt x="1247988" y="165427"/>
                  </a:lnTo>
                  <a:lnTo>
                    <a:pt x="1311081" y="167711"/>
                  </a:lnTo>
                  <a:lnTo>
                    <a:pt x="1329310" y="173442"/>
                  </a:lnTo>
                  <a:lnTo>
                    <a:pt x="1365330" y="154096"/>
                  </a:lnTo>
                  <a:lnTo>
                    <a:pt x="1313354" y="147918"/>
                  </a:lnTo>
                  <a:lnTo>
                    <a:pt x="1232588" y="151327"/>
                  </a:lnTo>
                  <a:lnTo>
                    <a:pt x="1191785" y="133096"/>
                  </a:lnTo>
                  <a:lnTo>
                    <a:pt x="1172549" y="111139"/>
                  </a:lnTo>
                  <a:lnTo>
                    <a:pt x="1145592" y="95055"/>
                  </a:lnTo>
                  <a:lnTo>
                    <a:pt x="1140533" y="76151"/>
                  </a:lnTo>
                  <a:lnTo>
                    <a:pt x="1174858" y="65498"/>
                  </a:lnTo>
                  <a:lnTo>
                    <a:pt x="1201812" y="63676"/>
                  </a:lnTo>
                  <a:lnTo>
                    <a:pt x="1247101" y="54563"/>
                  </a:lnTo>
                  <a:lnTo>
                    <a:pt x="1281038" y="33436"/>
                  </a:lnTo>
                  <a:lnTo>
                    <a:pt x="1309660" y="36414"/>
                  </a:lnTo>
                  <a:lnTo>
                    <a:pt x="1334590" y="52285"/>
                  </a:lnTo>
                  <a:lnTo>
                    <a:pt x="1352132" y="21552"/>
                  </a:lnTo>
                  <a:lnTo>
                    <a:pt x="1382601" y="12345"/>
                  </a:lnTo>
                  <a:lnTo>
                    <a:pt x="1423997" y="5954"/>
                  </a:lnTo>
                  <a:lnTo>
                    <a:pt x="1494553" y="3550"/>
                  </a:lnTo>
                  <a:lnTo>
                    <a:pt x="1506814" y="980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5" name="Freeform 9">
              <a:extLst>
                <a:ext uri="{FF2B5EF4-FFF2-40B4-BE49-F238E27FC236}">
                  <a16:creationId xmlns:a16="http://schemas.microsoft.com/office/drawing/2014/main" id="{FD72C1DD-B8AC-403B-8E0E-E3E3533D8DE8}"/>
                </a:ext>
              </a:extLst>
            </p:cNvPr>
            <p:cNvSpPr>
              <a:spLocks noChangeAspect="1"/>
            </p:cNvSpPr>
            <p:nvPr>
              <p:custDataLst>
                <p:tags r:id="rId17"/>
              </p:custDataLst>
            </p:nvPr>
          </p:nvSpPr>
          <p:spPr>
            <a:xfrm>
              <a:off x="2614611" y="4937902"/>
              <a:ext cx="200460" cy="1026393"/>
            </a:xfrm>
            <a:custGeom>
              <a:avLst/>
              <a:gdLst/>
              <a:ahLst/>
              <a:cxnLst/>
              <a:rect l="l" t="t" r="r" b="b"/>
              <a:pathLst>
                <a:path w="200460" h="1026393">
                  <a:moveTo>
                    <a:pt x="145391" y="928332"/>
                  </a:moveTo>
                  <a:lnTo>
                    <a:pt x="161818" y="932003"/>
                  </a:lnTo>
                  <a:lnTo>
                    <a:pt x="161833" y="1002494"/>
                  </a:lnTo>
                  <a:lnTo>
                    <a:pt x="186552" y="1002511"/>
                  </a:lnTo>
                  <a:lnTo>
                    <a:pt x="200460" y="1003369"/>
                  </a:lnTo>
                  <a:lnTo>
                    <a:pt x="192817" y="1016364"/>
                  </a:lnTo>
                  <a:lnTo>
                    <a:pt x="173022" y="1026393"/>
                  </a:lnTo>
                  <a:lnTo>
                    <a:pt x="161680" y="1025364"/>
                  </a:lnTo>
                  <a:lnTo>
                    <a:pt x="148012" y="1022747"/>
                  </a:lnTo>
                  <a:lnTo>
                    <a:pt x="131255" y="1013055"/>
                  </a:lnTo>
                  <a:lnTo>
                    <a:pt x="107073" y="1008406"/>
                  </a:lnTo>
                  <a:lnTo>
                    <a:pt x="78030" y="990533"/>
                  </a:lnTo>
                  <a:lnTo>
                    <a:pt x="54456" y="973458"/>
                  </a:lnTo>
                  <a:lnTo>
                    <a:pt x="22664" y="938269"/>
                  </a:lnTo>
                  <a:lnTo>
                    <a:pt x="41694" y="944826"/>
                  </a:lnTo>
                  <a:lnTo>
                    <a:pt x="74100" y="965808"/>
                  </a:lnTo>
                  <a:lnTo>
                    <a:pt x="104718" y="977158"/>
                  </a:lnTo>
                  <a:lnTo>
                    <a:pt x="116627" y="962669"/>
                  </a:lnTo>
                  <a:lnTo>
                    <a:pt x="124113" y="941194"/>
                  </a:lnTo>
                  <a:close/>
                  <a:moveTo>
                    <a:pt x="139741" y="0"/>
                  </a:moveTo>
                  <a:lnTo>
                    <a:pt x="151056" y="16203"/>
                  </a:lnTo>
                  <a:lnTo>
                    <a:pt x="154136" y="33438"/>
                  </a:lnTo>
                  <a:lnTo>
                    <a:pt x="166245" y="43573"/>
                  </a:lnTo>
                  <a:lnTo>
                    <a:pt x="158975" y="66797"/>
                  </a:lnTo>
                  <a:lnTo>
                    <a:pt x="171376" y="93836"/>
                  </a:lnTo>
                  <a:lnTo>
                    <a:pt x="180419" y="127248"/>
                  </a:lnTo>
                  <a:lnTo>
                    <a:pt x="197073" y="123918"/>
                  </a:lnTo>
                  <a:lnTo>
                    <a:pt x="199876" y="130006"/>
                  </a:lnTo>
                  <a:lnTo>
                    <a:pt x="191954" y="155341"/>
                  </a:lnTo>
                  <a:lnTo>
                    <a:pt x="166812" y="167413"/>
                  </a:lnTo>
                  <a:lnTo>
                    <a:pt x="167543" y="208423"/>
                  </a:lnTo>
                  <a:lnTo>
                    <a:pt x="162723" y="216386"/>
                  </a:lnTo>
                  <a:lnTo>
                    <a:pt x="169631" y="226112"/>
                  </a:lnTo>
                  <a:lnTo>
                    <a:pt x="153341" y="241569"/>
                  </a:lnTo>
                  <a:lnTo>
                    <a:pt x="138225" y="264985"/>
                  </a:lnTo>
                  <a:lnTo>
                    <a:pt x="129974" y="287796"/>
                  </a:lnTo>
                  <a:lnTo>
                    <a:pt x="132157" y="312243"/>
                  </a:lnTo>
                  <a:lnTo>
                    <a:pt x="117936" y="338375"/>
                  </a:lnTo>
                  <a:lnTo>
                    <a:pt x="128570" y="382627"/>
                  </a:lnTo>
                  <a:lnTo>
                    <a:pt x="134563" y="387340"/>
                  </a:lnTo>
                  <a:lnTo>
                    <a:pt x="134504" y="411163"/>
                  </a:lnTo>
                  <a:lnTo>
                    <a:pt x="121330" y="436622"/>
                  </a:lnTo>
                  <a:lnTo>
                    <a:pt x="121867" y="458559"/>
                  </a:lnTo>
                  <a:lnTo>
                    <a:pt x="104391" y="475804"/>
                  </a:lnTo>
                  <a:lnTo>
                    <a:pt x="104466" y="500216"/>
                  </a:lnTo>
                  <a:lnTo>
                    <a:pt x="111482" y="526354"/>
                  </a:lnTo>
                  <a:lnTo>
                    <a:pt x="97659" y="536129"/>
                  </a:lnTo>
                  <a:lnTo>
                    <a:pt x="91491" y="560279"/>
                  </a:lnTo>
                  <a:lnTo>
                    <a:pt x="86067" y="588234"/>
                  </a:lnTo>
                  <a:lnTo>
                    <a:pt x="89966" y="621845"/>
                  </a:lnTo>
                  <a:lnTo>
                    <a:pt x="80685" y="627493"/>
                  </a:lnTo>
                  <a:lnTo>
                    <a:pt x="86074" y="659716"/>
                  </a:lnTo>
                  <a:lnTo>
                    <a:pt x="96493" y="670382"/>
                  </a:lnTo>
                  <a:lnTo>
                    <a:pt x="88885" y="682233"/>
                  </a:lnTo>
                  <a:lnTo>
                    <a:pt x="99592" y="687910"/>
                  </a:lnTo>
                  <a:lnTo>
                    <a:pt x="102062" y="698615"/>
                  </a:lnTo>
                  <a:lnTo>
                    <a:pt x="91986" y="704013"/>
                  </a:lnTo>
                  <a:lnTo>
                    <a:pt x="94463" y="720808"/>
                  </a:lnTo>
                  <a:lnTo>
                    <a:pt x="86032" y="759069"/>
                  </a:lnTo>
                  <a:lnTo>
                    <a:pt x="73796" y="784025"/>
                  </a:lnTo>
                  <a:lnTo>
                    <a:pt x="76478" y="798918"/>
                  </a:lnTo>
                  <a:lnTo>
                    <a:pt x="69158" y="817721"/>
                  </a:lnTo>
                  <a:lnTo>
                    <a:pt x="51450" y="830836"/>
                  </a:lnTo>
                  <a:lnTo>
                    <a:pt x="53467" y="862731"/>
                  </a:lnTo>
                  <a:lnTo>
                    <a:pt x="61599" y="873731"/>
                  </a:lnTo>
                  <a:lnTo>
                    <a:pt x="76967" y="871773"/>
                  </a:lnTo>
                  <a:lnTo>
                    <a:pt x="76518" y="894625"/>
                  </a:lnTo>
                  <a:lnTo>
                    <a:pt x="86088" y="912560"/>
                  </a:lnTo>
                  <a:lnTo>
                    <a:pt x="141866" y="916692"/>
                  </a:lnTo>
                  <a:lnTo>
                    <a:pt x="163260" y="921542"/>
                  </a:lnTo>
                  <a:lnTo>
                    <a:pt x="142722" y="921310"/>
                  </a:lnTo>
                  <a:lnTo>
                    <a:pt x="131608" y="928942"/>
                  </a:lnTo>
                  <a:lnTo>
                    <a:pt x="110780" y="940194"/>
                  </a:lnTo>
                  <a:lnTo>
                    <a:pt x="107058" y="969529"/>
                  </a:lnTo>
                  <a:lnTo>
                    <a:pt x="97284" y="970262"/>
                  </a:lnTo>
                  <a:lnTo>
                    <a:pt x="71243" y="960010"/>
                  </a:lnTo>
                  <a:lnTo>
                    <a:pt x="44818" y="938193"/>
                  </a:lnTo>
                  <a:lnTo>
                    <a:pt x="16103" y="920406"/>
                  </a:lnTo>
                  <a:lnTo>
                    <a:pt x="8872" y="900867"/>
                  </a:lnTo>
                  <a:lnTo>
                    <a:pt x="15413" y="882926"/>
                  </a:lnTo>
                  <a:lnTo>
                    <a:pt x="3800" y="862718"/>
                  </a:lnTo>
                  <a:lnTo>
                    <a:pt x="839" y="811635"/>
                  </a:lnTo>
                  <a:lnTo>
                    <a:pt x="10655" y="783243"/>
                  </a:lnTo>
                  <a:lnTo>
                    <a:pt x="35035" y="760652"/>
                  </a:lnTo>
                  <a:lnTo>
                    <a:pt x="0" y="752175"/>
                  </a:lnTo>
                  <a:lnTo>
                    <a:pt x="21980" y="726647"/>
                  </a:lnTo>
                  <a:lnTo>
                    <a:pt x="29838" y="679287"/>
                  </a:lnTo>
                  <a:lnTo>
                    <a:pt x="55491" y="689256"/>
                  </a:lnTo>
                  <a:lnTo>
                    <a:pt x="67553" y="631064"/>
                  </a:lnTo>
                  <a:lnTo>
                    <a:pt x="52062" y="623680"/>
                  </a:lnTo>
                  <a:lnTo>
                    <a:pt x="44850" y="658515"/>
                  </a:lnTo>
                  <a:lnTo>
                    <a:pt x="30294" y="654564"/>
                  </a:lnTo>
                  <a:lnTo>
                    <a:pt x="37542" y="614740"/>
                  </a:lnTo>
                  <a:lnTo>
                    <a:pt x="45410" y="563924"/>
                  </a:lnTo>
                  <a:lnTo>
                    <a:pt x="56016" y="545383"/>
                  </a:lnTo>
                  <a:lnTo>
                    <a:pt x="49369" y="519101"/>
                  </a:lnTo>
                  <a:lnTo>
                    <a:pt x="47465" y="489019"/>
                  </a:lnTo>
                  <a:lnTo>
                    <a:pt x="57191" y="488155"/>
                  </a:lnTo>
                  <a:lnTo>
                    <a:pt x="71354" y="445511"/>
                  </a:lnTo>
                  <a:lnTo>
                    <a:pt x="87313" y="403778"/>
                  </a:lnTo>
                  <a:lnTo>
                    <a:pt x="97084" y="365330"/>
                  </a:lnTo>
                  <a:lnTo>
                    <a:pt x="91769" y="327065"/>
                  </a:lnTo>
                  <a:lnTo>
                    <a:pt x="98662" y="306154"/>
                  </a:lnTo>
                  <a:lnTo>
                    <a:pt x="95897" y="275067"/>
                  </a:lnTo>
                  <a:lnTo>
                    <a:pt x="109394" y="244537"/>
                  </a:lnTo>
                  <a:lnTo>
                    <a:pt x="113553" y="196597"/>
                  </a:lnTo>
                  <a:lnTo>
                    <a:pt x="120962" y="145662"/>
                  </a:lnTo>
                  <a:lnTo>
                    <a:pt x="128181" y="91395"/>
                  </a:lnTo>
                  <a:lnTo>
                    <a:pt x="126492" y="51997"/>
                  </a:lnTo>
                  <a:lnTo>
                    <a:pt x="121687" y="18299"/>
                  </a:lnTo>
                  <a:lnTo>
                    <a:pt x="133555" y="12211"/>
                  </a:lnTo>
                  <a:close/>
                </a:path>
              </a:pathLst>
            </a:custGeom>
            <a:solidFill>
              <a:schemeClr val="accent3"/>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6" name="Freeform 10">
              <a:extLst>
                <a:ext uri="{FF2B5EF4-FFF2-40B4-BE49-F238E27FC236}">
                  <a16:creationId xmlns:a16="http://schemas.microsoft.com/office/drawing/2014/main" id="{223E3F9C-876E-4F3E-B18E-528960B07021}"/>
                </a:ext>
              </a:extLst>
            </p:cNvPr>
            <p:cNvSpPr>
              <a:spLocks noChangeAspect="1"/>
            </p:cNvSpPr>
            <p:nvPr>
              <p:custDataLst>
                <p:tags r:id="rId18"/>
              </p:custDataLst>
            </p:nvPr>
          </p:nvSpPr>
          <p:spPr>
            <a:xfrm>
              <a:off x="2537364" y="4239430"/>
              <a:ext cx="279639" cy="387815"/>
            </a:xfrm>
            <a:custGeom>
              <a:avLst/>
              <a:gdLst/>
              <a:ahLst/>
              <a:cxnLst/>
              <a:rect l="0" t="0" r="0" b="0"/>
              <a:pathLst>
                <a:path w="279639" h="387815">
                  <a:moveTo>
                    <a:pt x="83507" y="292050"/>
                  </a:moveTo>
                  <a:lnTo>
                    <a:pt x="73622" y="286583"/>
                  </a:lnTo>
                  <a:lnTo>
                    <a:pt x="62292" y="278937"/>
                  </a:lnTo>
                  <a:lnTo>
                    <a:pt x="55735" y="282610"/>
                  </a:lnTo>
                  <a:lnTo>
                    <a:pt x="36147" y="279407"/>
                  </a:lnTo>
                  <a:lnTo>
                    <a:pt x="30523" y="269476"/>
                  </a:lnTo>
                  <a:lnTo>
                    <a:pt x="26219" y="269845"/>
                  </a:lnTo>
                  <a:lnTo>
                    <a:pt x="3132" y="256663"/>
                  </a:lnTo>
                  <a:lnTo>
                    <a:pt x="0" y="249496"/>
                  </a:lnTo>
                  <a:lnTo>
                    <a:pt x="8613" y="247763"/>
                  </a:lnTo>
                  <a:lnTo>
                    <a:pt x="7590" y="236195"/>
                  </a:lnTo>
                  <a:lnTo>
                    <a:pt x="13003" y="227830"/>
                  </a:lnTo>
                  <a:lnTo>
                    <a:pt x="24454" y="226281"/>
                  </a:lnTo>
                  <a:lnTo>
                    <a:pt x="34174" y="211763"/>
                  </a:lnTo>
                  <a:lnTo>
                    <a:pt x="43009" y="199638"/>
                  </a:lnTo>
                  <a:lnTo>
                    <a:pt x="34501" y="194137"/>
                  </a:lnTo>
                  <a:lnTo>
                    <a:pt x="38856" y="180715"/>
                  </a:lnTo>
                  <a:lnTo>
                    <a:pt x="33648" y="159544"/>
                  </a:lnTo>
                  <a:lnTo>
                    <a:pt x="38597" y="153464"/>
                  </a:lnTo>
                  <a:lnTo>
                    <a:pt x="34954" y="133867"/>
                  </a:lnTo>
                  <a:lnTo>
                    <a:pt x="25607" y="121513"/>
                  </a:lnTo>
                  <a:lnTo>
                    <a:pt x="28566" y="110232"/>
                  </a:lnTo>
                  <a:lnTo>
                    <a:pt x="36005" y="111899"/>
                  </a:lnTo>
                  <a:lnTo>
                    <a:pt x="40357" y="104997"/>
                  </a:lnTo>
                  <a:lnTo>
                    <a:pt x="34998" y="91311"/>
                  </a:lnTo>
                  <a:lnTo>
                    <a:pt x="37800" y="87911"/>
                  </a:lnTo>
                  <a:lnTo>
                    <a:pt x="49726" y="88650"/>
                  </a:lnTo>
                  <a:lnTo>
                    <a:pt x="67045" y="72409"/>
                  </a:lnTo>
                  <a:lnTo>
                    <a:pt x="76550" y="69931"/>
                  </a:lnTo>
                  <a:lnTo>
                    <a:pt x="76779" y="62227"/>
                  </a:lnTo>
                  <a:lnTo>
                    <a:pt x="81032" y="42523"/>
                  </a:lnTo>
                  <a:lnTo>
                    <a:pt x="94271" y="31687"/>
                  </a:lnTo>
                  <a:lnTo>
                    <a:pt x="108816" y="31243"/>
                  </a:lnTo>
                  <a:lnTo>
                    <a:pt x="110652" y="26372"/>
                  </a:lnTo>
                  <a:lnTo>
                    <a:pt x="128713" y="28323"/>
                  </a:lnTo>
                  <a:lnTo>
                    <a:pt x="146878" y="16516"/>
                  </a:lnTo>
                  <a:lnTo>
                    <a:pt x="155872" y="11284"/>
                  </a:lnTo>
                  <a:lnTo>
                    <a:pt x="167046" y="0"/>
                  </a:lnTo>
                  <a:lnTo>
                    <a:pt x="175223" y="1436"/>
                  </a:lnTo>
                  <a:lnTo>
                    <a:pt x="181280" y="7598"/>
                  </a:lnTo>
                  <a:lnTo>
                    <a:pt x="176799" y="15479"/>
                  </a:lnTo>
                  <a:lnTo>
                    <a:pt x="161972" y="19400"/>
                  </a:lnTo>
                  <a:lnTo>
                    <a:pt x="156117" y="31088"/>
                  </a:lnTo>
                  <a:lnTo>
                    <a:pt x="147182" y="37785"/>
                  </a:lnTo>
                  <a:lnTo>
                    <a:pt x="140473" y="46458"/>
                  </a:lnTo>
                  <a:lnTo>
                    <a:pt x="137650" y="63094"/>
                  </a:lnTo>
                  <a:lnTo>
                    <a:pt x="131248" y="76711"/>
                  </a:lnTo>
                  <a:lnTo>
                    <a:pt x="143164" y="78269"/>
                  </a:lnTo>
                  <a:lnTo>
                    <a:pt x="146124" y="88963"/>
                  </a:lnTo>
                  <a:lnTo>
                    <a:pt x="151216" y="94078"/>
                  </a:lnTo>
                  <a:lnTo>
                    <a:pt x="153039" y="103433"/>
                  </a:lnTo>
                  <a:lnTo>
                    <a:pt x="150298" y="112028"/>
                  </a:lnTo>
                  <a:lnTo>
                    <a:pt x="151110" y="116872"/>
                  </a:lnTo>
                  <a:lnTo>
                    <a:pt x="156791" y="118806"/>
                  </a:lnTo>
                  <a:lnTo>
                    <a:pt x="162289" y="126898"/>
                  </a:lnTo>
                  <a:lnTo>
                    <a:pt x="191972" y="124668"/>
                  </a:lnTo>
                  <a:lnTo>
                    <a:pt x="205381" y="127623"/>
                  </a:lnTo>
                  <a:lnTo>
                    <a:pt x="221627" y="147569"/>
                  </a:lnTo>
                  <a:lnTo>
                    <a:pt x="230957" y="145091"/>
                  </a:lnTo>
                  <a:lnTo>
                    <a:pt x="247582" y="146332"/>
                  </a:lnTo>
                  <a:lnTo>
                    <a:pt x="260739" y="143689"/>
                  </a:lnTo>
                  <a:lnTo>
                    <a:pt x="268902" y="147671"/>
                  </a:lnTo>
                  <a:lnTo>
                    <a:pt x="264745" y="160144"/>
                  </a:lnTo>
                  <a:lnTo>
                    <a:pt x="259594" y="167916"/>
                  </a:lnTo>
                  <a:lnTo>
                    <a:pt x="257786" y="184509"/>
                  </a:lnTo>
                  <a:lnTo>
                    <a:pt x="262429" y="199873"/>
                  </a:lnTo>
                  <a:lnTo>
                    <a:pt x="268991" y="206740"/>
                  </a:lnTo>
                  <a:lnTo>
                    <a:pt x="269785" y="211914"/>
                  </a:lnTo>
                  <a:lnTo>
                    <a:pt x="258088" y="223415"/>
                  </a:lnTo>
                  <a:lnTo>
                    <a:pt x="266463" y="228506"/>
                  </a:lnTo>
                  <a:lnTo>
                    <a:pt x="272598" y="236581"/>
                  </a:lnTo>
                  <a:lnTo>
                    <a:pt x="279638" y="259608"/>
                  </a:lnTo>
                  <a:lnTo>
                    <a:pt x="275282" y="262453"/>
                  </a:lnTo>
                  <a:lnTo>
                    <a:pt x="270782" y="248834"/>
                  </a:lnTo>
                  <a:lnTo>
                    <a:pt x="264369" y="241511"/>
                  </a:lnTo>
                  <a:lnTo>
                    <a:pt x="256734" y="249470"/>
                  </a:lnTo>
                  <a:lnTo>
                    <a:pt x="211760" y="248955"/>
                  </a:lnTo>
                  <a:lnTo>
                    <a:pt x="212046" y="263401"/>
                  </a:lnTo>
                  <a:lnTo>
                    <a:pt x="225571" y="265788"/>
                  </a:lnTo>
                  <a:lnTo>
                    <a:pt x="224791" y="274630"/>
                  </a:lnTo>
                  <a:lnTo>
                    <a:pt x="220175" y="272240"/>
                  </a:lnTo>
                  <a:lnTo>
                    <a:pt x="207176" y="276043"/>
                  </a:lnTo>
                  <a:lnTo>
                    <a:pt x="207058" y="292815"/>
                  </a:lnTo>
                  <a:lnTo>
                    <a:pt x="217298" y="301236"/>
                  </a:lnTo>
                  <a:lnTo>
                    <a:pt x="220912" y="314455"/>
                  </a:lnTo>
                  <a:lnTo>
                    <a:pt x="220367" y="324467"/>
                  </a:lnTo>
                  <a:lnTo>
                    <a:pt x="209990" y="387814"/>
                  </a:lnTo>
                  <a:lnTo>
                    <a:pt x="198440" y="375524"/>
                  </a:lnTo>
                  <a:lnTo>
                    <a:pt x="191546" y="374976"/>
                  </a:lnTo>
                  <a:lnTo>
                    <a:pt x="206434" y="351460"/>
                  </a:lnTo>
                  <a:lnTo>
                    <a:pt x="188758" y="340644"/>
                  </a:lnTo>
                  <a:lnTo>
                    <a:pt x="174905" y="342628"/>
                  </a:lnTo>
                  <a:lnTo>
                    <a:pt x="166569" y="338633"/>
                  </a:lnTo>
                  <a:lnTo>
                    <a:pt x="153850" y="344740"/>
                  </a:lnTo>
                  <a:lnTo>
                    <a:pt x="136662" y="341847"/>
                  </a:lnTo>
                  <a:lnTo>
                    <a:pt x="123064" y="317638"/>
                  </a:lnTo>
                  <a:lnTo>
                    <a:pt x="112379" y="311689"/>
                  </a:lnTo>
                  <a:lnTo>
                    <a:pt x="105011" y="300793"/>
                  </a:lnTo>
                  <a:lnTo>
                    <a:pt x="89661" y="28986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7" name="Freeform 11">
              <a:extLst>
                <a:ext uri="{FF2B5EF4-FFF2-40B4-BE49-F238E27FC236}">
                  <a16:creationId xmlns:a16="http://schemas.microsoft.com/office/drawing/2014/main" id="{2062E834-37CC-49E0-B08E-86CD41BB48A4}"/>
                </a:ext>
              </a:extLst>
            </p:cNvPr>
            <p:cNvSpPr>
              <a:spLocks noChangeAspect="1"/>
            </p:cNvSpPr>
            <p:nvPr>
              <p:custDataLst>
                <p:tags r:id="rId19"/>
              </p:custDataLst>
            </p:nvPr>
          </p:nvSpPr>
          <p:spPr>
            <a:xfrm>
              <a:off x="2376921" y="4267984"/>
              <a:ext cx="78379" cy="69713"/>
            </a:xfrm>
            <a:custGeom>
              <a:avLst/>
              <a:gdLst/>
              <a:ahLst/>
              <a:cxnLst/>
              <a:rect l="0" t="0" r="0" b="0"/>
              <a:pathLst>
                <a:path w="78379" h="69713">
                  <a:moveTo>
                    <a:pt x="68693" y="69712"/>
                  </a:moveTo>
                  <a:lnTo>
                    <a:pt x="56167" y="64555"/>
                  </a:lnTo>
                  <a:lnTo>
                    <a:pt x="51481" y="59675"/>
                  </a:lnTo>
                  <a:lnTo>
                    <a:pt x="54139" y="55638"/>
                  </a:lnTo>
                  <a:lnTo>
                    <a:pt x="53300" y="50498"/>
                  </a:lnTo>
                  <a:lnTo>
                    <a:pt x="46901" y="44926"/>
                  </a:lnTo>
                  <a:lnTo>
                    <a:pt x="37817" y="40350"/>
                  </a:lnTo>
                  <a:lnTo>
                    <a:pt x="29871" y="37364"/>
                  </a:lnTo>
                  <a:lnTo>
                    <a:pt x="28355" y="30549"/>
                  </a:lnTo>
                  <a:lnTo>
                    <a:pt x="22300" y="26384"/>
                  </a:lnTo>
                  <a:lnTo>
                    <a:pt x="23784" y="33160"/>
                  </a:lnTo>
                  <a:lnTo>
                    <a:pt x="19178" y="38727"/>
                  </a:lnTo>
                  <a:lnTo>
                    <a:pt x="13902" y="32262"/>
                  </a:lnTo>
                  <a:lnTo>
                    <a:pt x="6485" y="29960"/>
                  </a:lnTo>
                  <a:lnTo>
                    <a:pt x="3331" y="25262"/>
                  </a:lnTo>
                  <a:lnTo>
                    <a:pt x="3463" y="18161"/>
                  </a:lnTo>
                  <a:lnTo>
                    <a:pt x="6519" y="10810"/>
                  </a:lnTo>
                  <a:lnTo>
                    <a:pt x="0" y="7519"/>
                  </a:lnTo>
                  <a:lnTo>
                    <a:pt x="5291" y="3007"/>
                  </a:lnTo>
                  <a:lnTo>
                    <a:pt x="8769" y="0"/>
                  </a:lnTo>
                  <a:lnTo>
                    <a:pt x="23977" y="6187"/>
                  </a:lnTo>
                  <a:lnTo>
                    <a:pt x="29284" y="3142"/>
                  </a:lnTo>
                  <a:lnTo>
                    <a:pt x="36605" y="5091"/>
                  </a:lnTo>
                  <a:lnTo>
                    <a:pt x="40431" y="9896"/>
                  </a:lnTo>
                  <a:lnTo>
                    <a:pt x="47243" y="11451"/>
                  </a:lnTo>
                  <a:lnTo>
                    <a:pt x="52770" y="6503"/>
                  </a:lnTo>
                  <a:lnTo>
                    <a:pt x="58617" y="19185"/>
                  </a:lnTo>
                  <a:lnTo>
                    <a:pt x="67541" y="28570"/>
                  </a:lnTo>
                  <a:lnTo>
                    <a:pt x="78378" y="38515"/>
                  </a:lnTo>
                  <a:lnTo>
                    <a:pt x="69452" y="40595"/>
                  </a:lnTo>
                  <a:lnTo>
                    <a:pt x="69585" y="49964"/>
                  </a:lnTo>
                  <a:lnTo>
                    <a:pt x="74385" y="53422"/>
                  </a:lnTo>
                  <a:lnTo>
                    <a:pt x="70935" y="56177"/>
                  </a:lnTo>
                  <a:lnTo>
                    <a:pt x="71833" y="60386"/>
                  </a:lnTo>
                  <a:lnTo>
                    <a:pt x="69908" y="6510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8" name="Freeform 12">
              <a:extLst>
                <a:ext uri="{FF2B5EF4-FFF2-40B4-BE49-F238E27FC236}">
                  <a16:creationId xmlns:a16="http://schemas.microsoft.com/office/drawing/2014/main" id="{883BF7AE-B44D-4DDB-B462-ABCEF7FEFFFE}"/>
                </a:ext>
              </a:extLst>
            </p:cNvPr>
            <p:cNvSpPr>
              <a:spLocks noChangeAspect="1"/>
            </p:cNvSpPr>
            <p:nvPr>
              <p:custDataLst>
                <p:tags r:id="rId20"/>
              </p:custDataLst>
            </p:nvPr>
          </p:nvSpPr>
          <p:spPr>
            <a:xfrm>
              <a:off x="2399238" y="3983111"/>
              <a:ext cx="249222" cy="80557"/>
            </a:xfrm>
            <a:custGeom>
              <a:avLst/>
              <a:gdLst/>
              <a:ahLst/>
              <a:cxnLst/>
              <a:rect l="0" t="0" r="0" b="0"/>
              <a:pathLst>
                <a:path w="249222" h="80557">
                  <a:moveTo>
                    <a:pt x="62479" y="0"/>
                  </a:moveTo>
                  <a:lnTo>
                    <a:pt x="82416" y="1736"/>
                  </a:lnTo>
                  <a:lnTo>
                    <a:pt x="100552" y="2011"/>
                  </a:lnTo>
                  <a:lnTo>
                    <a:pt x="122232" y="10296"/>
                  </a:lnTo>
                  <a:lnTo>
                    <a:pt x="131420" y="19185"/>
                  </a:lnTo>
                  <a:lnTo>
                    <a:pt x="152980" y="16444"/>
                  </a:lnTo>
                  <a:lnTo>
                    <a:pt x="161155" y="22144"/>
                  </a:lnTo>
                  <a:lnTo>
                    <a:pt x="180703" y="37140"/>
                  </a:lnTo>
                  <a:lnTo>
                    <a:pt x="195074" y="48036"/>
                  </a:lnTo>
                  <a:lnTo>
                    <a:pt x="202673" y="47704"/>
                  </a:lnTo>
                  <a:lnTo>
                    <a:pt x="216439" y="52624"/>
                  </a:lnTo>
                  <a:lnTo>
                    <a:pt x="214758" y="59408"/>
                  </a:lnTo>
                  <a:lnTo>
                    <a:pt x="231774" y="60400"/>
                  </a:lnTo>
                  <a:lnTo>
                    <a:pt x="249221" y="70248"/>
                  </a:lnTo>
                  <a:lnTo>
                    <a:pt x="246483" y="75877"/>
                  </a:lnTo>
                  <a:lnTo>
                    <a:pt x="231134" y="78924"/>
                  </a:lnTo>
                  <a:lnTo>
                    <a:pt x="215598" y="80117"/>
                  </a:lnTo>
                  <a:lnTo>
                    <a:pt x="199694" y="78217"/>
                  </a:lnTo>
                  <a:lnTo>
                    <a:pt x="166644" y="80556"/>
                  </a:lnTo>
                  <a:lnTo>
                    <a:pt x="182118" y="67152"/>
                  </a:lnTo>
                  <a:lnTo>
                    <a:pt x="172711" y="60901"/>
                  </a:lnTo>
                  <a:lnTo>
                    <a:pt x="157831" y="59291"/>
                  </a:lnTo>
                  <a:lnTo>
                    <a:pt x="149855" y="52335"/>
                  </a:lnTo>
                  <a:lnTo>
                    <a:pt x="144383" y="38584"/>
                  </a:lnTo>
                  <a:lnTo>
                    <a:pt x="131338" y="39526"/>
                  </a:lnTo>
                  <a:lnTo>
                    <a:pt x="109814" y="33041"/>
                  </a:lnTo>
                  <a:lnTo>
                    <a:pt x="102888" y="27963"/>
                  </a:lnTo>
                  <a:lnTo>
                    <a:pt x="72802" y="24208"/>
                  </a:lnTo>
                  <a:lnTo>
                    <a:pt x="64745" y="19478"/>
                  </a:lnTo>
                  <a:lnTo>
                    <a:pt x="73401" y="13414"/>
                  </a:lnTo>
                  <a:lnTo>
                    <a:pt x="50759" y="12171"/>
                  </a:lnTo>
                  <a:lnTo>
                    <a:pt x="34173" y="24778"/>
                  </a:lnTo>
                  <a:lnTo>
                    <a:pt x="24609" y="25116"/>
                  </a:lnTo>
                  <a:lnTo>
                    <a:pt x="21300" y="31026"/>
                  </a:lnTo>
                  <a:lnTo>
                    <a:pt x="9877" y="33672"/>
                  </a:lnTo>
                  <a:lnTo>
                    <a:pt x="0" y="31378"/>
                  </a:lnTo>
                  <a:lnTo>
                    <a:pt x="12184" y="23896"/>
                  </a:lnTo>
                  <a:lnTo>
                    <a:pt x="17186" y="15143"/>
                  </a:lnTo>
                  <a:lnTo>
                    <a:pt x="27623" y="9742"/>
                  </a:lnTo>
                  <a:lnTo>
                    <a:pt x="39411" y="5003"/>
                  </a:lnTo>
                  <a:lnTo>
                    <a:pt x="56887" y="267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9" name="Freeform 13">
              <a:extLst>
                <a:ext uri="{FF2B5EF4-FFF2-40B4-BE49-F238E27FC236}">
                  <a16:creationId xmlns:a16="http://schemas.microsoft.com/office/drawing/2014/main" id="{8ABA9AC3-7FA1-4045-8874-05D4C74ABA1E}"/>
                </a:ext>
              </a:extLst>
            </p:cNvPr>
            <p:cNvSpPr>
              <a:spLocks noChangeAspect="1"/>
            </p:cNvSpPr>
            <p:nvPr>
              <p:custDataLst>
                <p:tags r:id="rId21"/>
              </p:custDataLst>
            </p:nvPr>
          </p:nvSpPr>
          <p:spPr>
            <a:xfrm>
              <a:off x="2700001" y="4062960"/>
              <a:ext cx="83726" cy="54639"/>
            </a:xfrm>
            <a:custGeom>
              <a:avLst/>
              <a:gdLst/>
              <a:ahLst/>
              <a:cxnLst/>
              <a:rect l="0" t="0" r="0" b="0"/>
              <a:pathLst>
                <a:path w="83726" h="54639">
                  <a:moveTo>
                    <a:pt x="5372" y="4090"/>
                  </a:moveTo>
                  <a:lnTo>
                    <a:pt x="8259" y="0"/>
                  </a:lnTo>
                  <a:lnTo>
                    <a:pt x="26277" y="111"/>
                  </a:lnTo>
                  <a:lnTo>
                    <a:pt x="39950" y="6286"/>
                  </a:lnTo>
                  <a:lnTo>
                    <a:pt x="46034" y="5684"/>
                  </a:lnTo>
                  <a:lnTo>
                    <a:pt x="50225" y="14184"/>
                  </a:lnTo>
                  <a:lnTo>
                    <a:pt x="62854" y="13707"/>
                  </a:lnTo>
                  <a:lnTo>
                    <a:pt x="62110" y="20840"/>
                  </a:lnTo>
                  <a:lnTo>
                    <a:pt x="72380" y="21703"/>
                  </a:lnTo>
                  <a:lnTo>
                    <a:pt x="83725" y="30472"/>
                  </a:lnTo>
                  <a:lnTo>
                    <a:pt x="75152" y="40187"/>
                  </a:lnTo>
                  <a:lnTo>
                    <a:pt x="64173" y="34998"/>
                  </a:lnTo>
                  <a:lnTo>
                    <a:pt x="53578" y="35999"/>
                  </a:lnTo>
                  <a:lnTo>
                    <a:pt x="45984" y="34863"/>
                  </a:lnTo>
                  <a:lnTo>
                    <a:pt x="41823" y="39215"/>
                  </a:lnTo>
                  <a:lnTo>
                    <a:pt x="32961" y="40684"/>
                  </a:lnTo>
                  <a:lnTo>
                    <a:pt x="29449" y="34897"/>
                  </a:lnTo>
                  <a:lnTo>
                    <a:pt x="21817" y="38322"/>
                  </a:lnTo>
                  <a:lnTo>
                    <a:pt x="12578" y="54638"/>
                  </a:lnTo>
                  <a:lnTo>
                    <a:pt x="6635" y="50853"/>
                  </a:lnTo>
                  <a:lnTo>
                    <a:pt x="5466" y="44006"/>
                  </a:lnTo>
                  <a:lnTo>
                    <a:pt x="5941" y="37527"/>
                  </a:lnTo>
                  <a:lnTo>
                    <a:pt x="0" y="30360"/>
                  </a:lnTo>
                  <a:lnTo>
                    <a:pt x="5627" y="26333"/>
                  </a:lnTo>
                  <a:lnTo>
                    <a:pt x="7392" y="171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0" name="Freeform 14">
              <a:extLst>
                <a:ext uri="{FF2B5EF4-FFF2-40B4-BE49-F238E27FC236}">
                  <a16:creationId xmlns:a16="http://schemas.microsoft.com/office/drawing/2014/main" id="{BD1A8FA4-A3DD-4523-85BA-1924013B7B15}"/>
                </a:ext>
              </a:extLst>
            </p:cNvPr>
            <p:cNvSpPr>
              <a:spLocks noChangeAspect="1"/>
            </p:cNvSpPr>
            <p:nvPr>
              <p:custDataLst>
                <p:tags r:id="rId22"/>
              </p:custDataLst>
            </p:nvPr>
          </p:nvSpPr>
          <p:spPr>
            <a:xfrm>
              <a:off x="2491734" y="4496093"/>
              <a:ext cx="132358" cy="146440"/>
            </a:xfrm>
            <a:custGeom>
              <a:avLst/>
              <a:gdLst/>
              <a:ahLst/>
              <a:cxnLst/>
              <a:rect l="0" t="0" r="0" b="0"/>
              <a:pathLst>
                <a:path w="132358" h="146440">
                  <a:moveTo>
                    <a:pt x="15354" y="110500"/>
                  </a:moveTo>
                  <a:lnTo>
                    <a:pt x="27641" y="93234"/>
                  </a:lnTo>
                  <a:lnTo>
                    <a:pt x="22649" y="83148"/>
                  </a:lnTo>
                  <a:lnTo>
                    <a:pt x="13826" y="93873"/>
                  </a:lnTo>
                  <a:lnTo>
                    <a:pt x="0" y="83751"/>
                  </a:lnTo>
                  <a:lnTo>
                    <a:pt x="4685" y="77242"/>
                  </a:lnTo>
                  <a:lnTo>
                    <a:pt x="787" y="56287"/>
                  </a:lnTo>
                  <a:lnTo>
                    <a:pt x="8873" y="52806"/>
                  </a:lnTo>
                  <a:lnTo>
                    <a:pt x="13121" y="38426"/>
                  </a:lnTo>
                  <a:lnTo>
                    <a:pt x="21856" y="23560"/>
                  </a:lnTo>
                  <a:lnTo>
                    <a:pt x="20247" y="14140"/>
                  </a:lnTo>
                  <a:lnTo>
                    <a:pt x="32893" y="9188"/>
                  </a:lnTo>
                  <a:lnTo>
                    <a:pt x="48762" y="0"/>
                  </a:lnTo>
                  <a:lnTo>
                    <a:pt x="71849" y="13182"/>
                  </a:lnTo>
                  <a:lnTo>
                    <a:pt x="76153" y="12813"/>
                  </a:lnTo>
                  <a:lnTo>
                    <a:pt x="81777" y="22744"/>
                  </a:lnTo>
                  <a:lnTo>
                    <a:pt x="101365" y="25947"/>
                  </a:lnTo>
                  <a:lnTo>
                    <a:pt x="107922" y="22274"/>
                  </a:lnTo>
                  <a:lnTo>
                    <a:pt x="119252" y="29920"/>
                  </a:lnTo>
                  <a:lnTo>
                    <a:pt x="129137" y="35387"/>
                  </a:lnTo>
                  <a:lnTo>
                    <a:pt x="132357" y="52916"/>
                  </a:lnTo>
                  <a:lnTo>
                    <a:pt x="125172" y="67926"/>
                  </a:lnTo>
                  <a:lnTo>
                    <a:pt x="100003" y="92106"/>
                  </a:lnTo>
                  <a:lnTo>
                    <a:pt x="72245" y="101216"/>
                  </a:lnTo>
                  <a:lnTo>
                    <a:pt x="58101" y="121322"/>
                  </a:lnTo>
                  <a:lnTo>
                    <a:pt x="53733" y="136923"/>
                  </a:lnTo>
                  <a:lnTo>
                    <a:pt x="40682" y="146439"/>
                  </a:lnTo>
                  <a:lnTo>
                    <a:pt x="30995" y="134759"/>
                  </a:lnTo>
                  <a:lnTo>
                    <a:pt x="21671" y="132259"/>
                  </a:lnTo>
                  <a:lnTo>
                    <a:pt x="12130" y="134100"/>
                  </a:lnTo>
                  <a:lnTo>
                    <a:pt x="11506" y="125627"/>
                  </a:lnTo>
                  <a:lnTo>
                    <a:pt x="18091" y="1201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1" name="Freeform 15">
              <a:extLst>
                <a:ext uri="{FF2B5EF4-FFF2-40B4-BE49-F238E27FC236}">
                  <a16:creationId xmlns:a16="http://schemas.microsoft.com/office/drawing/2014/main" id="{090DAFD1-73EE-4A63-850C-62B7F3ED0C5F}"/>
                </a:ext>
              </a:extLst>
            </p:cNvPr>
            <p:cNvSpPr>
              <a:spLocks noChangeAspect="1"/>
            </p:cNvSpPr>
            <p:nvPr>
              <p:custDataLst>
                <p:tags r:id="rId23"/>
              </p:custDataLst>
            </p:nvPr>
          </p:nvSpPr>
          <p:spPr>
            <a:xfrm>
              <a:off x="2231789" y="4112342"/>
              <a:ext cx="92429" cy="96620"/>
            </a:xfrm>
            <a:custGeom>
              <a:avLst/>
              <a:gdLst/>
              <a:ahLst/>
              <a:cxnLst/>
              <a:rect l="0" t="0" r="0" b="0"/>
              <a:pathLst>
                <a:path w="92429" h="96620">
                  <a:moveTo>
                    <a:pt x="49251" y="96619"/>
                  </a:moveTo>
                  <a:lnTo>
                    <a:pt x="37408" y="92516"/>
                  </a:lnTo>
                  <a:lnTo>
                    <a:pt x="23009" y="92091"/>
                  </a:lnTo>
                  <a:lnTo>
                    <a:pt x="12453" y="87423"/>
                  </a:lnTo>
                  <a:lnTo>
                    <a:pt x="34" y="77705"/>
                  </a:lnTo>
                  <a:lnTo>
                    <a:pt x="600" y="70837"/>
                  </a:lnTo>
                  <a:lnTo>
                    <a:pt x="3278" y="65305"/>
                  </a:lnTo>
                  <a:lnTo>
                    <a:pt x="0" y="60893"/>
                  </a:lnTo>
                  <a:lnTo>
                    <a:pt x="11109" y="41619"/>
                  </a:lnTo>
                  <a:lnTo>
                    <a:pt x="40735" y="41548"/>
                  </a:lnTo>
                  <a:lnTo>
                    <a:pt x="41327" y="33481"/>
                  </a:lnTo>
                  <a:lnTo>
                    <a:pt x="37587" y="32043"/>
                  </a:lnTo>
                  <a:lnTo>
                    <a:pt x="35026" y="26903"/>
                  </a:lnTo>
                  <a:lnTo>
                    <a:pt x="26489" y="21421"/>
                  </a:lnTo>
                  <a:lnTo>
                    <a:pt x="17896" y="13494"/>
                  </a:lnTo>
                  <a:lnTo>
                    <a:pt x="28322" y="13435"/>
                  </a:lnTo>
                  <a:lnTo>
                    <a:pt x="28339" y="41"/>
                  </a:lnTo>
                  <a:lnTo>
                    <a:pt x="49889" y="0"/>
                  </a:lnTo>
                  <a:lnTo>
                    <a:pt x="71237" y="262"/>
                  </a:lnTo>
                  <a:lnTo>
                    <a:pt x="71058" y="19116"/>
                  </a:lnTo>
                  <a:lnTo>
                    <a:pt x="69251" y="45870"/>
                  </a:lnTo>
                  <a:lnTo>
                    <a:pt x="76141" y="45863"/>
                  </a:lnTo>
                  <a:lnTo>
                    <a:pt x="83667" y="50142"/>
                  </a:lnTo>
                  <a:lnTo>
                    <a:pt x="85657" y="46617"/>
                  </a:lnTo>
                  <a:lnTo>
                    <a:pt x="92428" y="49637"/>
                  </a:lnTo>
                  <a:lnTo>
                    <a:pt x="81910" y="58654"/>
                  </a:lnTo>
                  <a:lnTo>
                    <a:pt x="70966" y="65262"/>
                  </a:lnTo>
                  <a:lnTo>
                    <a:pt x="69341" y="69795"/>
                  </a:lnTo>
                  <a:lnTo>
                    <a:pt x="71180" y="74424"/>
                  </a:lnTo>
                  <a:lnTo>
                    <a:pt x="66384" y="80407"/>
                  </a:lnTo>
                  <a:lnTo>
                    <a:pt x="60982" y="81857"/>
                  </a:lnTo>
                  <a:lnTo>
                    <a:pt x="62208" y="84631"/>
                  </a:lnTo>
                  <a:lnTo>
                    <a:pt x="57875" y="87234"/>
                  </a:lnTo>
                  <a:lnTo>
                    <a:pt x="49964" y="9317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2" name="Freeform 16">
              <a:extLst>
                <a:ext uri="{FF2B5EF4-FFF2-40B4-BE49-F238E27FC236}">
                  <a16:creationId xmlns:a16="http://schemas.microsoft.com/office/drawing/2014/main" id="{CE013337-26BC-4F23-8CE5-19AD5FFEEADE}"/>
                </a:ext>
              </a:extLst>
            </p:cNvPr>
            <p:cNvSpPr>
              <a:spLocks noChangeAspect="1"/>
            </p:cNvSpPr>
            <p:nvPr>
              <p:custDataLst>
                <p:tags r:id="rId24"/>
              </p:custDataLst>
            </p:nvPr>
          </p:nvSpPr>
          <p:spPr>
            <a:xfrm>
              <a:off x="2943172" y="4334396"/>
              <a:ext cx="112435" cy="164303"/>
            </a:xfrm>
            <a:custGeom>
              <a:avLst/>
              <a:gdLst/>
              <a:ahLst/>
              <a:cxnLst/>
              <a:rect l="0" t="0" r="0" b="0"/>
              <a:pathLst>
                <a:path w="112435" h="164303">
                  <a:moveTo>
                    <a:pt x="38133" y="0"/>
                  </a:moveTo>
                  <a:lnTo>
                    <a:pt x="53289" y="8547"/>
                  </a:lnTo>
                  <a:lnTo>
                    <a:pt x="67571" y="23672"/>
                  </a:lnTo>
                  <a:lnTo>
                    <a:pt x="68220" y="35616"/>
                  </a:lnTo>
                  <a:lnTo>
                    <a:pt x="76917" y="36165"/>
                  </a:lnTo>
                  <a:lnTo>
                    <a:pt x="89286" y="47473"/>
                  </a:lnTo>
                  <a:lnTo>
                    <a:pt x="98399" y="55538"/>
                  </a:lnTo>
                  <a:lnTo>
                    <a:pt x="94710" y="76365"/>
                  </a:lnTo>
                  <a:lnTo>
                    <a:pt x="80698" y="82403"/>
                  </a:lnTo>
                  <a:lnTo>
                    <a:pt x="81946" y="87858"/>
                  </a:lnTo>
                  <a:lnTo>
                    <a:pt x="77688" y="99789"/>
                  </a:lnTo>
                  <a:lnTo>
                    <a:pt x="87916" y="116574"/>
                  </a:lnTo>
                  <a:lnTo>
                    <a:pt x="95306" y="116601"/>
                  </a:lnTo>
                  <a:lnTo>
                    <a:pt x="98337" y="129644"/>
                  </a:lnTo>
                  <a:lnTo>
                    <a:pt x="112434" y="149723"/>
                  </a:lnTo>
                  <a:lnTo>
                    <a:pt x="106818" y="150550"/>
                  </a:lnTo>
                  <a:lnTo>
                    <a:pt x="94050" y="148592"/>
                  </a:lnTo>
                  <a:lnTo>
                    <a:pt x="86545" y="154732"/>
                  </a:lnTo>
                  <a:lnTo>
                    <a:pt x="76100" y="158782"/>
                  </a:lnTo>
                  <a:lnTo>
                    <a:pt x="68806" y="159780"/>
                  </a:lnTo>
                  <a:lnTo>
                    <a:pt x="66254" y="164302"/>
                  </a:lnTo>
                  <a:lnTo>
                    <a:pt x="54924" y="163157"/>
                  </a:lnTo>
                  <a:lnTo>
                    <a:pt x="40724" y="152324"/>
                  </a:lnTo>
                  <a:lnTo>
                    <a:pt x="39051" y="141639"/>
                  </a:lnTo>
                  <a:lnTo>
                    <a:pt x="33142" y="129961"/>
                  </a:lnTo>
                  <a:lnTo>
                    <a:pt x="36815" y="110292"/>
                  </a:lnTo>
                  <a:lnTo>
                    <a:pt x="43217" y="102148"/>
                  </a:lnTo>
                  <a:lnTo>
                    <a:pt x="37923" y="91403"/>
                  </a:lnTo>
                  <a:lnTo>
                    <a:pt x="29992" y="87900"/>
                  </a:lnTo>
                  <a:lnTo>
                    <a:pt x="32993" y="77742"/>
                  </a:lnTo>
                  <a:lnTo>
                    <a:pt x="27621" y="72409"/>
                  </a:lnTo>
                  <a:lnTo>
                    <a:pt x="15621" y="73433"/>
                  </a:lnTo>
                  <a:lnTo>
                    <a:pt x="0" y="55864"/>
                  </a:lnTo>
                  <a:lnTo>
                    <a:pt x="6253" y="49488"/>
                  </a:lnTo>
                  <a:lnTo>
                    <a:pt x="5793" y="38786"/>
                  </a:lnTo>
                  <a:lnTo>
                    <a:pt x="19997" y="35064"/>
                  </a:lnTo>
                  <a:lnTo>
                    <a:pt x="25729" y="30719"/>
                  </a:lnTo>
                  <a:lnTo>
                    <a:pt x="17828" y="22110"/>
                  </a:lnTo>
                  <a:lnTo>
                    <a:pt x="19845" y="1364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3" name="Freeform 17">
              <a:extLst>
                <a:ext uri="{FF2B5EF4-FFF2-40B4-BE49-F238E27FC236}">
                  <a16:creationId xmlns:a16="http://schemas.microsoft.com/office/drawing/2014/main" id="{F56F32A3-A2AB-46FB-AE84-5D79D08901ED}"/>
                </a:ext>
              </a:extLst>
            </p:cNvPr>
            <p:cNvSpPr>
              <a:spLocks noChangeAspect="1"/>
            </p:cNvSpPr>
            <p:nvPr>
              <p:custDataLst>
                <p:tags r:id="rId25"/>
              </p:custDataLst>
            </p:nvPr>
          </p:nvSpPr>
          <p:spPr>
            <a:xfrm>
              <a:off x="2298173" y="4155409"/>
              <a:ext cx="143254" cy="71186"/>
            </a:xfrm>
            <a:custGeom>
              <a:avLst/>
              <a:gdLst/>
              <a:ahLst/>
              <a:cxnLst/>
              <a:rect l="0" t="0" r="0" b="0"/>
              <a:pathLst>
                <a:path w="143254" h="71186">
                  <a:moveTo>
                    <a:pt x="47011" y="71185"/>
                  </a:moveTo>
                  <a:lnTo>
                    <a:pt x="43024" y="63840"/>
                  </a:lnTo>
                  <a:lnTo>
                    <a:pt x="36013" y="61798"/>
                  </a:lnTo>
                  <a:lnTo>
                    <a:pt x="37620" y="52383"/>
                  </a:lnTo>
                  <a:lnTo>
                    <a:pt x="34481" y="49836"/>
                  </a:lnTo>
                  <a:lnTo>
                    <a:pt x="29730" y="48158"/>
                  </a:lnTo>
                  <a:lnTo>
                    <a:pt x="19604" y="50961"/>
                  </a:lnTo>
                  <a:lnTo>
                    <a:pt x="18745" y="47793"/>
                  </a:lnTo>
                  <a:lnTo>
                    <a:pt x="11778" y="44019"/>
                  </a:lnTo>
                  <a:lnTo>
                    <a:pt x="6805" y="39321"/>
                  </a:lnTo>
                  <a:lnTo>
                    <a:pt x="0" y="37340"/>
                  </a:lnTo>
                  <a:lnTo>
                    <a:pt x="4796" y="31357"/>
                  </a:lnTo>
                  <a:lnTo>
                    <a:pt x="2957" y="26728"/>
                  </a:lnTo>
                  <a:lnTo>
                    <a:pt x="4582" y="22195"/>
                  </a:lnTo>
                  <a:lnTo>
                    <a:pt x="15526" y="15587"/>
                  </a:lnTo>
                  <a:lnTo>
                    <a:pt x="26044" y="6570"/>
                  </a:lnTo>
                  <a:lnTo>
                    <a:pt x="28441" y="7494"/>
                  </a:lnTo>
                  <a:lnTo>
                    <a:pt x="33504" y="3336"/>
                  </a:lnTo>
                  <a:lnTo>
                    <a:pt x="40109" y="2996"/>
                  </a:lnTo>
                  <a:lnTo>
                    <a:pt x="42250" y="4925"/>
                  </a:lnTo>
                  <a:lnTo>
                    <a:pt x="45832" y="3750"/>
                  </a:lnTo>
                  <a:lnTo>
                    <a:pt x="56555" y="5884"/>
                  </a:lnTo>
                  <a:lnTo>
                    <a:pt x="67225" y="5266"/>
                  </a:lnTo>
                  <a:lnTo>
                    <a:pt x="74651" y="2650"/>
                  </a:lnTo>
                  <a:lnTo>
                    <a:pt x="77358" y="0"/>
                  </a:lnTo>
                  <a:lnTo>
                    <a:pt x="84713" y="1225"/>
                  </a:lnTo>
                  <a:lnTo>
                    <a:pt x="90237" y="2832"/>
                  </a:lnTo>
                  <a:lnTo>
                    <a:pt x="96275" y="2278"/>
                  </a:lnTo>
                  <a:lnTo>
                    <a:pt x="100862" y="224"/>
                  </a:lnTo>
                  <a:lnTo>
                    <a:pt x="111405" y="3507"/>
                  </a:lnTo>
                  <a:lnTo>
                    <a:pt x="115068" y="4029"/>
                  </a:lnTo>
                  <a:lnTo>
                    <a:pt x="122113" y="8450"/>
                  </a:lnTo>
                  <a:lnTo>
                    <a:pt x="128786" y="13748"/>
                  </a:lnTo>
                  <a:lnTo>
                    <a:pt x="137179" y="17367"/>
                  </a:lnTo>
                  <a:lnTo>
                    <a:pt x="143253" y="23860"/>
                  </a:lnTo>
                  <a:lnTo>
                    <a:pt x="135341" y="23378"/>
                  </a:lnTo>
                  <a:lnTo>
                    <a:pt x="132142" y="26592"/>
                  </a:lnTo>
                  <a:lnTo>
                    <a:pt x="124129" y="29673"/>
                  </a:lnTo>
                  <a:lnTo>
                    <a:pt x="118298" y="29689"/>
                  </a:lnTo>
                  <a:lnTo>
                    <a:pt x="113197" y="32687"/>
                  </a:lnTo>
                  <a:lnTo>
                    <a:pt x="108575" y="31621"/>
                  </a:lnTo>
                  <a:lnTo>
                    <a:pt x="104640" y="28018"/>
                  </a:lnTo>
                  <a:lnTo>
                    <a:pt x="102229" y="28705"/>
                  </a:lnTo>
                  <a:lnTo>
                    <a:pt x="99267" y="34338"/>
                  </a:lnTo>
                  <a:lnTo>
                    <a:pt x="97053" y="34134"/>
                  </a:lnTo>
                  <a:lnTo>
                    <a:pt x="96669" y="38983"/>
                  </a:lnTo>
                  <a:lnTo>
                    <a:pt x="88612" y="45467"/>
                  </a:lnTo>
                  <a:lnTo>
                    <a:pt x="84359" y="48265"/>
                  </a:lnTo>
                  <a:lnTo>
                    <a:pt x="81990" y="51183"/>
                  </a:lnTo>
                  <a:lnTo>
                    <a:pt x="75181" y="46428"/>
                  </a:lnTo>
                  <a:lnTo>
                    <a:pt x="70198" y="52705"/>
                  </a:lnTo>
                  <a:lnTo>
                    <a:pt x="65384" y="52537"/>
                  </a:lnTo>
                  <a:lnTo>
                    <a:pt x="59974" y="53093"/>
                  </a:lnTo>
                  <a:lnTo>
                    <a:pt x="60465" y="64649"/>
                  </a:lnTo>
                  <a:lnTo>
                    <a:pt x="57078" y="64858"/>
                  </a:lnTo>
                  <a:lnTo>
                    <a:pt x="54187" y="7022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4" name="Freeform 18">
              <a:extLst>
                <a:ext uri="{FF2B5EF4-FFF2-40B4-BE49-F238E27FC236}">
                  <a16:creationId xmlns:a16="http://schemas.microsoft.com/office/drawing/2014/main" id="{4A5C3F22-7A9B-41AD-8C8F-A9415AAC138F}"/>
                </a:ext>
              </a:extLst>
            </p:cNvPr>
            <p:cNvSpPr>
              <a:spLocks noChangeAspect="1"/>
            </p:cNvSpPr>
            <p:nvPr>
              <p:custDataLst>
                <p:tags r:id="rId26"/>
              </p:custDataLst>
            </p:nvPr>
          </p:nvSpPr>
          <p:spPr>
            <a:xfrm>
              <a:off x="2641996" y="4062221"/>
              <a:ext cx="65398" cy="45079"/>
            </a:xfrm>
            <a:custGeom>
              <a:avLst/>
              <a:gdLst/>
              <a:ahLst/>
              <a:cxnLst/>
              <a:rect l="0" t="0" r="0" b="0"/>
              <a:pathLst>
                <a:path w="65398" h="45079">
                  <a:moveTo>
                    <a:pt x="29274" y="0"/>
                  </a:moveTo>
                  <a:lnTo>
                    <a:pt x="43357" y="1061"/>
                  </a:lnTo>
                  <a:lnTo>
                    <a:pt x="63377" y="4829"/>
                  </a:lnTo>
                  <a:lnTo>
                    <a:pt x="65397" y="17878"/>
                  </a:lnTo>
                  <a:lnTo>
                    <a:pt x="63632" y="27072"/>
                  </a:lnTo>
                  <a:lnTo>
                    <a:pt x="58005" y="31099"/>
                  </a:lnTo>
                  <a:lnTo>
                    <a:pt x="63946" y="38266"/>
                  </a:lnTo>
                  <a:lnTo>
                    <a:pt x="63471" y="44745"/>
                  </a:lnTo>
                  <a:lnTo>
                    <a:pt x="48140" y="40692"/>
                  </a:lnTo>
                  <a:lnTo>
                    <a:pt x="37246" y="42346"/>
                  </a:lnTo>
                  <a:lnTo>
                    <a:pt x="23163" y="40622"/>
                  </a:lnTo>
                  <a:lnTo>
                    <a:pt x="12363" y="45078"/>
                  </a:lnTo>
                  <a:lnTo>
                    <a:pt x="0" y="37649"/>
                  </a:lnTo>
                  <a:lnTo>
                    <a:pt x="2034" y="29952"/>
                  </a:lnTo>
                  <a:lnTo>
                    <a:pt x="23279" y="33269"/>
                  </a:lnTo>
                  <a:lnTo>
                    <a:pt x="40697" y="35184"/>
                  </a:lnTo>
                  <a:lnTo>
                    <a:pt x="49008" y="29868"/>
                  </a:lnTo>
                  <a:lnTo>
                    <a:pt x="38464" y="19511"/>
                  </a:lnTo>
                  <a:lnTo>
                    <a:pt x="38639" y="10364"/>
                  </a:lnTo>
                  <a:lnTo>
                    <a:pt x="24075" y="662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5" name="Freeform 19">
              <a:extLst>
                <a:ext uri="{FF2B5EF4-FFF2-40B4-BE49-F238E27FC236}">
                  <a16:creationId xmlns:a16="http://schemas.microsoft.com/office/drawing/2014/main" id="{ADE8164D-3131-49C8-B2E8-353171B8A4C6}"/>
                </a:ext>
              </a:extLst>
            </p:cNvPr>
            <p:cNvSpPr>
              <a:spLocks noChangeAspect="1"/>
            </p:cNvSpPr>
            <p:nvPr>
              <p:custDataLst>
                <p:tags r:id="rId27"/>
              </p:custDataLst>
            </p:nvPr>
          </p:nvSpPr>
          <p:spPr>
            <a:xfrm>
              <a:off x="2552442" y="4095533"/>
              <a:ext cx="49353" cy="19625"/>
            </a:xfrm>
            <a:custGeom>
              <a:avLst/>
              <a:gdLst/>
              <a:ahLst/>
              <a:cxnLst/>
              <a:rect l="0" t="0" r="0" b="0"/>
              <a:pathLst>
                <a:path w="49353" h="19625">
                  <a:moveTo>
                    <a:pt x="17730" y="805"/>
                  </a:moveTo>
                  <a:lnTo>
                    <a:pt x="33265" y="2945"/>
                  </a:lnTo>
                  <a:lnTo>
                    <a:pt x="45528" y="8674"/>
                  </a:lnTo>
                  <a:lnTo>
                    <a:pt x="49352" y="15201"/>
                  </a:lnTo>
                  <a:lnTo>
                    <a:pt x="33127" y="15644"/>
                  </a:lnTo>
                  <a:lnTo>
                    <a:pt x="26115" y="19624"/>
                  </a:lnTo>
                  <a:lnTo>
                    <a:pt x="13197" y="15802"/>
                  </a:lnTo>
                  <a:lnTo>
                    <a:pt x="0" y="7118"/>
                  </a:lnTo>
                  <a:lnTo>
                    <a:pt x="2770" y="1664"/>
                  </a:lnTo>
                  <a:lnTo>
                    <a:pt x="12473"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6" name="Freeform 20">
              <a:extLst>
                <a:ext uri="{FF2B5EF4-FFF2-40B4-BE49-F238E27FC236}">
                  <a16:creationId xmlns:a16="http://schemas.microsoft.com/office/drawing/2014/main" id="{2A447F89-67F3-44A2-9B11-0C756EF86FD6}"/>
                </a:ext>
              </a:extLst>
            </p:cNvPr>
            <p:cNvSpPr>
              <a:spLocks noChangeAspect="1"/>
            </p:cNvSpPr>
            <p:nvPr>
              <p:custDataLst>
                <p:tags r:id="rId28"/>
              </p:custDataLst>
            </p:nvPr>
          </p:nvSpPr>
          <p:spPr>
            <a:xfrm>
              <a:off x="1657064" y="3744951"/>
              <a:ext cx="699770" cy="445097"/>
            </a:xfrm>
            <a:custGeom>
              <a:avLst/>
              <a:gdLst/>
              <a:ahLst/>
              <a:cxnLst/>
              <a:rect l="0" t="0" r="0" b="0"/>
              <a:pathLst>
                <a:path w="699770" h="445097">
                  <a:moveTo>
                    <a:pt x="461371" y="172445"/>
                  </a:moveTo>
                  <a:lnTo>
                    <a:pt x="452414" y="194057"/>
                  </a:lnTo>
                  <a:lnTo>
                    <a:pt x="448377" y="211705"/>
                  </a:lnTo>
                  <a:lnTo>
                    <a:pt x="446690" y="244390"/>
                  </a:lnTo>
                  <a:lnTo>
                    <a:pt x="444466" y="256253"/>
                  </a:lnTo>
                  <a:lnTo>
                    <a:pt x="448467" y="269474"/>
                  </a:lnTo>
                  <a:lnTo>
                    <a:pt x="455625" y="281265"/>
                  </a:lnTo>
                  <a:lnTo>
                    <a:pt x="460233" y="299968"/>
                  </a:lnTo>
                  <a:lnTo>
                    <a:pt x="475554" y="317865"/>
                  </a:lnTo>
                  <a:lnTo>
                    <a:pt x="480943" y="331544"/>
                  </a:lnTo>
                  <a:lnTo>
                    <a:pt x="489973" y="343324"/>
                  </a:lnTo>
                  <a:lnTo>
                    <a:pt x="514483" y="349663"/>
                  </a:lnTo>
                  <a:lnTo>
                    <a:pt x="524024" y="359645"/>
                  </a:lnTo>
                  <a:lnTo>
                    <a:pt x="544269" y="352979"/>
                  </a:lnTo>
                  <a:lnTo>
                    <a:pt x="561871" y="350567"/>
                  </a:lnTo>
                  <a:lnTo>
                    <a:pt x="579154" y="346274"/>
                  </a:lnTo>
                  <a:lnTo>
                    <a:pt x="593684" y="342175"/>
                  </a:lnTo>
                  <a:lnTo>
                    <a:pt x="608365" y="332412"/>
                  </a:lnTo>
                  <a:lnTo>
                    <a:pt x="613865" y="318429"/>
                  </a:lnTo>
                  <a:lnTo>
                    <a:pt x="615760" y="298232"/>
                  </a:lnTo>
                  <a:lnTo>
                    <a:pt x="619750" y="291188"/>
                  </a:lnTo>
                  <a:lnTo>
                    <a:pt x="635384" y="284870"/>
                  </a:lnTo>
                  <a:lnTo>
                    <a:pt x="659793" y="279268"/>
                  </a:lnTo>
                  <a:lnTo>
                    <a:pt x="680232" y="280110"/>
                  </a:lnTo>
                  <a:lnTo>
                    <a:pt x="694232" y="278064"/>
                  </a:lnTo>
                  <a:lnTo>
                    <a:pt x="699769" y="283185"/>
                  </a:lnTo>
                  <a:lnTo>
                    <a:pt x="698986" y="294803"/>
                  </a:lnTo>
                  <a:lnTo>
                    <a:pt x="686582" y="309110"/>
                  </a:lnTo>
                  <a:lnTo>
                    <a:pt x="681094" y="323727"/>
                  </a:lnTo>
                  <a:lnTo>
                    <a:pt x="685348" y="327902"/>
                  </a:lnTo>
                  <a:lnTo>
                    <a:pt x="681890" y="338252"/>
                  </a:lnTo>
                  <a:lnTo>
                    <a:pt x="676105" y="356892"/>
                  </a:lnTo>
                  <a:lnTo>
                    <a:pt x="670254" y="350763"/>
                  </a:lnTo>
                  <a:lnTo>
                    <a:pt x="665421" y="351161"/>
                  </a:lnTo>
                  <a:lnTo>
                    <a:pt x="661034" y="351475"/>
                  </a:lnTo>
                  <a:lnTo>
                    <a:pt x="652765" y="365870"/>
                  </a:lnTo>
                  <a:lnTo>
                    <a:pt x="648575" y="363051"/>
                  </a:lnTo>
                  <a:lnTo>
                    <a:pt x="645781" y="364148"/>
                  </a:lnTo>
                  <a:lnTo>
                    <a:pt x="645962" y="367653"/>
                  </a:lnTo>
                  <a:lnTo>
                    <a:pt x="624614" y="367391"/>
                  </a:lnTo>
                  <a:lnTo>
                    <a:pt x="603064" y="367432"/>
                  </a:lnTo>
                  <a:lnTo>
                    <a:pt x="603047" y="380826"/>
                  </a:lnTo>
                  <a:lnTo>
                    <a:pt x="592621" y="380885"/>
                  </a:lnTo>
                  <a:lnTo>
                    <a:pt x="601214" y="388812"/>
                  </a:lnTo>
                  <a:lnTo>
                    <a:pt x="609751" y="394294"/>
                  </a:lnTo>
                  <a:lnTo>
                    <a:pt x="612312" y="399434"/>
                  </a:lnTo>
                  <a:lnTo>
                    <a:pt x="616052" y="400872"/>
                  </a:lnTo>
                  <a:lnTo>
                    <a:pt x="615460" y="408939"/>
                  </a:lnTo>
                  <a:lnTo>
                    <a:pt x="585834" y="409010"/>
                  </a:lnTo>
                  <a:lnTo>
                    <a:pt x="574725" y="428284"/>
                  </a:lnTo>
                  <a:lnTo>
                    <a:pt x="578003" y="432696"/>
                  </a:lnTo>
                  <a:lnTo>
                    <a:pt x="575325" y="438228"/>
                  </a:lnTo>
                  <a:lnTo>
                    <a:pt x="574759" y="445096"/>
                  </a:lnTo>
                  <a:lnTo>
                    <a:pt x="548636" y="419684"/>
                  </a:lnTo>
                  <a:lnTo>
                    <a:pt x="536733" y="412002"/>
                  </a:lnTo>
                  <a:lnTo>
                    <a:pt x="517886" y="405827"/>
                  </a:lnTo>
                  <a:lnTo>
                    <a:pt x="504992" y="407548"/>
                  </a:lnTo>
                  <a:lnTo>
                    <a:pt x="486453" y="416452"/>
                  </a:lnTo>
                  <a:lnTo>
                    <a:pt x="474818" y="418783"/>
                  </a:lnTo>
                  <a:lnTo>
                    <a:pt x="458518" y="412549"/>
                  </a:lnTo>
                  <a:lnTo>
                    <a:pt x="441219" y="408045"/>
                  </a:lnTo>
                  <a:lnTo>
                    <a:pt x="419645" y="397175"/>
                  </a:lnTo>
                  <a:lnTo>
                    <a:pt x="402340" y="393851"/>
                  </a:lnTo>
                  <a:lnTo>
                    <a:pt x="376208" y="382813"/>
                  </a:lnTo>
                  <a:lnTo>
                    <a:pt x="356897" y="371446"/>
                  </a:lnTo>
                  <a:lnTo>
                    <a:pt x="351070" y="365087"/>
                  </a:lnTo>
                  <a:lnTo>
                    <a:pt x="338153" y="363665"/>
                  </a:lnTo>
                  <a:lnTo>
                    <a:pt x="314543" y="356118"/>
                  </a:lnTo>
                  <a:lnTo>
                    <a:pt x="304928" y="345223"/>
                  </a:lnTo>
                  <a:lnTo>
                    <a:pt x="280126" y="331646"/>
                  </a:lnTo>
                  <a:lnTo>
                    <a:pt x="268561" y="316524"/>
                  </a:lnTo>
                  <a:lnTo>
                    <a:pt x="263059" y="304813"/>
                  </a:lnTo>
                  <a:lnTo>
                    <a:pt x="270760" y="302464"/>
                  </a:lnTo>
                  <a:lnTo>
                    <a:pt x="268385" y="295598"/>
                  </a:lnTo>
                  <a:lnTo>
                    <a:pt x="273692" y="289345"/>
                  </a:lnTo>
                  <a:lnTo>
                    <a:pt x="273806" y="280997"/>
                  </a:lnTo>
                  <a:lnTo>
                    <a:pt x="266019" y="270140"/>
                  </a:lnTo>
                  <a:lnTo>
                    <a:pt x="263936" y="260501"/>
                  </a:lnTo>
                  <a:lnTo>
                    <a:pt x="256196" y="248251"/>
                  </a:lnTo>
                  <a:lnTo>
                    <a:pt x="235854" y="224039"/>
                  </a:lnTo>
                  <a:lnTo>
                    <a:pt x="212645" y="204932"/>
                  </a:lnTo>
                  <a:lnTo>
                    <a:pt x="201417" y="189629"/>
                  </a:lnTo>
                  <a:lnTo>
                    <a:pt x="181605" y="179580"/>
                  </a:lnTo>
                  <a:lnTo>
                    <a:pt x="177360" y="173558"/>
                  </a:lnTo>
                  <a:lnTo>
                    <a:pt x="180879" y="158286"/>
                  </a:lnTo>
                  <a:lnTo>
                    <a:pt x="169111" y="152510"/>
                  </a:lnTo>
                  <a:lnTo>
                    <a:pt x="155486" y="140451"/>
                  </a:lnTo>
                  <a:lnTo>
                    <a:pt x="149732" y="123079"/>
                  </a:lnTo>
                  <a:lnTo>
                    <a:pt x="137316" y="121049"/>
                  </a:lnTo>
                  <a:lnTo>
                    <a:pt x="123912" y="107883"/>
                  </a:lnTo>
                  <a:lnTo>
                    <a:pt x="113095" y="95687"/>
                  </a:lnTo>
                  <a:lnTo>
                    <a:pt x="112088" y="87836"/>
                  </a:lnTo>
                  <a:lnTo>
                    <a:pt x="99675" y="68819"/>
                  </a:lnTo>
                  <a:lnTo>
                    <a:pt x="91499" y="49421"/>
                  </a:lnTo>
                  <a:lnTo>
                    <a:pt x="91848" y="39656"/>
                  </a:lnTo>
                  <a:lnTo>
                    <a:pt x="75155" y="29546"/>
                  </a:lnTo>
                  <a:lnTo>
                    <a:pt x="67449" y="30658"/>
                  </a:lnTo>
                  <a:lnTo>
                    <a:pt x="54275" y="23622"/>
                  </a:lnTo>
                  <a:lnTo>
                    <a:pt x="50576" y="33988"/>
                  </a:lnTo>
                  <a:lnTo>
                    <a:pt x="54395" y="46202"/>
                  </a:lnTo>
                  <a:lnTo>
                    <a:pt x="56642" y="65240"/>
                  </a:lnTo>
                  <a:lnTo>
                    <a:pt x="64558" y="75654"/>
                  </a:lnTo>
                  <a:lnTo>
                    <a:pt x="81687" y="92995"/>
                  </a:lnTo>
                  <a:lnTo>
                    <a:pt x="85492" y="98905"/>
                  </a:lnTo>
                  <a:lnTo>
                    <a:pt x="89002" y="100696"/>
                  </a:lnTo>
                  <a:lnTo>
                    <a:pt x="92048" y="109301"/>
                  </a:lnTo>
                  <a:lnTo>
                    <a:pt x="96150" y="108953"/>
                  </a:lnTo>
                  <a:lnTo>
                    <a:pt x="100783" y="125065"/>
                  </a:lnTo>
                  <a:lnTo>
                    <a:pt x="107793" y="131405"/>
                  </a:lnTo>
                  <a:lnTo>
                    <a:pt x="112709" y="140212"/>
                  </a:lnTo>
                  <a:lnTo>
                    <a:pt x="127215" y="152841"/>
                  </a:lnTo>
                  <a:lnTo>
                    <a:pt x="134874" y="175834"/>
                  </a:lnTo>
                  <a:lnTo>
                    <a:pt x="141727" y="186621"/>
                  </a:lnTo>
                  <a:lnTo>
                    <a:pt x="148139" y="198136"/>
                  </a:lnTo>
                  <a:lnTo>
                    <a:pt x="149408" y="211063"/>
                  </a:lnTo>
                  <a:lnTo>
                    <a:pt x="160538" y="211871"/>
                  </a:lnTo>
                  <a:lnTo>
                    <a:pt x="169794" y="222979"/>
                  </a:lnTo>
                  <a:lnTo>
                    <a:pt x="178168" y="233871"/>
                  </a:lnTo>
                  <a:lnTo>
                    <a:pt x="177607" y="238233"/>
                  </a:lnTo>
                  <a:lnTo>
                    <a:pt x="167893" y="247169"/>
                  </a:lnTo>
                  <a:lnTo>
                    <a:pt x="163803" y="247052"/>
                  </a:lnTo>
                  <a:lnTo>
                    <a:pt x="157717" y="232255"/>
                  </a:lnTo>
                  <a:lnTo>
                    <a:pt x="142611" y="218343"/>
                  </a:lnTo>
                  <a:lnTo>
                    <a:pt x="125967" y="206512"/>
                  </a:lnTo>
                  <a:lnTo>
                    <a:pt x="114161" y="200285"/>
                  </a:lnTo>
                  <a:lnTo>
                    <a:pt x="114924" y="182302"/>
                  </a:lnTo>
                  <a:lnTo>
                    <a:pt x="111421" y="168940"/>
                  </a:lnTo>
                  <a:lnTo>
                    <a:pt x="100421" y="161280"/>
                  </a:lnTo>
                  <a:lnTo>
                    <a:pt x="84554" y="150229"/>
                  </a:lnTo>
                  <a:lnTo>
                    <a:pt x="81506" y="153420"/>
                  </a:lnTo>
                  <a:lnTo>
                    <a:pt x="75684" y="146958"/>
                  </a:lnTo>
                  <a:lnTo>
                    <a:pt x="61447" y="140949"/>
                  </a:lnTo>
                  <a:lnTo>
                    <a:pt x="47842" y="126499"/>
                  </a:lnTo>
                  <a:lnTo>
                    <a:pt x="49524" y="124617"/>
                  </a:lnTo>
                  <a:lnTo>
                    <a:pt x="59032" y="126031"/>
                  </a:lnTo>
                  <a:lnTo>
                    <a:pt x="67596" y="116710"/>
                  </a:lnTo>
                  <a:lnTo>
                    <a:pt x="68458" y="105425"/>
                  </a:lnTo>
                  <a:lnTo>
                    <a:pt x="50688" y="87518"/>
                  </a:lnTo>
                  <a:lnTo>
                    <a:pt x="37143" y="80547"/>
                  </a:lnTo>
                  <a:lnTo>
                    <a:pt x="28632" y="64782"/>
                  </a:lnTo>
                  <a:lnTo>
                    <a:pt x="20069" y="48162"/>
                  </a:lnTo>
                  <a:lnTo>
                    <a:pt x="9377" y="27807"/>
                  </a:lnTo>
                  <a:lnTo>
                    <a:pt x="0" y="4768"/>
                  </a:lnTo>
                  <a:lnTo>
                    <a:pt x="26232" y="2788"/>
                  </a:lnTo>
                  <a:lnTo>
                    <a:pt x="55546" y="0"/>
                  </a:lnTo>
                  <a:lnTo>
                    <a:pt x="53385" y="5027"/>
                  </a:lnTo>
                  <a:lnTo>
                    <a:pt x="88240" y="17493"/>
                  </a:lnTo>
                  <a:lnTo>
                    <a:pt x="140900" y="35485"/>
                  </a:lnTo>
                  <a:lnTo>
                    <a:pt x="186803" y="35302"/>
                  </a:lnTo>
                  <a:lnTo>
                    <a:pt x="205109" y="35294"/>
                  </a:lnTo>
                  <a:lnTo>
                    <a:pt x="205154" y="24764"/>
                  </a:lnTo>
                  <a:lnTo>
                    <a:pt x="245142" y="24773"/>
                  </a:lnTo>
                  <a:lnTo>
                    <a:pt x="253560" y="33823"/>
                  </a:lnTo>
                  <a:lnTo>
                    <a:pt x="265363" y="41874"/>
                  </a:lnTo>
                  <a:lnTo>
                    <a:pt x="279079" y="53047"/>
                  </a:lnTo>
                  <a:lnTo>
                    <a:pt x="286734" y="66276"/>
                  </a:lnTo>
                  <a:lnTo>
                    <a:pt x="292476" y="80154"/>
                  </a:lnTo>
                  <a:lnTo>
                    <a:pt x="304409" y="87756"/>
                  </a:lnTo>
                  <a:lnTo>
                    <a:pt x="323568" y="95296"/>
                  </a:lnTo>
                  <a:lnTo>
                    <a:pt x="338110" y="75412"/>
                  </a:lnTo>
                  <a:lnTo>
                    <a:pt x="356982" y="74926"/>
                  </a:lnTo>
                  <a:lnTo>
                    <a:pt x="373251" y="84971"/>
                  </a:lnTo>
                  <a:lnTo>
                    <a:pt x="384833" y="102167"/>
                  </a:lnTo>
                  <a:lnTo>
                    <a:pt x="392816" y="116835"/>
                  </a:lnTo>
                  <a:lnTo>
                    <a:pt x="406435" y="131051"/>
                  </a:lnTo>
                  <a:lnTo>
                    <a:pt x="411513" y="148448"/>
                  </a:lnTo>
                  <a:lnTo>
                    <a:pt x="417976" y="160091"/>
                  </a:lnTo>
                  <a:lnTo>
                    <a:pt x="435981" y="167754"/>
                  </a:lnTo>
                  <a:lnTo>
                    <a:pt x="452369" y="17318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7" name="Freeform 21">
              <a:extLst>
                <a:ext uri="{FF2B5EF4-FFF2-40B4-BE49-F238E27FC236}">
                  <a16:creationId xmlns:a16="http://schemas.microsoft.com/office/drawing/2014/main" id="{F96E13F8-24FE-4647-BCBE-11328DBF5E4C}"/>
                </a:ext>
              </a:extLst>
            </p:cNvPr>
            <p:cNvSpPr>
              <a:spLocks noChangeAspect="1"/>
            </p:cNvSpPr>
            <p:nvPr>
              <p:custDataLst>
                <p:tags r:id="rId29"/>
              </p:custDataLst>
            </p:nvPr>
          </p:nvSpPr>
          <p:spPr>
            <a:xfrm>
              <a:off x="2337063" y="4178787"/>
              <a:ext cx="104364" cy="100649"/>
            </a:xfrm>
            <a:custGeom>
              <a:avLst/>
              <a:gdLst/>
              <a:ahLst/>
              <a:cxnLst/>
              <a:rect l="0" t="0" r="0" b="0"/>
              <a:pathLst>
                <a:path w="104364" h="100649">
                  <a:moveTo>
                    <a:pt x="45149" y="92204"/>
                  </a:moveTo>
                  <a:lnTo>
                    <a:pt x="37163" y="84842"/>
                  </a:lnTo>
                  <a:lnTo>
                    <a:pt x="26375" y="75406"/>
                  </a:lnTo>
                  <a:lnTo>
                    <a:pt x="21294" y="67515"/>
                  </a:lnTo>
                  <a:lnTo>
                    <a:pt x="11564" y="60152"/>
                  </a:lnTo>
                  <a:lnTo>
                    <a:pt x="0" y="49561"/>
                  </a:lnTo>
                  <a:lnTo>
                    <a:pt x="2563" y="45932"/>
                  </a:lnTo>
                  <a:lnTo>
                    <a:pt x="6373" y="49465"/>
                  </a:lnTo>
                  <a:lnTo>
                    <a:pt x="8121" y="47807"/>
                  </a:lnTo>
                  <a:lnTo>
                    <a:pt x="15297" y="46842"/>
                  </a:lnTo>
                  <a:lnTo>
                    <a:pt x="18188" y="41480"/>
                  </a:lnTo>
                  <a:lnTo>
                    <a:pt x="21575" y="41271"/>
                  </a:lnTo>
                  <a:lnTo>
                    <a:pt x="21084" y="29715"/>
                  </a:lnTo>
                  <a:lnTo>
                    <a:pt x="26494" y="29159"/>
                  </a:lnTo>
                  <a:lnTo>
                    <a:pt x="31308" y="29327"/>
                  </a:lnTo>
                  <a:lnTo>
                    <a:pt x="36291" y="23050"/>
                  </a:lnTo>
                  <a:lnTo>
                    <a:pt x="43100" y="27805"/>
                  </a:lnTo>
                  <a:lnTo>
                    <a:pt x="45469" y="24887"/>
                  </a:lnTo>
                  <a:lnTo>
                    <a:pt x="49722" y="22089"/>
                  </a:lnTo>
                  <a:lnTo>
                    <a:pt x="57779" y="15605"/>
                  </a:lnTo>
                  <a:lnTo>
                    <a:pt x="58163" y="10756"/>
                  </a:lnTo>
                  <a:lnTo>
                    <a:pt x="60377" y="10960"/>
                  </a:lnTo>
                  <a:lnTo>
                    <a:pt x="63339" y="5327"/>
                  </a:lnTo>
                  <a:lnTo>
                    <a:pt x="65750" y="4640"/>
                  </a:lnTo>
                  <a:lnTo>
                    <a:pt x="69685" y="8243"/>
                  </a:lnTo>
                  <a:lnTo>
                    <a:pt x="74307" y="9309"/>
                  </a:lnTo>
                  <a:lnTo>
                    <a:pt x="79408" y="6311"/>
                  </a:lnTo>
                  <a:lnTo>
                    <a:pt x="85239" y="6295"/>
                  </a:lnTo>
                  <a:lnTo>
                    <a:pt x="93252" y="3214"/>
                  </a:lnTo>
                  <a:lnTo>
                    <a:pt x="96451" y="0"/>
                  </a:lnTo>
                  <a:lnTo>
                    <a:pt x="104363" y="482"/>
                  </a:lnTo>
                  <a:lnTo>
                    <a:pt x="102378" y="2747"/>
                  </a:lnTo>
                  <a:lnTo>
                    <a:pt x="101202" y="8012"/>
                  </a:lnTo>
                  <a:lnTo>
                    <a:pt x="103557" y="16634"/>
                  </a:lnTo>
                  <a:lnTo>
                    <a:pt x="98240" y="24652"/>
                  </a:lnTo>
                  <a:lnTo>
                    <a:pt x="95762" y="34115"/>
                  </a:lnTo>
                  <a:lnTo>
                    <a:pt x="95015" y="44465"/>
                  </a:lnTo>
                  <a:lnTo>
                    <a:pt x="96254" y="50514"/>
                  </a:lnTo>
                  <a:lnTo>
                    <a:pt x="96836" y="61070"/>
                  </a:lnTo>
                  <a:lnTo>
                    <a:pt x="93309" y="63372"/>
                  </a:lnTo>
                  <a:lnTo>
                    <a:pt x="91151" y="73388"/>
                  </a:lnTo>
                  <a:lnTo>
                    <a:pt x="92738" y="79567"/>
                  </a:lnTo>
                  <a:lnTo>
                    <a:pt x="88015" y="85547"/>
                  </a:lnTo>
                  <a:lnTo>
                    <a:pt x="89089" y="91863"/>
                  </a:lnTo>
                  <a:lnTo>
                    <a:pt x="92628" y="95700"/>
                  </a:lnTo>
                  <a:lnTo>
                    <a:pt x="87101" y="100648"/>
                  </a:lnTo>
                  <a:lnTo>
                    <a:pt x="80289" y="99093"/>
                  </a:lnTo>
                  <a:lnTo>
                    <a:pt x="76463" y="94288"/>
                  </a:lnTo>
                  <a:lnTo>
                    <a:pt x="69142" y="92339"/>
                  </a:lnTo>
                  <a:lnTo>
                    <a:pt x="63835" y="95384"/>
                  </a:lnTo>
                  <a:lnTo>
                    <a:pt x="48627" y="8919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8" name="Freeform 22">
              <a:extLst>
                <a:ext uri="{FF2B5EF4-FFF2-40B4-BE49-F238E27FC236}">
                  <a16:creationId xmlns:a16="http://schemas.microsoft.com/office/drawing/2014/main" id="{B2C6EC37-7955-47A4-8C71-53B98F937851}"/>
                </a:ext>
              </a:extLst>
            </p:cNvPr>
            <p:cNvSpPr>
              <a:spLocks noChangeAspect="1"/>
            </p:cNvSpPr>
            <p:nvPr>
              <p:custDataLst>
                <p:tags r:id="rId30"/>
              </p:custDataLst>
            </p:nvPr>
          </p:nvSpPr>
          <p:spPr>
            <a:xfrm>
              <a:off x="2445614" y="4305440"/>
              <a:ext cx="132108" cy="55579"/>
            </a:xfrm>
            <a:custGeom>
              <a:avLst/>
              <a:gdLst/>
              <a:ahLst/>
              <a:cxnLst/>
              <a:rect l="0" t="0" r="0" b="0"/>
              <a:pathLst>
                <a:path w="132108" h="55579">
                  <a:moveTo>
                    <a:pt x="117357" y="55503"/>
                  </a:moveTo>
                  <a:lnTo>
                    <a:pt x="109662" y="48809"/>
                  </a:lnTo>
                  <a:lnTo>
                    <a:pt x="104718" y="36275"/>
                  </a:lnTo>
                  <a:lnTo>
                    <a:pt x="110420" y="30068"/>
                  </a:lnTo>
                  <a:lnTo>
                    <a:pt x="104572" y="28476"/>
                  </a:lnTo>
                  <a:lnTo>
                    <a:pt x="100264" y="20794"/>
                  </a:lnTo>
                  <a:lnTo>
                    <a:pt x="88764" y="14328"/>
                  </a:lnTo>
                  <a:lnTo>
                    <a:pt x="78664" y="15811"/>
                  </a:lnTo>
                  <a:lnTo>
                    <a:pt x="73985" y="23901"/>
                  </a:lnTo>
                  <a:lnTo>
                    <a:pt x="64662" y="29740"/>
                  </a:lnTo>
                  <a:lnTo>
                    <a:pt x="59626" y="30551"/>
                  </a:lnTo>
                  <a:lnTo>
                    <a:pt x="57363" y="35386"/>
                  </a:lnTo>
                  <a:lnTo>
                    <a:pt x="68373" y="47990"/>
                  </a:lnTo>
                  <a:lnTo>
                    <a:pt x="62072" y="50956"/>
                  </a:lnTo>
                  <a:lnTo>
                    <a:pt x="58737" y="54394"/>
                  </a:lnTo>
                  <a:lnTo>
                    <a:pt x="47998" y="55578"/>
                  </a:lnTo>
                  <a:lnTo>
                    <a:pt x="44001" y="41712"/>
                  </a:lnTo>
                  <a:lnTo>
                    <a:pt x="40997" y="45660"/>
                  </a:lnTo>
                  <a:lnTo>
                    <a:pt x="33384" y="44297"/>
                  </a:lnTo>
                  <a:lnTo>
                    <a:pt x="28726" y="34953"/>
                  </a:lnTo>
                  <a:lnTo>
                    <a:pt x="19259" y="33410"/>
                  </a:lnTo>
                  <a:lnTo>
                    <a:pt x="13269" y="30691"/>
                  </a:lnTo>
                  <a:lnTo>
                    <a:pt x="3363" y="30726"/>
                  </a:lnTo>
                  <a:lnTo>
                    <a:pt x="2651" y="35769"/>
                  </a:lnTo>
                  <a:lnTo>
                    <a:pt x="0" y="32256"/>
                  </a:lnTo>
                  <a:lnTo>
                    <a:pt x="1215" y="27644"/>
                  </a:lnTo>
                  <a:lnTo>
                    <a:pt x="3140" y="22930"/>
                  </a:lnTo>
                  <a:lnTo>
                    <a:pt x="2242" y="18721"/>
                  </a:lnTo>
                  <a:lnTo>
                    <a:pt x="5692" y="15966"/>
                  </a:lnTo>
                  <a:lnTo>
                    <a:pt x="892" y="12508"/>
                  </a:lnTo>
                  <a:lnTo>
                    <a:pt x="759" y="3139"/>
                  </a:lnTo>
                  <a:lnTo>
                    <a:pt x="9685" y="1059"/>
                  </a:lnTo>
                  <a:lnTo>
                    <a:pt x="17974" y="9410"/>
                  </a:lnTo>
                  <a:lnTo>
                    <a:pt x="17501" y="14341"/>
                  </a:lnTo>
                  <a:lnTo>
                    <a:pt x="26712" y="15387"/>
                  </a:lnTo>
                  <a:lnTo>
                    <a:pt x="28891" y="13494"/>
                  </a:lnTo>
                  <a:lnTo>
                    <a:pt x="35236" y="19210"/>
                  </a:lnTo>
                  <a:lnTo>
                    <a:pt x="46592" y="17529"/>
                  </a:lnTo>
                  <a:lnTo>
                    <a:pt x="56411" y="11653"/>
                  </a:lnTo>
                  <a:lnTo>
                    <a:pt x="70430" y="6959"/>
                  </a:lnTo>
                  <a:lnTo>
                    <a:pt x="78308" y="0"/>
                  </a:lnTo>
                  <a:lnTo>
                    <a:pt x="91052" y="1366"/>
                  </a:lnTo>
                  <a:lnTo>
                    <a:pt x="90192" y="3657"/>
                  </a:lnTo>
                  <a:lnTo>
                    <a:pt x="103062" y="4452"/>
                  </a:lnTo>
                  <a:lnTo>
                    <a:pt x="113333" y="8473"/>
                  </a:lnTo>
                  <a:lnTo>
                    <a:pt x="120867" y="15474"/>
                  </a:lnTo>
                  <a:lnTo>
                    <a:pt x="129550" y="21901"/>
                  </a:lnTo>
                  <a:lnTo>
                    <a:pt x="126748" y="25301"/>
                  </a:lnTo>
                  <a:lnTo>
                    <a:pt x="132107" y="38987"/>
                  </a:lnTo>
                  <a:lnTo>
                    <a:pt x="127755" y="45889"/>
                  </a:lnTo>
                  <a:lnTo>
                    <a:pt x="120316" y="442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9" name="Freeform 23">
              <a:extLst>
                <a:ext uri="{FF2B5EF4-FFF2-40B4-BE49-F238E27FC236}">
                  <a16:creationId xmlns:a16="http://schemas.microsoft.com/office/drawing/2014/main" id="{7BA49C69-866A-4FBE-B610-AA8011D743FD}"/>
                </a:ext>
              </a:extLst>
            </p:cNvPr>
            <p:cNvSpPr>
              <a:spLocks noChangeAspect="1"/>
            </p:cNvSpPr>
            <p:nvPr>
              <p:custDataLst>
                <p:tags r:id="rId31"/>
              </p:custDataLst>
            </p:nvPr>
          </p:nvSpPr>
          <p:spPr>
            <a:xfrm>
              <a:off x="2481504" y="4529291"/>
              <a:ext cx="294210" cy="426911"/>
            </a:xfrm>
            <a:custGeom>
              <a:avLst/>
              <a:gdLst/>
              <a:ahLst/>
              <a:cxnLst/>
              <a:rect l="0" t="0" r="0" b="0"/>
              <a:pathLst>
                <a:path w="294210" h="426911">
                  <a:moveTo>
                    <a:pt x="272849" y="408611"/>
                  </a:moveTo>
                  <a:lnTo>
                    <a:pt x="266663" y="420822"/>
                  </a:lnTo>
                  <a:lnTo>
                    <a:pt x="254795" y="426910"/>
                  </a:lnTo>
                  <a:lnTo>
                    <a:pt x="231651" y="413224"/>
                  </a:lnTo>
                  <a:lnTo>
                    <a:pt x="229647" y="403460"/>
                  </a:lnTo>
                  <a:lnTo>
                    <a:pt x="183886" y="379625"/>
                  </a:lnTo>
                  <a:lnTo>
                    <a:pt x="142491" y="353751"/>
                  </a:lnTo>
                  <a:lnTo>
                    <a:pt x="124687" y="339207"/>
                  </a:lnTo>
                  <a:lnTo>
                    <a:pt x="115124" y="319755"/>
                  </a:lnTo>
                  <a:lnTo>
                    <a:pt x="118915" y="312981"/>
                  </a:lnTo>
                  <a:lnTo>
                    <a:pt x="99365" y="282192"/>
                  </a:lnTo>
                  <a:lnTo>
                    <a:pt x="76607" y="239068"/>
                  </a:lnTo>
                  <a:lnTo>
                    <a:pt x="54798" y="192708"/>
                  </a:lnTo>
                  <a:lnTo>
                    <a:pt x="45358" y="182120"/>
                  </a:lnTo>
                  <a:lnTo>
                    <a:pt x="38095" y="165024"/>
                  </a:lnTo>
                  <a:lnTo>
                    <a:pt x="20162" y="149889"/>
                  </a:lnTo>
                  <a:lnTo>
                    <a:pt x="3715" y="140508"/>
                  </a:lnTo>
                  <a:lnTo>
                    <a:pt x="11186" y="130171"/>
                  </a:lnTo>
                  <a:lnTo>
                    <a:pt x="0" y="108096"/>
                  </a:lnTo>
                  <a:lnTo>
                    <a:pt x="7185" y="91900"/>
                  </a:lnTo>
                  <a:lnTo>
                    <a:pt x="25584" y="77302"/>
                  </a:lnTo>
                  <a:lnTo>
                    <a:pt x="28321" y="86924"/>
                  </a:lnTo>
                  <a:lnTo>
                    <a:pt x="21736" y="92429"/>
                  </a:lnTo>
                  <a:lnTo>
                    <a:pt x="22360" y="100902"/>
                  </a:lnTo>
                  <a:lnTo>
                    <a:pt x="31901" y="99061"/>
                  </a:lnTo>
                  <a:lnTo>
                    <a:pt x="41225" y="101561"/>
                  </a:lnTo>
                  <a:lnTo>
                    <a:pt x="50912" y="113241"/>
                  </a:lnTo>
                  <a:lnTo>
                    <a:pt x="63963" y="103725"/>
                  </a:lnTo>
                  <a:lnTo>
                    <a:pt x="68331" y="88124"/>
                  </a:lnTo>
                  <a:lnTo>
                    <a:pt x="82475" y="68018"/>
                  </a:lnTo>
                  <a:lnTo>
                    <a:pt x="110233" y="58908"/>
                  </a:lnTo>
                  <a:lnTo>
                    <a:pt x="135402" y="34728"/>
                  </a:lnTo>
                  <a:lnTo>
                    <a:pt x="142587" y="19718"/>
                  </a:lnTo>
                  <a:lnTo>
                    <a:pt x="139367" y="2189"/>
                  </a:lnTo>
                  <a:lnTo>
                    <a:pt x="145521" y="0"/>
                  </a:lnTo>
                  <a:lnTo>
                    <a:pt x="160871" y="10932"/>
                  </a:lnTo>
                  <a:lnTo>
                    <a:pt x="168239" y="21828"/>
                  </a:lnTo>
                  <a:lnTo>
                    <a:pt x="178924" y="27777"/>
                  </a:lnTo>
                  <a:lnTo>
                    <a:pt x="192522" y="51986"/>
                  </a:lnTo>
                  <a:lnTo>
                    <a:pt x="209710" y="54879"/>
                  </a:lnTo>
                  <a:lnTo>
                    <a:pt x="222429" y="48772"/>
                  </a:lnTo>
                  <a:lnTo>
                    <a:pt x="230765" y="52767"/>
                  </a:lnTo>
                  <a:lnTo>
                    <a:pt x="244618" y="50783"/>
                  </a:lnTo>
                  <a:lnTo>
                    <a:pt x="262294" y="61599"/>
                  </a:lnTo>
                  <a:lnTo>
                    <a:pt x="247406" y="85115"/>
                  </a:lnTo>
                  <a:lnTo>
                    <a:pt x="254300" y="85663"/>
                  </a:lnTo>
                  <a:lnTo>
                    <a:pt x="265850" y="97953"/>
                  </a:lnTo>
                  <a:lnTo>
                    <a:pt x="245050" y="96868"/>
                  </a:lnTo>
                  <a:lnTo>
                    <a:pt x="241955" y="100344"/>
                  </a:lnTo>
                  <a:lnTo>
                    <a:pt x="223037" y="104794"/>
                  </a:lnTo>
                  <a:lnTo>
                    <a:pt x="196642" y="120541"/>
                  </a:lnTo>
                  <a:lnTo>
                    <a:pt x="194966" y="131345"/>
                  </a:lnTo>
                  <a:lnTo>
                    <a:pt x="189076" y="139404"/>
                  </a:lnTo>
                  <a:lnTo>
                    <a:pt x="191377" y="151935"/>
                  </a:lnTo>
                  <a:lnTo>
                    <a:pt x="177424" y="158628"/>
                  </a:lnTo>
                  <a:lnTo>
                    <a:pt x="177449" y="168427"/>
                  </a:lnTo>
                  <a:lnTo>
                    <a:pt x="171359" y="172670"/>
                  </a:lnTo>
                  <a:lnTo>
                    <a:pt x="180965" y="193589"/>
                  </a:lnTo>
                  <a:lnTo>
                    <a:pt x="193792" y="207737"/>
                  </a:lnTo>
                  <a:lnTo>
                    <a:pt x="188914" y="217731"/>
                  </a:lnTo>
                  <a:lnTo>
                    <a:pt x="204233" y="219081"/>
                  </a:lnTo>
                  <a:lnTo>
                    <a:pt x="212962" y="231509"/>
                  </a:lnTo>
                  <a:lnTo>
                    <a:pt x="233332" y="232112"/>
                  </a:lnTo>
                  <a:lnTo>
                    <a:pt x="252272" y="218381"/>
                  </a:lnTo>
                  <a:lnTo>
                    <a:pt x="250730" y="253807"/>
                  </a:lnTo>
                  <a:lnTo>
                    <a:pt x="261231" y="256489"/>
                  </a:lnTo>
                  <a:lnTo>
                    <a:pt x="274251" y="252466"/>
                  </a:lnTo>
                  <a:lnTo>
                    <a:pt x="294209" y="290126"/>
                  </a:lnTo>
                  <a:lnTo>
                    <a:pt x="289246" y="298063"/>
                  </a:lnTo>
                  <a:lnTo>
                    <a:pt x="288111" y="314571"/>
                  </a:lnTo>
                  <a:lnTo>
                    <a:pt x="287658" y="334596"/>
                  </a:lnTo>
                  <a:lnTo>
                    <a:pt x="278641" y="346375"/>
                  </a:lnTo>
                  <a:lnTo>
                    <a:pt x="282777" y="355128"/>
                  </a:lnTo>
                  <a:lnTo>
                    <a:pt x="277481" y="363073"/>
                  </a:lnTo>
                  <a:lnTo>
                    <a:pt x="287410" y="38297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0" name="Freeform 24">
              <a:extLst>
                <a:ext uri="{FF2B5EF4-FFF2-40B4-BE49-F238E27FC236}">
                  <a16:creationId xmlns:a16="http://schemas.microsoft.com/office/drawing/2014/main" id="{83EC9D8F-8F4A-4AE9-9240-15947313D705}"/>
                </a:ext>
              </a:extLst>
            </p:cNvPr>
            <p:cNvSpPr>
              <a:spLocks noChangeAspect="1"/>
            </p:cNvSpPr>
            <p:nvPr>
              <p:custDataLst>
                <p:tags r:id="rId32"/>
              </p:custDataLst>
            </p:nvPr>
          </p:nvSpPr>
          <p:spPr>
            <a:xfrm>
              <a:off x="2913748" y="4979982"/>
              <a:ext cx="193713" cy="200169"/>
            </a:xfrm>
            <a:custGeom>
              <a:avLst/>
              <a:gdLst/>
              <a:ahLst/>
              <a:cxnLst/>
              <a:rect l="0" t="0" r="0" b="0"/>
              <a:pathLst>
                <a:path w="193713" h="200169">
                  <a:moveTo>
                    <a:pt x="0" y="70021"/>
                  </a:moveTo>
                  <a:lnTo>
                    <a:pt x="9091" y="41069"/>
                  </a:lnTo>
                  <a:lnTo>
                    <a:pt x="9674" y="28111"/>
                  </a:lnTo>
                  <a:lnTo>
                    <a:pt x="20745" y="6973"/>
                  </a:lnTo>
                  <a:lnTo>
                    <a:pt x="60972" y="0"/>
                  </a:lnTo>
                  <a:lnTo>
                    <a:pt x="82405" y="339"/>
                  </a:lnTo>
                  <a:lnTo>
                    <a:pt x="103908" y="12603"/>
                  </a:lnTo>
                  <a:lnTo>
                    <a:pt x="104302" y="20007"/>
                  </a:lnTo>
                  <a:lnTo>
                    <a:pt x="111128" y="33382"/>
                  </a:lnTo>
                  <a:lnTo>
                    <a:pt x="109594" y="66172"/>
                  </a:lnTo>
                  <a:lnTo>
                    <a:pt x="133961" y="70824"/>
                  </a:lnTo>
                  <a:lnTo>
                    <a:pt x="143383" y="66077"/>
                  </a:lnTo>
                  <a:lnTo>
                    <a:pt x="158972" y="72638"/>
                  </a:lnTo>
                  <a:lnTo>
                    <a:pt x="163295" y="79887"/>
                  </a:lnTo>
                  <a:lnTo>
                    <a:pt x="165443" y="102192"/>
                  </a:lnTo>
                  <a:lnTo>
                    <a:pt x="168141" y="111589"/>
                  </a:lnTo>
                  <a:lnTo>
                    <a:pt x="176747" y="112673"/>
                  </a:lnTo>
                  <a:lnTo>
                    <a:pt x="185405" y="108723"/>
                  </a:lnTo>
                  <a:lnTo>
                    <a:pt x="193712" y="113156"/>
                  </a:lnTo>
                  <a:lnTo>
                    <a:pt x="193700" y="126613"/>
                  </a:lnTo>
                  <a:lnTo>
                    <a:pt x="190573" y="141130"/>
                  </a:lnTo>
                  <a:lnTo>
                    <a:pt x="186041" y="155338"/>
                  </a:lnTo>
                  <a:lnTo>
                    <a:pt x="182267" y="177151"/>
                  </a:lnTo>
                  <a:lnTo>
                    <a:pt x="161329" y="196169"/>
                  </a:lnTo>
                  <a:lnTo>
                    <a:pt x="143074" y="200168"/>
                  </a:lnTo>
                  <a:lnTo>
                    <a:pt x="117151" y="196370"/>
                  </a:lnTo>
                  <a:lnTo>
                    <a:pt x="93874" y="189603"/>
                  </a:lnTo>
                  <a:lnTo>
                    <a:pt x="116599" y="151996"/>
                  </a:lnTo>
                  <a:lnTo>
                    <a:pt x="113286" y="141134"/>
                  </a:lnTo>
                  <a:lnTo>
                    <a:pt x="89512" y="131534"/>
                  </a:lnTo>
                  <a:lnTo>
                    <a:pt x="61309" y="113444"/>
                  </a:lnTo>
                  <a:lnTo>
                    <a:pt x="42437" y="10972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1" name="Freeform 25">
              <a:extLst>
                <a:ext uri="{FF2B5EF4-FFF2-40B4-BE49-F238E27FC236}">
                  <a16:creationId xmlns:a16="http://schemas.microsoft.com/office/drawing/2014/main" id="{90EF3615-BCF1-47CE-B0F6-356424144CC1}"/>
                </a:ext>
              </a:extLst>
            </p:cNvPr>
            <p:cNvSpPr>
              <a:spLocks noChangeAspect="1"/>
            </p:cNvSpPr>
            <p:nvPr>
              <p:custDataLst>
                <p:tags r:id="rId33"/>
              </p:custDataLst>
            </p:nvPr>
          </p:nvSpPr>
          <p:spPr>
            <a:xfrm>
              <a:off x="2281040" y="4192749"/>
              <a:ext cx="54754" cy="29988"/>
            </a:xfrm>
            <a:custGeom>
              <a:avLst/>
              <a:gdLst/>
              <a:ahLst/>
              <a:cxnLst/>
              <a:rect l="0" t="0" r="0" b="0"/>
              <a:pathLst>
                <a:path w="54754" h="29988">
                  <a:moveTo>
                    <a:pt x="53146" y="24458"/>
                  </a:moveTo>
                  <a:lnTo>
                    <a:pt x="50584" y="29987"/>
                  </a:lnTo>
                  <a:lnTo>
                    <a:pt x="37215" y="29637"/>
                  </a:lnTo>
                  <a:lnTo>
                    <a:pt x="28907" y="27388"/>
                  </a:lnTo>
                  <a:lnTo>
                    <a:pt x="19362" y="22718"/>
                  </a:lnTo>
                  <a:lnTo>
                    <a:pt x="6536" y="21259"/>
                  </a:lnTo>
                  <a:lnTo>
                    <a:pt x="0" y="16212"/>
                  </a:lnTo>
                  <a:lnTo>
                    <a:pt x="713" y="12763"/>
                  </a:lnTo>
                  <a:lnTo>
                    <a:pt x="8624" y="6827"/>
                  </a:lnTo>
                  <a:lnTo>
                    <a:pt x="12957" y="4224"/>
                  </a:lnTo>
                  <a:lnTo>
                    <a:pt x="11731" y="1450"/>
                  </a:lnTo>
                  <a:lnTo>
                    <a:pt x="17133" y="0"/>
                  </a:lnTo>
                  <a:lnTo>
                    <a:pt x="23938" y="1981"/>
                  </a:lnTo>
                  <a:lnTo>
                    <a:pt x="28911" y="6679"/>
                  </a:lnTo>
                  <a:lnTo>
                    <a:pt x="35878" y="10453"/>
                  </a:lnTo>
                  <a:lnTo>
                    <a:pt x="36737" y="13621"/>
                  </a:lnTo>
                  <a:lnTo>
                    <a:pt x="46863" y="10818"/>
                  </a:lnTo>
                  <a:lnTo>
                    <a:pt x="51614" y="12496"/>
                  </a:lnTo>
                  <a:lnTo>
                    <a:pt x="54753" y="1504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2" name="Freeform 26">
              <a:extLst>
                <a:ext uri="{FF2B5EF4-FFF2-40B4-BE49-F238E27FC236}">
                  <a16:creationId xmlns:a16="http://schemas.microsoft.com/office/drawing/2014/main" id="{1354B942-8BE4-433A-BB54-D833EC734B69}"/>
                </a:ext>
              </a:extLst>
            </p:cNvPr>
            <p:cNvSpPr>
              <a:spLocks noChangeAspect="1"/>
            </p:cNvSpPr>
            <p:nvPr>
              <p:custDataLst>
                <p:tags r:id="rId34"/>
              </p:custDataLst>
            </p:nvPr>
          </p:nvSpPr>
          <p:spPr>
            <a:xfrm>
              <a:off x="3020860" y="4388726"/>
              <a:ext cx="94331" cy="97285"/>
            </a:xfrm>
            <a:custGeom>
              <a:avLst/>
              <a:gdLst/>
              <a:ahLst/>
              <a:cxnLst/>
              <a:rect l="0" t="0" r="0" b="0"/>
              <a:pathLst>
                <a:path w="94331" h="97285">
                  <a:moveTo>
                    <a:pt x="20711" y="1208"/>
                  </a:moveTo>
                  <a:lnTo>
                    <a:pt x="48366" y="5846"/>
                  </a:lnTo>
                  <a:lnTo>
                    <a:pt x="50849" y="1672"/>
                  </a:lnTo>
                  <a:lnTo>
                    <a:pt x="69512" y="0"/>
                  </a:lnTo>
                  <a:lnTo>
                    <a:pt x="94330" y="6225"/>
                  </a:lnTo>
                  <a:lnTo>
                    <a:pt x="82314" y="26126"/>
                  </a:lnTo>
                  <a:lnTo>
                    <a:pt x="84139" y="41950"/>
                  </a:lnTo>
                  <a:lnTo>
                    <a:pt x="93202" y="55649"/>
                  </a:lnTo>
                  <a:lnTo>
                    <a:pt x="89167" y="65592"/>
                  </a:lnTo>
                  <a:lnTo>
                    <a:pt x="87137" y="76158"/>
                  </a:lnTo>
                  <a:lnTo>
                    <a:pt x="81249" y="85872"/>
                  </a:lnTo>
                  <a:lnTo>
                    <a:pt x="68027" y="80978"/>
                  </a:lnTo>
                  <a:lnTo>
                    <a:pt x="57128" y="83339"/>
                  </a:lnTo>
                  <a:lnTo>
                    <a:pt x="47812" y="81287"/>
                  </a:lnTo>
                  <a:lnTo>
                    <a:pt x="45504" y="87974"/>
                  </a:lnTo>
                  <a:lnTo>
                    <a:pt x="49376" y="92565"/>
                  </a:lnTo>
                  <a:lnTo>
                    <a:pt x="47296" y="97284"/>
                  </a:lnTo>
                  <a:lnTo>
                    <a:pt x="34746" y="95393"/>
                  </a:lnTo>
                  <a:lnTo>
                    <a:pt x="20649" y="75314"/>
                  </a:lnTo>
                  <a:lnTo>
                    <a:pt x="17618" y="62271"/>
                  </a:lnTo>
                  <a:lnTo>
                    <a:pt x="10228" y="62244"/>
                  </a:lnTo>
                  <a:lnTo>
                    <a:pt x="0" y="45459"/>
                  </a:lnTo>
                  <a:lnTo>
                    <a:pt x="4258" y="33528"/>
                  </a:lnTo>
                  <a:lnTo>
                    <a:pt x="3010" y="28073"/>
                  </a:lnTo>
                  <a:lnTo>
                    <a:pt x="17022" y="2203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3" name="Freeform 27">
              <a:extLst>
                <a:ext uri="{FF2B5EF4-FFF2-40B4-BE49-F238E27FC236}">
                  <a16:creationId xmlns:a16="http://schemas.microsoft.com/office/drawing/2014/main" id="{065C12FD-3902-4E2F-AA7F-6C45ECEAAADB}"/>
                </a:ext>
              </a:extLst>
            </p:cNvPr>
            <p:cNvSpPr>
              <a:spLocks noChangeAspect="1"/>
            </p:cNvSpPr>
            <p:nvPr>
              <p:custDataLst>
                <p:tags r:id="rId35"/>
              </p:custDataLst>
            </p:nvPr>
          </p:nvSpPr>
          <p:spPr>
            <a:xfrm>
              <a:off x="2930715" y="4275626"/>
              <a:ext cx="24353" cy="20765"/>
            </a:xfrm>
            <a:custGeom>
              <a:avLst/>
              <a:gdLst/>
              <a:ahLst/>
              <a:cxnLst/>
              <a:rect l="0" t="0" r="0" b="0"/>
              <a:pathLst>
                <a:path w="24353" h="20765">
                  <a:moveTo>
                    <a:pt x="6232" y="3035"/>
                  </a:moveTo>
                  <a:lnTo>
                    <a:pt x="19505" y="0"/>
                  </a:lnTo>
                  <a:lnTo>
                    <a:pt x="24352" y="817"/>
                  </a:lnTo>
                  <a:lnTo>
                    <a:pt x="23429" y="18200"/>
                  </a:lnTo>
                  <a:lnTo>
                    <a:pt x="4155" y="20764"/>
                  </a:lnTo>
                  <a:lnTo>
                    <a:pt x="0" y="18666"/>
                  </a:lnTo>
                  <a:lnTo>
                    <a:pt x="6694" y="1225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4" name="Freeform 28">
              <a:extLst>
                <a:ext uri="{FF2B5EF4-FFF2-40B4-BE49-F238E27FC236}">
                  <a16:creationId xmlns:a16="http://schemas.microsoft.com/office/drawing/2014/main" id="{389511AB-72A8-41EE-A35C-25DE5E743692}"/>
                </a:ext>
              </a:extLst>
            </p:cNvPr>
            <p:cNvSpPr>
              <a:spLocks noChangeAspect="1"/>
            </p:cNvSpPr>
            <p:nvPr>
              <p:custDataLst>
                <p:tags r:id="rId36"/>
              </p:custDataLst>
            </p:nvPr>
          </p:nvSpPr>
          <p:spPr>
            <a:xfrm>
              <a:off x="3012033" y="5244410"/>
              <a:ext cx="120435" cy="124438"/>
            </a:xfrm>
            <a:custGeom>
              <a:avLst/>
              <a:gdLst/>
              <a:ahLst/>
              <a:cxnLst/>
              <a:rect l="0" t="0" r="0" b="0"/>
              <a:pathLst>
                <a:path w="120435" h="124438">
                  <a:moveTo>
                    <a:pt x="18511" y="2696"/>
                  </a:moveTo>
                  <a:lnTo>
                    <a:pt x="33494" y="0"/>
                  </a:lnTo>
                  <a:lnTo>
                    <a:pt x="56641" y="19602"/>
                  </a:lnTo>
                  <a:lnTo>
                    <a:pt x="65222" y="18861"/>
                  </a:lnTo>
                  <a:lnTo>
                    <a:pt x="88975" y="35169"/>
                  </a:lnTo>
                  <a:lnTo>
                    <a:pt x="107084" y="49294"/>
                  </a:lnTo>
                  <a:lnTo>
                    <a:pt x="120434" y="66756"/>
                  </a:lnTo>
                  <a:lnTo>
                    <a:pt x="110255" y="78977"/>
                  </a:lnTo>
                  <a:lnTo>
                    <a:pt x="116647" y="93622"/>
                  </a:lnTo>
                  <a:lnTo>
                    <a:pt x="106657" y="109941"/>
                  </a:lnTo>
                  <a:lnTo>
                    <a:pt x="80587" y="124437"/>
                  </a:lnTo>
                  <a:lnTo>
                    <a:pt x="63547" y="119215"/>
                  </a:lnTo>
                  <a:lnTo>
                    <a:pt x="51054" y="122013"/>
                  </a:lnTo>
                  <a:lnTo>
                    <a:pt x="29717" y="110817"/>
                  </a:lnTo>
                  <a:lnTo>
                    <a:pt x="14063" y="111653"/>
                  </a:lnTo>
                  <a:lnTo>
                    <a:pt x="0" y="97279"/>
                  </a:lnTo>
                  <a:lnTo>
                    <a:pt x="1788" y="80556"/>
                  </a:lnTo>
                  <a:lnTo>
                    <a:pt x="6796" y="74813"/>
                  </a:lnTo>
                  <a:lnTo>
                    <a:pt x="6570" y="49224"/>
                  </a:lnTo>
                  <a:lnTo>
                    <a:pt x="12745" y="2299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5" name="Freeform 29">
              <a:extLst>
                <a:ext uri="{FF2B5EF4-FFF2-40B4-BE49-F238E27FC236}">
                  <a16:creationId xmlns:a16="http://schemas.microsoft.com/office/drawing/2014/main" id="{254BB29C-A8AB-4C8A-B0D4-267CA88A9AE3}"/>
                </a:ext>
              </a:extLst>
            </p:cNvPr>
            <p:cNvSpPr>
              <a:spLocks noChangeAspect="1"/>
            </p:cNvSpPr>
            <p:nvPr>
              <p:custDataLst>
                <p:tags r:id="rId37"/>
              </p:custDataLst>
            </p:nvPr>
          </p:nvSpPr>
          <p:spPr>
            <a:xfrm>
              <a:off x="395288" y="2512021"/>
              <a:ext cx="2451383" cy="1597290"/>
            </a:xfrm>
            <a:custGeom>
              <a:avLst/>
              <a:gdLst/>
              <a:ahLst/>
              <a:cxnLst/>
              <a:rect l="l" t="t" r="r" b="b"/>
              <a:pathLst>
                <a:path w="2451383" h="1597290">
                  <a:moveTo>
                    <a:pt x="2416535" y="1583598"/>
                  </a:moveTo>
                  <a:lnTo>
                    <a:pt x="2435423" y="1583737"/>
                  </a:lnTo>
                  <a:lnTo>
                    <a:pt x="2447221" y="1585840"/>
                  </a:lnTo>
                  <a:lnTo>
                    <a:pt x="2451383" y="1590580"/>
                  </a:lnTo>
                  <a:lnTo>
                    <a:pt x="2445470" y="1596590"/>
                  </a:lnTo>
                  <a:lnTo>
                    <a:pt x="2428094" y="1596449"/>
                  </a:lnTo>
                  <a:lnTo>
                    <a:pt x="2414608" y="1597290"/>
                  </a:lnTo>
                  <a:lnTo>
                    <a:pt x="2413263" y="1587086"/>
                  </a:lnTo>
                  <a:close/>
                  <a:moveTo>
                    <a:pt x="367708" y="1541755"/>
                  </a:moveTo>
                  <a:lnTo>
                    <a:pt x="369463" y="1542200"/>
                  </a:lnTo>
                  <a:lnTo>
                    <a:pt x="378301" y="1546260"/>
                  </a:lnTo>
                  <a:lnTo>
                    <a:pt x="382401" y="1548343"/>
                  </a:lnTo>
                  <a:lnTo>
                    <a:pt x="386147" y="1551558"/>
                  </a:lnTo>
                  <a:lnTo>
                    <a:pt x="392029" y="1559961"/>
                  </a:lnTo>
                  <a:lnTo>
                    <a:pt x="391474" y="1561289"/>
                  </a:lnTo>
                  <a:lnTo>
                    <a:pt x="382455" y="1566404"/>
                  </a:lnTo>
                  <a:lnTo>
                    <a:pt x="375070" y="1570144"/>
                  </a:lnTo>
                  <a:lnTo>
                    <a:pt x="371699" y="1574145"/>
                  </a:lnTo>
                  <a:lnTo>
                    <a:pt x="365963" y="1570720"/>
                  </a:lnTo>
                  <a:lnTo>
                    <a:pt x="366623" y="1564030"/>
                  </a:lnTo>
                  <a:lnTo>
                    <a:pt x="362805" y="1555304"/>
                  </a:lnTo>
                  <a:lnTo>
                    <a:pt x="363954" y="1552635"/>
                  </a:lnTo>
                  <a:lnTo>
                    <a:pt x="367962" y="1548720"/>
                  </a:lnTo>
                  <a:lnTo>
                    <a:pt x="366369" y="1543997"/>
                  </a:lnTo>
                  <a:close/>
                  <a:moveTo>
                    <a:pt x="350361" y="1523812"/>
                  </a:moveTo>
                  <a:lnTo>
                    <a:pt x="358566" y="1526104"/>
                  </a:lnTo>
                  <a:lnTo>
                    <a:pt x="364601" y="1529800"/>
                  </a:lnTo>
                  <a:lnTo>
                    <a:pt x="362672" y="1532692"/>
                  </a:lnTo>
                  <a:lnTo>
                    <a:pt x="354934" y="1534414"/>
                  </a:lnTo>
                  <a:lnTo>
                    <a:pt x="350958" y="1529343"/>
                  </a:lnTo>
                  <a:lnTo>
                    <a:pt x="348305" y="1527385"/>
                  </a:lnTo>
                  <a:lnTo>
                    <a:pt x="348099" y="1525879"/>
                  </a:lnTo>
                  <a:close/>
                  <a:moveTo>
                    <a:pt x="335641" y="1518816"/>
                  </a:moveTo>
                  <a:lnTo>
                    <a:pt x="346999" y="1519848"/>
                  </a:lnTo>
                  <a:lnTo>
                    <a:pt x="346281" y="1522456"/>
                  </a:lnTo>
                  <a:lnTo>
                    <a:pt x="333912" y="1521755"/>
                  </a:lnTo>
                  <a:close/>
                  <a:moveTo>
                    <a:pt x="317754" y="1506800"/>
                  </a:moveTo>
                  <a:lnTo>
                    <a:pt x="319683" y="1508353"/>
                  </a:lnTo>
                  <a:lnTo>
                    <a:pt x="326349" y="1516340"/>
                  </a:lnTo>
                  <a:lnTo>
                    <a:pt x="325098" y="1517734"/>
                  </a:lnTo>
                  <a:lnTo>
                    <a:pt x="323446" y="1517424"/>
                  </a:lnTo>
                  <a:lnTo>
                    <a:pt x="315412" y="1516575"/>
                  </a:lnTo>
                  <a:lnTo>
                    <a:pt x="312477" y="1511098"/>
                  </a:lnTo>
                  <a:lnTo>
                    <a:pt x="311580" y="1510132"/>
                  </a:lnTo>
                  <a:close/>
                  <a:moveTo>
                    <a:pt x="281491" y="1494228"/>
                  </a:moveTo>
                  <a:lnTo>
                    <a:pt x="286812" y="1494742"/>
                  </a:lnTo>
                  <a:lnTo>
                    <a:pt x="287287" y="1500386"/>
                  </a:lnTo>
                  <a:lnTo>
                    <a:pt x="284549" y="1502783"/>
                  </a:lnTo>
                  <a:lnTo>
                    <a:pt x="276775" y="1498368"/>
                  </a:lnTo>
                  <a:lnTo>
                    <a:pt x="277969" y="1496602"/>
                  </a:lnTo>
                  <a:close/>
                  <a:moveTo>
                    <a:pt x="1776755" y="773070"/>
                  </a:moveTo>
                  <a:lnTo>
                    <a:pt x="1780854" y="789445"/>
                  </a:lnTo>
                  <a:lnTo>
                    <a:pt x="1788030" y="794473"/>
                  </a:lnTo>
                  <a:lnTo>
                    <a:pt x="1804148" y="796297"/>
                  </a:lnTo>
                  <a:lnTo>
                    <a:pt x="1827712" y="801015"/>
                  </a:lnTo>
                  <a:lnTo>
                    <a:pt x="1850102" y="810176"/>
                  </a:lnTo>
                  <a:lnTo>
                    <a:pt x="1868799" y="806338"/>
                  </a:lnTo>
                  <a:lnTo>
                    <a:pt x="1897191" y="814008"/>
                  </a:lnTo>
                  <a:lnTo>
                    <a:pt x="1904741" y="813719"/>
                  </a:lnTo>
                  <a:lnTo>
                    <a:pt x="1925395" y="805365"/>
                  </a:lnTo>
                  <a:lnTo>
                    <a:pt x="1947054" y="816069"/>
                  </a:lnTo>
                  <a:lnTo>
                    <a:pt x="1969624" y="827426"/>
                  </a:lnTo>
                  <a:lnTo>
                    <a:pt x="1988313" y="837172"/>
                  </a:lnTo>
                  <a:lnTo>
                    <a:pt x="2006231" y="846505"/>
                  </a:lnTo>
                  <a:lnTo>
                    <a:pt x="2008467" y="854148"/>
                  </a:lnTo>
                  <a:lnTo>
                    <a:pt x="2013903" y="857002"/>
                  </a:lnTo>
                  <a:lnTo>
                    <a:pt x="2012491" y="859873"/>
                  </a:lnTo>
                  <a:lnTo>
                    <a:pt x="2018682" y="860766"/>
                  </a:lnTo>
                  <a:lnTo>
                    <a:pt x="2023173" y="857769"/>
                  </a:lnTo>
                  <a:lnTo>
                    <a:pt x="2024333" y="864624"/>
                  </a:lnTo>
                  <a:lnTo>
                    <a:pt x="2028975" y="869202"/>
                  </a:lnTo>
                  <a:lnTo>
                    <a:pt x="2035314" y="869202"/>
                  </a:lnTo>
                  <a:lnTo>
                    <a:pt x="2038698" y="872728"/>
                  </a:lnTo>
                  <a:lnTo>
                    <a:pt x="2035852" y="877848"/>
                  </a:lnTo>
                  <a:lnTo>
                    <a:pt x="2059902" y="891321"/>
                  </a:lnTo>
                  <a:lnTo>
                    <a:pt x="2064823" y="917186"/>
                  </a:lnTo>
                  <a:lnTo>
                    <a:pt x="2069442" y="941733"/>
                  </a:lnTo>
                  <a:lnTo>
                    <a:pt x="2062693" y="958312"/>
                  </a:lnTo>
                  <a:lnTo>
                    <a:pt x="2051845" y="973656"/>
                  </a:lnTo>
                  <a:lnTo>
                    <a:pt x="2046766" y="983378"/>
                  </a:lnTo>
                  <a:lnTo>
                    <a:pt x="2046259" y="986270"/>
                  </a:lnTo>
                  <a:lnTo>
                    <a:pt x="2048848" y="990226"/>
                  </a:lnTo>
                  <a:lnTo>
                    <a:pt x="2056690" y="994586"/>
                  </a:lnTo>
                  <a:lnTo>
                    <a:pt x="2062479" y="994586"/>
                  </a:lnTo>
                  <a:lnTo>
                    <a:pt x="2089291" y="979798"/>
                  </a:lnTo>
                  <a:lnTo>
                    <a:pt x="2113073" y="975430"/>
                  </a:lnTo>
                  <a:lnTo>
                    <a:pt x="2143267" y="961566"/>
                  </a:lnTo>
                  <a:lnTo>
                    <a:pt x="2143714" y="958732"/>
                  </a:lnTo>
                  <a:lnTo>
                    <a:pt x="2141636" y="950190"/>
                  </a:lnTo>
                  <a:lnTo>
                    <a:pt x="2137904" y="944678"/>
                  </a:lnTo>
                  <a:lnTo>
                    <a:pt x="2148324" y="940213"/>
                  </a:lnTo>
                  <a:lnTo>
                    <a:pt x="2171000" y="940102"/>
                  </a:lnTo>
                  <a:lnTo>
                    <a:pt x="2192186" y="940109"/>
                  </a:lnTo>
                  <a:lnTo>
                    <a:pt x="2199574" y="929121"/>
                  </a:lnTo>
                  <a:lnTo>
                    <a:pt x="2202459" y="926920"/>
                  </a:lnTo>
                  <a:lnTo>
                    <a:pt x="2226853" y="906486"/>
                  </a:lnTo>
                  <a:lnTo>
                    <a:pt x="2237268" y="901239"/>
                  </a:lnTo>
                  <a:lnTo>
                    <a:pt x="2272334" y="901043"/>
                  </a:lnTo>
                  <a:lnTo>
                    <a:pt x="2314870" y="901019"/>
                  </a:lnTo>
                  <a:lnTo>
                    <a:pt x="2317180" y="893968"/>
                  </a:lnTo>
                  <a:lnTo>
                    <a:pt x="2324570" y="892531"/>
                  </a:lnTo>
                  <a:lnTo>
                    <a:pt x="2334377" y="888098"/>
                  </a:lnTo>
                  <a:lnTo>
                    <a:pt x="2342571" y="875024"/>
                  </a:lnTo>
                  <a:lnTo>
                    <a:pt x="2349612" y="852523"/>
                  </a:lnTo>
                  <a:lnTo>
                    <a:pt x="2367218" y="830518"/>
                  </a:lnTo>
                  <a:lnTo>
                    <a:pt x="2374887" y="838200"/>
                  </a:lnTo>
                  <a:lnTo>
                    <a:pt x="2390365" y="833237"/>
                  </a:lnTo>
                  <a:lnTo>
                    <a:pt x="2400613" y="841661"/>
                  </a:lnTo>
                  <a:lnTo>
                    <a:pt x="2400593" y="881129"/>
                  </a:lnTo>
                  <a:lnTo>
                    <a:pt x="2415687" y="897326"/>
                  </a:lnTo>
                  <a:lnTo>
                    <a:pt x="2419675" y="906678"/>
                  </a:lnTo>
                  <a:lnTo>
                    <a:pt x="2395026" y="920441"/>
                  </a:lnTo>
                  <a:lnTo>
                    <a:pt x="2371309" y="930207"/>
                  </a:lnTo>
                  <a:lnTo>
                    <a:pt x="2346930" y="938553"/>
                  </a:lnTo>
                  <a:lnTo>
                    <a:pt x="2334712" y="955227"/>
                  </a:lnTo>
                  <a:lnTo>
                    <a:pt x="2330801" y="961519"/>
                  </a:lnTo>
                  <a:lnTo>
                    <a:pt x="2330568" y="976298"/>
                  </a:lnTo>
                  <a:lnTo>
                    <a:pt x="2338185" y="990995"/>
                  </a:lnTo>
                  <a:lnTo>
                    <a:pt x="2347765" y="991687"/>
                  </a:lnTo>
                  <a:lnTo>
                    <a:pt x="2345341" y="981575"/>
                  </a:lnTo>
                  <a:lnTo>
                    <a:pt x="2352266" y="987734"/>
                  </a:lnTo>
                  <a:lnTo>
                    <a:pt x="2350418" y="995634"/>
                  </a:lnTo>
                  <a:lnTo>
                    <a:pt x="2334838" y="1000110"/>
                  </a:lnTo>
                  <a:lnTo>
                    <a:pt x="2323750" y="999574"/>
                  </a:lnTo>
                  <a:lnTo>
                    <a:pt x="2306677" y="1004382"/>
                  </a:lnTo>
                  <a:lnTo>
                    <a:pt x="2296636" y="1005759"/>
                  </a:lnTo>
                  <a:lnTo>
                    <a:pt x="2283216" y="1007117"/>
                  </a:lnTo>
                  <a:lnTo>
                    <a:pt x="2263974" y="1015074"/>
                  </a:lnTo>
                  <a:lnTo>
                    <a:pt x="2297877" y="1009899"/>
                  </a:lnTo>
                  <a:lnTo>
                    <a:pt x="2304715" y="1015104"/>
                  </a:lnTo>
                  <a:lnTo>
                    <a:pt x="2272400" y="1023326"/>
                  </a:lnTo>
                  <a:lnTo>
                    <a:pt x="2257696" y="1023380"/>
                  </a:lnTo>
                  <a:lnTo>
                    <a:pt x="2258381" y="1020019"/>
                  </a:lnTo>
                  <a:lnTo>
                    <a:pt x="2251355" y="1027606"/>
                  </a:lnTo>
                  <a:lnTo>
                    <a:pt x="2258148" y="1028860"/>
                  </a:lnTo>
                  <a:lnTo>
                    <a:pt x="2253163" y="1048425"/>
                  </a:lnTo>
                  <a:lnTo>
                    <a:pt x="2236367" y="1069254"/>
                  </a:lnTo>
                  <a:lnTo>
                    <a:pt x="2234650" y="1062318"/>
                  </a:lnTo>
                  <a:lnTo>
                    <a:pt x="2229581" y="1060911"/>
                  </a:lnTo>
                  <a:lnTo>
                    <a:pt x="2222009" y="1054141"/>
                  </a:lnTo>
                  <a:lnTo>
                    <a:pt x="2226811" y="1068702"/>
                  </a:lnTo>
                  <a:lnTo>
                    <a:pt x="2232540" y="1073499"/>
                  </a:lnTo>
                  <a:lnTo>
                    <a:pt x="2232888" y="1083662"/>
                  </a:lnTo>
                  <a:lnTo>
                    <a:pt x="2225485" y="1094080"/>
                  </a:lnTo>
                  <a:lnTo>
                    <a:pt x="2212495" y="1115387"/>
                  </a:lnTo>
                  <a:lnTo>
                    <a:pt x="2210393" y="1114331"/>
                  </a:lnTo>
                  <a:lnTo>
                    <a:pt x="2217531" y="1096180"/>
                  </a:lnTo>
                  <a:lnTo>
                    <a:pt x="2205740" y="1085942"/>
                  </a:lnTo>
                  <a:lnTo>
                    <a:pt x="2203036" y="1063572"/>
                  </a:lnTo>
                  <a:lnTo>
                    <a:pt x="2198588" y="1075234"/>
                  </a:lnTo>
                  <a:lnTo>
                    <a:pt x="2203513" y="1092267"/>
                  </a:lnTo>
                  <a:lnTo>
                    <a:pt x="2188263" y="1088067"/>
                  </a:lnTo>
                  <a:lnTo>
                    <a:pt x="2204153" y="1096691"/>
                  </a:lnTo>
                  <a:lnTo>
                    <a:pt x="2205143" y="1122041"/>
                  </a:lnTo>
                  <a:lnTo>
                    <a:pt x="2211766" y="1123876"/>
                  </a:lnTo>
                  <a:lnTo>
                    <a:pt x="2214161" y="1133042"/>
                  </a:lnTo>
                  <a:lnTo>
                    <a:pt x="2217405" y="1159407"/>
                  </a:lnTo>
                  <a:lnTo>
                    <a:pt x="2202732" y="1178836"/>
                  </a:lnTo>
                  <a:lnTo>
                    <a:pt x="2178854" y="1186569"/>
                  </a:lnTo>
                  <a:lnTo>
                    <a:pt x="2163681" y="1201815"/>
                  </a:lnTo>
                  <a:lnTo>
                    <a:pt x="2152154" y="1203478"/>
                  </a:lnTo>
                  <a:lnTo>
                    <a:pt x="2140467" y="1212991"/>
                  </a:lnTo>
                  <a:lnTo>
                    <a:pt x="2137168" y="1221658"/>
                  </a:lnTo>
                  <a:lnTo>
                    <a:pt x="2111829" y="1238365"/>
                  </a:lnTo>
                  <a:lnTo>
                    <a:pt x="2098818" y="1250572"/>
                  </a:lnTo>
                  <a:lnTo>
                    <a:pt x="2087939" y="1265718"/>
                  </a:lnTo>
                  <a:lnTo>
                    <a:pt x="2084382" y="1283795"/>
                  </a:lnTo>
                  <a:lnTo>
                    <a:pt x="2088460" y="1301384"/>
                  </a:lnTo>
                  <a:lnTo>
                    <a:pt x="2096163" y="1322949"/>
                  </a:lnTo>
                  <a:lnTo>
                    <a:pt x="2106422" y="1340707"/>
                  </a:lnTo>
                  <a:lnTo>
                    <a:pt x="2106551" y="1351512"/>
                  </a:lnTo>
                  <a:lnTo>
                    <a:pt x="2117479" y="1380385"/>
                  </a:lnTo>
                  <a:lnTo>
                    <a:pt x="2116753" y="1397082"/>
                  </a:lnTo>
                  <a:lnTo>
                    <a:pt x="2115748" y="1406687"/>
                  </a:lnTo>
                  <a:lnTo>
                    <a:pt x="2109989" y="1421726"/>
                  </a:lnTo>
                  <a:lnTo>
                    <a:pt x="2103088" y="1424827"/>
                  </a:lnTo>
                  <a:lnTo>
                    <a:pt x="2091729" y="1421846"/>
                  </a:lnTo>
                  <a:lnTo>
                    <a:pt x="2088084" y="1411046"/>
                  </a:lnTo>
                  <a:lnTo>
                    <a:pt x="2079313" y="1405374"/>
                  </a:lnTo>
                  <a:lnTo>
                    <a:pt x="2067079" y="1384105"/>
                  </a:lnTo>
                  <a:lnTo>
                    <a:pt x="2056342" y="1365100"/>
                  </a:lnTo>
                  <a:lnTo>
                    <a:pt x="2052877" y="1355350"/>
                  </a:lnTo>
                  <a:lnTo>
                    <a:pt x="2057615" y="1338757"/>
                  </a:lnTo>
                  <a:lnTo>
                    <a:pt x="2051152" y="1324959"/>
                  </a:lnTo>
                  <a:lnTo>
                    <a:pt x="2033157" y="1303884"/>
                  </a:lnTo>
                  <a:lnTo>
                    <a:pt x="2024146" y="1300007"/>
                  </a:lnTo>
                  <a:lnTo>
                    <a:pt x="2000859" y="1311465"/>
                  </a:lnTo>
                  <a:lnTo>
                    <a:pt x="1996727" y="1310205"/>
                  </a:lnTo>
                  <a:lnTo>
                    <a:pt x="1985526" y="1298424"/>
                  </a:lnTo>
                  <a:lnTo>
                    <a:pt x="1971055" y="1292162"/>
                  </a:lnTo>
                  <a:lnTo>
                    <a:pt x="1944964" y="1295344"/>
                  </a:lnTo>
                  <a:lnTo>
                    <a:pt x="1924479" y="1292545"/>
                  </a:lnTo>
                  <a:lnTo>
                    <a:pt x="1906874" y="1294290"/>
                  </a:lnTo>
                  <a:lnTo>
                    <a:pt x="1897333" y="1298237"/>
                  </a:lnTo>
                  <a:lnTo>
                    <a:pt x="1901490" y="1304954"/>
                  </a:lnTo>
                  <a:lnTo>
                    <a:pt x="1901115" y="1315182"/>
                  </a:lnTo>
                  <a:lnTo>
                    <a:pt x="1906016" y="1320155"/>
                  </a:lnTo>
                  <a:lnTo>
                    <a:pt x="1901617" y="1323461"/>
                  </a:lnTo>
                  <a:lnTo>
                    <a:pt x="1893052" y="1319751"/>
                  </a:lnTo>
                  <a:lnTo>
                    <a:pt x="1884388" y="1324521"/>
                  </a:lnTo>
                  <a:lnTo>
                    <a:pt x="1867640" y="1323740"/>
                  </a:lnTo>
                  <a:lnTo>
                    <a:pt x="1850407" y="1310435"/>
                  </a:lnTo>
                  <a:lnTo>
                    <a:pt x="1830273" y="1313578"/>
                  </a:lnTo>
                  <a:lnTo>
                    <a:pt x="1813484" y="1307742"/>
                  </a:lnTo>
                  <a:lnTo>
                    <a:pt x="1799126" y="1309511"/>
                  </a:lnTo>
                  <a:lnTo>
                    <a:pt x="1779700" y="1315399"/>
                  </a:lnTo>
                  <a:lnTo>
                    <a:pt x="1758689" y="1334030"/>
                  </a:lnTo>
                  <a:lnTo>
                    <a:pt x="1735750" y="1344827"/>
                  </a:lnTo>
                  <a:lnTo>
                    <a:pt x="1723147" y="1356753"/>
                  </a:lnTo>
                  <a:lnTo>
                    <a:pt x="1717838" y="1367963"/>
                  </a:lnTo>
                  <a:lnTo>
                    <a:pt x="1717608" y="1385096"/>
                  </a:lnTo>
                  <a:lnTo>
                    <a:pt x="1718761" y="1396977"/>
                  </a:lnTo>
                  <a:lnTo>
                    <a:pt x="1723147" y="1405374"/>
                  </a:lnTo>
                  <a:lnTo>
                    <a:pt x="1714145" y="1406114"/>
                  </a:lnTo>
                  <a:lnTo>
                    <a:pt x="1697757" y="1400683"/>
                  </a:lnTo>
                  <a:lnTo>
                    <a:pt x="1679752" y="1393020"/>
                  </a:lnTo>
                  <a:lnTo>
                    <a:pt x="1673289" y="1381377"/>
                  </a:lnTo>
                  <a:lnTo>
                    <a:pt x="1668211" y="1363980"/>
                  </a:lnTo>
                  <a:lnTo>
                    <a:pt x="1654592" y="1349764"/>
                  </a:lnTo>
                  <a:lnTo>
                    <a:pt x="1646609" y="1335096"/>
                  </a:lnTo>
                  <a:lnTo>
                    <a:pt x="1635027" y="1317900"/>
                  </a:lnTo>
                  <a:lnTo>
                    <a:pt x="1618758" y="1307855"/>
                  </a:lnTo>
                  <a:lnTo>
                    <a:pt x="1599886" y="1308341"/>
                  </a:lnTo>
                  <a:lnTo>
                    <a:pt x="1585344" y="1328225"/>
                  </a:lnTo>
                  <a:lnTo>
                    <a:pt x="1566185" y="1320685"/>
                  </a:lnTo>
                  <a:lnTo>
                    <a:pt x="1554252" y="1313083"/>
                  </a:lnTo>
                  <a:lnTo>
                    <a:pt x="1548510" y="1299205"/>
                  </a:lnTo>
                  <a:lnTo>
                    <a:pt x="1540855" y="1285976"/>
                  </a:lnTo>
                  <a:lnTo>
                    <a:pt x="1527139" y="1274803"/>
                  </a:lnTo>
                  <a:lnTo>
                    <a:pt x="1515336" y="1266752"/>
                  </a:lnTo>
                  <a:lnTo>
                    <a:pt x="1506918" y="1257702"/>
                  </a:lnTo>
                  <a:lnTo>
                    <a:pt x="1466930" y="1257693"/>
                  </a:lnTo>
                  <a:lnTo>
                    <a:pt x="1466885" y="1268223"/>
                  </a:lnTo>
                  <a:lnTo>
                    <a:pt x="1448579" y="1268231"/>
                  </a:lnTo>
                  <a:lnTo>
                    <a:pt x="1402676" y="1268414"/>
                  </a:lnTo>
                  <a:lnTo>
                    <a:pt x="1350016" y="1250422"/>
                  </a:lnTo>
                  <a:lnTo>
                    <a:pt x="1315161" y="1237956"/>
                  </a:lnTo>
                  <a:lnTo>
                    <a:pt x="1317322" y="1232929"/>
                  </a:lnTo>
                  <a:lnTo>
                    <a:pt x="1288008" y="1235717"/>
                  </a:lnTo>
                  <a:lnTo>
                    <a:pt x="1261776" y="1237697"/>
                  </a:lnTo>
                  <a:lnTo>
                    <a:pt x="1257894" y="1224550"/>
                  </a:lnTo>
                  <a:lnTo>
                    <a:pt x="1242935" y="1209698"/>
                  </a:lnTo>
                  <a:lnTo>
                    <a:pt x="1232165" y="1206599"/>
                  </a:lnTo>
                  <a:lnTo>
                    <a:pt x="1229642" y="1199160"/>
                  </a:lnTo>
                  <a:lnTo>
                    <a:pt x="1216690" y="1197856"/>
                  </a:lnTo>
                  <a:lnTo>
                    <a:pt x="1208430" y="1190826"/>
                  </a:lnTo>
                  <a:lnTo>
                    <a:pt x="1186988" y="1188259"/>
                  </a:lnTo>
                  <a:lnTo>
                    <a:pt x="1181100" y="1184053"/>
                  </a:lnTo>
                  <a:lnTo>
                    <a:pt x="1178296" y="1169731"/>
                  </a:lnTo>
                  <a:lnTo>
                    <a:pt x="1155900" y="1143336"/>
                  </a:lnTo>
                  <a:lnTo>
                    <a:pt x="1136675" y="1106470"/>
                  </a:lnTo>
                  <a:lnTo>
                    <a:pt x="1137493" y="1100287"/>
                  </a:lnTo>
                  <a:lnTo>
                    <a:pt x="1127310" y="1091451"/>
                  </a:lnTo>
                  <a:lnTo>
                    <a:pt x="1109444" y="1068926"/>
                  </a:lnTo>
                  <a:lnTo>
                    <a:pt x="1106259" y="1046857"/>
                  </a:lnTo>
                  <a:lnTo>
                    <a:pt x="1093958" y="1031985"/>
                  </a:lnTo>
                  <a:lnTo>
                    <a:pt x="1099018" y="1009280"/>
                  </a:lnTo>
                  <a:lnTo>
                    <a:pt x="1098214" y="985606"/>
                  </a:lnTo>
                  <a:lnTo>
                    <a:pt x="1090847" y="964292"/>
                  </a:lnTo>
                  <a:lnTo>
                    <a:pt x="1099866" y="937868"/>
                  </a:lnTo>
                  <a:lnTo>
                    <a:pt x="1102673" y="912191"/>
                  </a:lnTo>
                  <a:lnTo>
                    <a:pt x="1105480" y="886279"/>
                  </a:lnTo>
                  <a:lnTo>
                    <a:pt x="1101308" y="847533"/>
                  </a:lnTo>
                  <a:lnTo>
                    <a:pt x="1094014" y="822532"/>
                  </a:lnTo>
                  <a:lnTo>
                    <a:pt x="1087284" y="808865"/>
                  </a:lnTo>
                  <a:lnTo>
                    <a:pt x="1090079" y="803095"/>
                  </a:lnTo>
                  <a:lnTo>
                    <a:pt x="1123459" y="813124"/>
                  </a:lnTo>
                  <a:lnTo>
                    <a:pt x="1135754" y="840797"/>
                  </a:lnTo>
                  <a:lnTo>
                    <a:pt x="1141464" y="833087"/>
                  </a:lnTo>
                  <a:lnTo>
                    <a:pt x="1137771" y="808995"/>
                  </a:lnTo>
                  <a:lnTo>
                    <a:pt x="1129923" y="784684"/>
                  </a:lnTo>
                  <a:lnTo>
                    <a:pt x="1195477" y="784684"/>
                  </a:lnTo>
                  <a:lnTo>
                    <a:pt x="1264005" y="784684"/>
                  </a:lnTo>
                  <a:lnTo>
                    <a:pt x="1286696" y="784684"/>
                  </a:lnTo>
                  <a:lnTo>
                    <a:pt x="1357056" y="784684"/>
                  </a:lnTo>
                  <a:lnTo>
                    <a:pt x="1425150" y="784684"/>
                  </a:lnTo>
                  <a:lnTo>
                    <a:pt x="1494398" y="784684"/>
                  </a:lnTo>
                  <a:lnTo>
                    <a:pt x="1563686" y="784688"/>
                  </a:lnTo>
                  <a:lnTo>
                    <a:pt x="1642127" y="784684"/>
                  </a:lnTo>
                  <a:lnTo>
                    <a:pt x="1721099" y="784663"/>
                  </a:lnTo>
                  <a:lnTo>
                    <a:pt x="1768873" y="784684"/>
                  </a:lnTo>
                  <a:lnTo>
                    <a:pt x="1768941" y="773213"/>
                  </a:lnTo>
                  <a:close/>
                  <a:moveTo>
                    <a:pt x="428469" y="502080"/>
                  </a:moveTo>
                  <a:lnTo>
                    <a:pt x="443795" y="504339"/>
                  </a:lnTo>
                  <a:lnTo>
                    <a:pt x="453574" y="514689"/>
                  </a:lnTo>
                  <a:lnTo>
                    <a:pt x="433603" y="530447"/>
                  </a:lnTo>
                  <a:lnTo>
                    <a:pt x="410549" y="543008"/>
                  </a:lnTo>
                  <a:lnTo>
                    <a:pt x="398746" y="534511"/>
                  </a:lnTo>
                  <a:lnTo>
                    <a:pt x="395178" y="519006"/>
                  </a:lnTo>
                  <a:lnTo>
                    <a:pt x="416142" y="507173"/>
                  </a:lnTo>
                  <a:close/>
                  <a:moveTo>
                    <a:pt x="122876" y="419796"/>
                  </a:moveTo>
                  <a:lnTo>
                    <a:pt x="141189" y="422937"/>
                  </a:lnTo>
                  <a:lnTo>
                    <a:pt x="143388" y="436191"/>
                  </a:lnTo>
                  <a:lnTo>
                    <a:pt x="129225" y="441543"/>
                  </a:lnTo>
                  <a:lnTo>
                    <a:pt x="114092" y="435109"/>
                  </a:lnTo>
                  <a:lnTo>
                    <a:pt x="100083" y="425726"/>
                  </a:lnTo>
                  <a:close/>
                  <a:moveTo>
                    <a:pt x="1372" y="298556"/>
                  </a:moveTo>
                  <a:lnTo>
                    <a:pt x="15619" y="305529"/>
                  </a:lnTo>
                  <a:lnTo>
                    <a:pt x="30007" y="301766"/>
                  </a:lnTo>
                  <a:lnTo>
                    <a:pt x="48672" y="311413"/>
                  </a:lnTo>
                  <a:lnTo>
                    <a:pt x="71595" y="316282"/>
                  </a:lnTo>
                  <a:lnTo>
                    <a:pt x="69690" y="320242"/>
                  </a:lnTo>
                  <a:lnTo>
                    <a:pt x="52205" y="327917"/>
                  </a:lnTo>
                  <a:lnTo>
                    <a:pt x="34637" y="320030"/>
                  </a:lnTo>
                  <a:lnTo>
                    <a:pt x="25846" y="313429"/>
                  </a:lnTo>
                  <a:lnTo>
                    <a:pt x="5495" y="315543"/>
                  </a:lnTo>
                  <a:lnTo>
                    <a:pt x="0" y="312335"/>
                  </a:lnTo>
                  <a:close/>
                  <a:moveTo>
                    <a:pt x="351094" y="0"/>
                  </a:moveTo>
                  <a:lnTo>
                    <a:pt x="386019" y="8900"/>
                  </a:lnTo>
                  <a:lnTo>
                    <a:pt x="402722" y="27896"/>
                  </a:lnTo>
                  <a:lnTo>
                    <a:pt x="412974" y="19771"/>
                  </a:lnTo>
                  <a:lnTo>
                    <a:pt x="451984" y="22293"/>
                  </a:lnTo>
                  <a:lnTo>
                    <a:pt x="450599" y="31930"/>
                  </a:lnTo>
                  <a:lnTo>
                    <a:pt x="485916" y="39023"/>
                  </a:lnTo>
                  <a:lnTo>
                    <a:pt x="509460" y="34853"/>
                  </a:lnTo>
                  <a:lnTo>
                    <a:pt x="558087" y="47998"/>
                  </a:lnTo>
                  <a:lnTo>
                    <a:pt x="602484" y="51892"/>
                  </a:lnTo>
                  <a:lnTo>
                    <a:pt x="620257" y="57266"/>
                  </a:lnTo>
                  <a:lnTo>
                    <a:pt x="650970" y="50547"/>
                  </a:lnTo>
                  <a:lnTo>
                    <a:pt x="685985" y="62955"/>
                  </a:lnTo>
                  <a:lnTo>
                    <a:pt x="711065" y="68706"/>
                  </a:lnTo>
                  <a:lnTo>
                    <a:pt x="710914" y="215563"/>
                  </a:lnTo>
                  <a:lnTo>
                    <a:pt x="710793" y="422493"/>
                  </a:lnTo>
                  <a:lnTo>
                    <a:pt x="733524" y="423518"/>
                  </a:lnTo>
                  <a:lnTo>
                    <a:pt x="756006" y="433088"/>
                  </a:lnTo>
                  <a:lnTo>
                    <a:pt x="772120" y="448143"/>
                  </a:lnTo>
                  <a:lnTo>
                    <a:pt x="792627" y="470546"/>
                  </a:lnTo>
                  <a:lnTo>
                    <a:pt x="815081" y="451506"/>
                  </a:lnTo>
                  <a:lnTo>
                    <a:pt x="838254" y="440397"/>
                  </a:lnTo>
                  <a:lnTo>
                    <a:pt x="850507" y="458111"/>
                  </a:lnTo>
                  <a:lnTo>
                    <a:pt x="866062" y="472035"/>
                  </a:lnTo>
                  <a:lnTo>
                    <a:pt x="887196" y="487267"/>
                  </a:lnTo>
                  <a:lnTo>
                    <a:pt x="901625" y="511298"/>
                  </a:lnTo>
                  <a:lnTo>
                    <a:pt x="925230" y="549001"/>
                  </a:lnTo>
                  <a:lnTo>
                    <a:pt x="964471" y="569767"/>
                  </a:lnTo>
                  <a:lnTo>
                    <a:pt x="965112" y="590176"/>
                  </a:lnTo>
                  <a:lnTo>
                    <a:pt x="952276" y="605660"/>
                  </a:lnTo>
                  <a:lnTo>
                    <a:pt x="939587" y="593591"/>
                  </a:lnTo>
                  <a:lnTo>
                    <a:pt x="919242" y="583312"/>
                  </a:lnTo>
                  <a:lnTo>
                    <a:pt x="912714" y="554963"/>
                  </a:lnTo>
                  <a:lnTo>
                    <a:pt x="882957" y="528362"/>
                  </a:lnTo>
                  <a:lnTo>
                    <a:pt x="870518" y="496919"/>
                  </a:lnTo>
                  <a:lnTo>
                    <a:pt x="848355" y="494750"/>
                  </a:lnTo>
                  <a:lnTo>
                    <a:pt x="811657" y="493928"/>
                  </a:lnTo>
                  <a:lnTo>
                    <a:pt x="784605" y="484244"/>
                  </a:lnTo>
                  <a:lnTo>
                    <a:pt x="736876" y="448977"/>
                  </a:lnTo>
                  <a:lnTo>
                    <a:pt x="714774" y="442468"/>
                  </a:lnTo>
                  <a:lnTo>
                    <a:pt x="674399" y="430173"/>
                  </a:lnTo>
                  <a:lnTo>
                    <a:pt x="642442" y="433117"/>
                  </a:lnTo>
                  <a:lnTo>
                    <a:pt x="597046" y="417211"/>
                  </a:lnTo>
                  <a:lnTo>
                    <a:pt x="569605" y="402359"/>
                  </a:lnTo>
                  <a:lnTo>
                    <a:pt x="543985" y="409750"/>
                  </a:lnTo>
                  <a:lnTo>
                    <a:pt x="548745" y="433836"/>
                  </a:lnTo>
                  <a:lnTo>
                    <a:pt x="535986" y="436047"/>
                  </a:lnTo>
                  <a:lnTo>
                    <a:pt x="509279" y="443219"/>
                  </a:lnTo>
                  <a:lnTo>
                    <a:pt x="488957" y="454777"/>
                  </a:lnTo>
                  <a:lnTo>
                    <a:pt x="463378" y="462021"/>
                  </a:lnTo>
                  <a:lnTo>
                    <a:pt x="460076" y="441868"/>
                  </a:lnTo>
                  <a:lnTo>
                    <a:pt x="470457" y="407908"/>
                  </a:lnTo>
                  <a:lnTo>
                    <a:pt x="494989" y="397143"/>
                  </a:lnTo>
                  <a:lnTo>
                    <a:pt x="488660" y="388331"/>
                  </a:lnTo>
                  <a:lnTo>
                    <a:pt x="459236" y="407860"/>
                  </a:lnTo>
                  <a:lnTo>
                    <a:pt x="443482" y="430960"/>
                  </a:lnTo>
                  <a:lnTo>
                    <a:pt x="410224" y="455390"/>
                  </a:lnTo>
                  <a:lnTo>
                    <a:pt x="427113" y="471912"/>
                  </a:lnTo>
                  <a:lnTo>
                    <a:pt x="405300" y="496137"/>
                  </a:lnTo>
                  <a:lnTo>
                    <a:pt x="380486" y="510135"/>
                  </a:lnTo>
                  <a:lnTo>
                    <a:pt x="357384" y="520281"/>
                  </a:lnTo>
                  <a:lnTo>
                    <a:pt x="351665" y="534932"/>
                  </a:lnTo>
                  <a:lnTo>
                    <a:pt x="315630" y="551900"/>
                  </a:lnTo>
                  <a:lnTo>
                    <a:pt x="308334" y="567221"/>
                  </a:lnTo>
                  <a:lnTo>
                    <a:pt x="281326" y="581085"/>
                  </a:lnTo>
                  <a:lnTo>
                    <a:pt x="265483" y="578597"/>
                  </a:lnTo>
                  <a:lnTo>
                    <a:pt x="243939" y="587606"/>
                  </a:lnTo>
                  <a:lnTo>
                    <a:pt x="220517" y="598563"/>
                  </a:lnTo>
                  <a:lnTo>
                    <a:pt x="201319" y="609274"/>
                  </a:lnTo>
                  <a:lnTo>
                    <a:pt x="161707" y="618382"/>
                  </a:lnTo>
                  <a:lnTo>
                    <a:pt x="158091" y="613026"/>
                  </a:lnTo>
                  <a:lnTo>
                    <a:pt x="183340" y="598073"/>
                  </a:lnTo>
                  <a:lnTo>
                    <a:pt x="205923" y="588144"/>
                  </a:lnTo>
                  <a:lnTo>
                    <a:pt x="230525" y="570444"/>
                  </a:lnTo>
                  <a:lnTo>
                    <a:pt x="259161" y="566769"/>
                  </a:lnTo>
                  <a:lnTo>
                    <a:pt x="270542" y="553391"/>
                  </a:lnTo>
                  <a:lnTo>
                    <a:pt x="302537" y="533721"/>
                  </a:lnTo>
                  <a:lnTo>
                    <a:pt x="307693" y="527104"/>
                  </a:lnTo>
                  <a:lnTo>
                    <a:pt x="324735" y="515390"/>
                  </a:lnTo>
                  <a:lnTo>
                    <a:pt x="328716" y="490026"/>
                  </a:lnTo>
                  <a:lnTo>
                    <a:pt x="340456" y="470075"/>
                  </a:lnTo>
                  <a:lnTo>
                    <a:pt x="313841" y="480336"/>
                  </a:lnTo>
                  <a:lnTo>
                    <a:pt x="306397" y="474520"/>
                  </a:lnTo>
                  <a:lnTo>
                    <a:pt x="293900" y="486799"/>
                  </a:lnTo>
                  <a:lnTo>
                    <a:pt x="278826" y="469651"/>
                  </a:lnTo>
                  <a:lnTo>
                    <a:pt x="272602" y="481797"/>
                  </a:lnTo>
                  <a:lnTo>
                    <a:pt x="263970" y="464904"/>
                  </a:lnTo>
                  <a:lnTo>
                    <a:pt x="240893" y="478476"/>
                  </a:lnTo>
                  <a:lnTo>
                    <a:pt x="226723" y="478448"/>
                  </a:lnTo>
                  <a:lnTo>
                    <a:pt x="224736" y="458235"/>
                  </a:lnTo>
                  <a:lnTo>
                    <a:pt x="228909" y="445691"/>
                  </a:lnTo>
                  <a:lnTo>
                    <a:pt x="214047" y="433443"/>
                  </a:lnTo>
                  <a:lnTo>
                    <a:pt x="184033" y="440044"/>
                  </a:lnTo>
                  <a:lnTo>
                    <a:pt x="164554" y="423842"/>
                  </a:lnTo>
                  <a:lnTo>
                    <a:pt x="148761" y="415512"/>
                  </a:lnTo>
                  <a:lnTo>
                    <a:pt x="148659" y="395729"/>
                  </a:lnTo>
                  <a:lnTo>
                    <a:pt x="130872" y="380728"/>
                  </a:lnTo>
                  <a:lnTo>
                    <a:pt x="139804" y="360321"/>
                  </a:lnTo>
                  <a:lnTo>
                    <a:pt x="158622" y="340329"/>
                  </a:lnTo>
                  <a:lnTo>
                    <a:pt x="166855" y="321775"/>
                  </a:lnTo>
                  <a:lnTo>
                    <a:pt x="185534" y="319121"/>
                  </a:lnTo>
                  <a:lnTo>
                    <a:pt x="201370" y="324928"/>
                  </a:lnTo>
                  <a:lnTo>
                    <a:pt x="219991" y="307367"/>
                  </a:lnTo>
                  <a:lnTo>
                    <a:pt x="236751" y="310512"/>
                  </a:lnTo>
                  <a:lnTo>
                    <a:pt x="254339" y="299158"/>
                  </a:lnTo>
                  <a:lnTo>
                    <a:pt x="250050" y="282336"/>
                  </a:lnTo>
                  <a:lnTo>
                    <a:pt x="237129" y="275669"/>
                  </a:lnTo>
                  <a:lnTo>
                    <a:pt x="254217" y="261308"/>
                  </a:lnTo>
                  <a:lnTo>
                    <a:pt x="240041" y="261732"/>
                  </a:lnTo>
                  <a:lnTo>
                    <a:pt x="215547" y="269850"/>
                  </a:lnTo>
                  <a:lnTo>
                    <a:pt x="208513" y="278049"/>
                  </a:lnTo>
                  <a:lnTo>
                    <a:pt x="190310" y="269860"/>
                  </a:lnTo>
                  <a:lnTo>
                    <a:pt x="157661" y="274031"/>
                  </a:lnTo>
                  <a:lnTo>
                    <a:pt x="123857" y="265112"/>
                  </a:lnTo>
                  <a:lnTo>
                    <a:pt x="114169" y="250061"/>
                  </a:lnTo>
                  <a:lnTo>
                    <a:pt x="84957" y="228125"/>
                  </a:lnTo>
                  <a:lnTo>
                    <a:pt x="117395" y="212189"/>
                  </a:lnTo>
                  <a:lnTo>
                    <a:pt x="168882" y="193430"/>
                  </a:lnTo>
                  <a:lnTo>
                    <a:pt x="187861" y="193430"/>
                  </a:lnTo>
                  <a:lnTo>
                    <a:pt x="184719" y="212614"/>
                  </a:lnTo>
                  <a:lnTo>
                    <a:pt x="233443" y="211126"/>
                  </a:lnTo>
                  <a:lnTo>
                    <a:pt x="214701" y="187289"/>
                  </a:lnTo>
                  <a:lnTo>
                    <a:pt x="186309" y="172496"/>
                  </a:lnTo>
                  <a:lnTo>
                    <a:pt x="169891" y="152913"/>
                  </a:lnTo>
                  <a:lnTo>
                    <a:pt x="147748" y="136060"/>
                  </a:lnTo>
                  <a:lnTo>
                    <a:pt x="116029" y="123476"/>
                  </a:lnTo>
                  <a:lnTo>
                    <a:pt x="128949" y="102436"/>
                  </a:lnTo>
                  <a:lnTo>
                    <a:pt x="169895" y="101124"/>
                  </a:lnTo>
                  <a:lnTo>
                    <a:pt x="199030" y="82645"/>
                  </a:lnTo>
                  <a:lnTo>
                    <a:pt x="204525" y="62703"/>
                  </a:lnTo>
                  <a:lnTo>
                    <a:pt x="228108" y="43045"/>
                  </a:lnTo>
                  <a:lnTo>
                    <a:pt x="250593" y="38286"/>
                  </a:lnTo>
                  <a:lnTo>
                    <a:pt x="294349" y="19702"/>
                  </a:lnTo>
                  <a:lnTo>
                    <a:pt x="315572" y="2251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6" name="Freeform 30">
              <a:extLst>
                <a:ext uri="{FF2B5EF4-FFF2-40B4-BE49-F238E27FC236}">
                  <a16:creationId xmlns:a16="http://schemas.microsoft.com/office/drawing/2014/main" id="{D458D9DA-4224-46F8-8917-579441790A07}"/>
                </a:ext>
              </a:extLst>
            </p:cNvPr>
            <p:cNvSpPr>
              <a:spLocks noChangeAspect="1"/>
            </p:cNvSpPr>
            <p:nvPr>
              <p:custDataLst>
                <p:tags r:id="rId38"/>
              </p:custDataLst>
            </p:nvPr>
          </p:nvSpPr>
          <p:spPr>
            <a:xfrm>
              <a:off x="2668612" y="4245873"/>
              <a:ext cx="312694" cy="265376"/>
            </a:xfrm>
            <a:custGeom>
              <a:avLst/>
              <a:gdLst/>
              <a:ahLst/>
              <a:cxnLst/>
              <a:rect l="0" t="0" r="0" b="0"/>
              <a:pathLst>
                <a:path w="312694" h="265376">
                  <a:moveTo>
                    <a:pt x="45551" y="9036"/>
                  </a:moveTo>
                  <a:lnTo>
                    <a:pt x="44894" y="14563"/>
                  </a:lnTo>
                  <a:lnTo>
                    <a:pt x="31344" y="17292"/>
                  </a:lnTo>
                  <a:lnTo>
                    <a:pt x="38873" y="27897"/>
                  </a:lnTo>
                  <a:lnTo>
                    <a:pt x="38592" y="40105"/>
                  </a:lnTo>
                  <a:lnTo>
                    <a:pt x="28410" y="53648"/>
                  </a:lnTo>
                  <a:lnTo>
                    <a:pt x="37147" y="72123"/>
                  </a:lnTo>
                  <a:lnTo>
                    <a:pt x="47098" y="70612"/>
                  </a:lnTo>
                  <a:lnTo>
                    <a:pt x="52281" y="53780"/>
                  </a:lnTo>
                  <a:lnTo>
                    <a:pt x="45124" y="45576"/>
                  </a:lnTo>
                  <a:lnTo>
                    <a:pt x="43957" y="27909"/>
                  </a:lnTo>
                  <a:lnTo>
                    <a:pt x="72702" y="18410"/>
                  </a:lnTo>
                  <a:lnTo>
                    <a:pt x="69504" y="7386"/>
                  </a:lnTo>
                  <a:lnTo>
                    <a:pt x="77597" y="0"/>
                  </a:lnTo>
                  <a:lnTo>
                    <a:pt x="85883" y="16443"/>
                  </a:lnTo>
                  <a:lnTo>
                    <a:pt x="102071" y="16823"/>
                  </a:lnTo>
                  <a:lnTo>
                    <a:pt x="117068" y="29852"/>
                  </a:lnTo>
                  <a:lnTo>
                    <a:pt x="117971" y="37581"/>
                  </a:lnTo>
                  <a:lnTo>
                    <a:pt x="138697" y="37786"/>
                  </a:lnTo>
                  <a:lnTo>
                    <a:pt x="163358" y="35388"/>
                  </a:lnTo>
                  <a:lnTo>
                    <a:pt x="176576" y="45836"/>
                  </a:lnTo>
                  <a:lnTo>
                    <a:pt x="194229" y="48717"/>
                  </a:lnTo>
                  <a:lnTo>
                    <a:pt x="207178" y="41432"/>
                  </a:lnTo>
                  <a:lnTo>
                    <a:pt x="207443" y="35556"/>
                  </a:lnTo>
                  <a:lnTo>
                    <a:pt x="236035" y="34149"/>
                  </a:lnTo>
                  <a:lnTo>
                    <a:pt x="263697" y="33824"/>
                  </a:lnTo>
                  <a:lnTo>
                    <a:pt x="244095" y="40717"/>
                  </a:lnTo>
                  <a:lnTo>
                    <a:pt x="251981" y="51724"/>
                  </a:lnTo>
                  <a:lnTo>
                    <a:pt x="270441" y="53475"/>
                  </a:lnTo>
                  <a:lnTo>
                    <a:pt x="287942" y="64929"/>
                  </a:lnTo>
                  <a:lnTo>
                    <a:pt x="291620" y="83569"/>
                  </a:lnTo>
                  <a:lnTo>
                    <a:pt x="303649" y="83044"/>
                  </a:lnTo>
                  <a:lnTo>
                    <a:pt x="312693" y="88523"/>
                  </a:lnTo>
                  <a:lnTo>
                    <a:pt x="294405" y="102169"/>
                  </a:lnTo>
                  <a:lnTo>
                    <a:pt x="292388" y="110633"/>
                  </a:lnTo>
                  <a:lnTo>
                    <a:pt x="300289" y="119242"/>
                  </a:lnTo>
                  <a:lnTo>
                    <a:pt x="294557" y="123587"/>
                  </a:lnTo>
                  <a:lnTo>
                    <a:pt x="280353" y="127309"/>
                  </a:lnTo>
                  <a:lnTo>
                    <a:pt x="280813" y="138011"/>
                  </a:lnTo>
                  <a:lnTo>
                    <a:pt x="274560" y="144387"/>
                  </a:lnTo>
                  <a:lnTo>
                    <a:pt x="290181" y="161956"/>
                  </a:lnTo>
                  <a:lnTo>
                    <a:pt x="293237" y="168485"/>
                  </a:lnTo>
                  <a:lnTo>
                    <a:pt x="284796" y="177314"/>
                  </a:lnTo>
                  <a:lnTo>
                    <a:pt x="258977" y="185970"/>
                  </a:lnTo>
                  <a:lnTo>
                    <a:pt x="242378" y="189558"/>
                  </a:lnTo>
                  <a:lnTo>
                    <a:pt x="235715" y="195023"/>
                  </a:lnTo>
                  <a:lnTo>
                    <a:pt x="217360" y="189244"/>
                  </a:lnTo>
                  <a:lnTo>
                    <a:pt x="200272" y="186286"/>
                  </a:lnTo>
                  <a:lnTo>
                    <a:pt x="195946" y="188414"/>
                  </a:lnTo>
                  <a:lnTo>
                    <a:pt x="206277" y="194407"/>
                  </a:lnTo>
                  <a:lnTo>
                    <a:pt x="205346" y="209900"/>
                  </a:lnTo>
                  <a:lnTo>
                    <a:pt x="208551" y="224448"/>
                  </a:lnTo>
                  <a:lnTo>
                    <a:pt x="228105" y="226433"/>
                  </a:lnTo>
                  <a:lnTo>
                    <a:pt x="229353" y="231287"/>
                  </a:lnTo>
                  <a:lnTo>
                    <a:pt x="212865" y="237857"/>
                  </a:lnTo>
                  <a:lnTo>
                    <a:pt x="210183" y="247636"/>
                  </a:lnTo>
                  <a:lnTo>
                    <a:pt x="200679" y="251425"/>
                  </a:lnTo>
                  <a:lnTo>
                    <a:pt x="183513" y="256815"/>
                  </a:lnTo>
                  <a:lnTo>
                    <a:pt x="179045" y="263879"/>
                  </a:lnTo>
                  <a:lnTo>
                    <a:pt x="161098" y="265375"/>
                  </a:lnTo>
                  <a:lnTo>
                    <a:pt x="148390" y="253165"/>
                  </a:lnTo>
                  <a:lnTo>
                    <a:pt x="141350" y="230138"/>
                  </a:lnTo>
                  <a:lnTo>
                    <a:pt x="135215" y="222063"/>
                  </a:lnTo>
                  <a:lnTo>
                    <a:pt x="126840" y="216972"/>
                  </a:lnTo>
                  <a:lnTo>
                    <a:pt x="138537" y="205471"/>
                  </a:lnTo>
                  <a:lnTo>
                    <a:pt x="137743" y="200297"/>
                  </a:lnTo>
                  <a:lnTo>
                    <a:pt x="131181" y="193430"/>
                  </a:lnTo>
                  <a:lnTo>
                    <a:pt x="126538" y="178066"/>
                  </a:lnTo>
                  <a:lnTo>
                    <a:pt x="128346" y="161473"/>
                  </a:lnTo>
                  <a:lnTo>
                    <a:pt x="133497" y="153701"/>
                  </a:lnTo>
                  <a:lnTo>
                    <a:pt x="137654" y="141228"/>
                  </a:lnTo>
                  <a:lnTo>
                    <a:pt x="129491" y="137246"/>
                  </a:lnTo>
                  <a:lnTo>
                    <a:pt x="116334" y="139889"/>
                  </a:lnTo>
                  <a:lnTo>
                    <a:pt x="99709" y="138648"/>
                  </a:lnTo>
                  <a:lnTo>
                    <a:pt x="90379" y="141126"/>
                  </a:lnTo>
                  <a:lnTo>
                    <a:pt x="74133" y="121180"/>
                  </a:lnTo>
                  <a:lnTo>
                    <a:pt x="60724" y="118225"/>
                  </a:lnTo>
                  <a:lnTo>
                    <a:pt x="31041" y="120455"/>
                  </a:lnTo>
                  <a:lnTo>
                    <a:pt x="25543" y="112363"/>
                  </a:lnTo>
                  <a:lnTo>
                    <a:pt x="19862" y="110429"/>
                  </a:lnTo>
                  <a:lnTo>
                    <a:pt x="19050" y="105585"/>
                  </a:lnTo>
                  <a:lnTo>
                    <a:pt x="21791" y="96990"/>
                  </a:lnTo>
                  <a:lnTo>
                    <a:pt x="19968" y="87635"/>
                  </a:lnTo>
                  <a:lnTo>
                    <a:pt x="14876" y="82520"/>
                  </a:lnTo>
                  <a:lnTo>
                    <a:pt x="11916" y="71826"/>
                  </a:lnTo>
                  <a:lnTo>
                    <a:pt x="0" y="70268"/>
                  </a:lnTo>
                  <a:lnTo>
                    <a:pt x="6402" y="56651"/>
                  </a:lnTo>
                  <a:lnTo>
                    <a:pt x="9225" y="40015"/>
                  </a:lnTo>
                  <a:lnTo>
                    <a:pt x="15934" y="31342"/>
                  </a:lnTo>
                  <a:lnTo>
                    <a:pt x="24869" y="24645"/>
                  </a:lnTo>
                  <a:lnTo>
                    <a:pt x="30724" y="1295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7" name="Freeform 31">
              <a:extLst>
                <a:ext uri="{FF2B5EF4-FFF2-40B4-BE49-F238E27FC236}">
                  <a16:creationId xmlns:a16="http://schemas.microsoft.com/office/drawing/2014/main" id="{ED5419A1-CD36-4039-B969-0F9686BCF0CF}"/>
                </a:ext>
              </a:extLst>
            </p:cNvPr>
            <p:cNvSpPr>
              <a:spLocks noChangeAspect="1"/>
            </p:cNvSpPr>
            <p:nvPr>
              <p:custDataLst>
                <p:tags r:id="rId39"/>
              </p:custDataLst>
            </p:nvPr>
          </p:nvSpPr>
          <p:spPr>
            <a:xfrm>
              <a:off x="4547425" y="3022083"/>
              <a:ext cx="106181" cy="95686"/>
            </a:xfrm>
            <a:custGeom>
              <a:avLst/>
              <a:gdLst>
                <a:gd name="connsiteX0" fmla="*/ 98815 w 106181"/>
                <a:gd name="connsiteY0" fmla="*/ 53343 h 95686"/>
                <a:gd name="connsiteX1" fmla="*/ 106181 w 106181"/>
                <a:gd name="connsiteY1" fmla="*/ 69623 h 95686"/>
                <a:gd name="connsiteX2" fmla="*/ 92331 w 106181"/>
                <a:gd name="connsiteY2" fmla="*/ 95686 h 95686"/>
                <a:gd name="connsiteX3" fmla="*/ 68176 w 106181"/>
                <a:gd name="connsiteY3" fmla="*/ 77541 h 95686"/>
                <a:gd name="connsiteX4" fmla="*/ 64953 w 106181"/>
                <a:gd name="connsiteY4" fmla="*/ 64117 h 95686"/>
                <a:gd name="connsiteX5" fmla="*/ 57476 w 106181"/>
                <a:gd name="connsiteY5" fmla="*/ 0 h 95686"/>
                <a:gd name="connsiteX6" fmla="*/ 56694 w 106181"/>
                <a:gd name="connsiteY6" fmla="*/ 17082 h 95686"/>
                <a:gd name="connsiteX7" fmla="*/ 49859 w 106181"/>
                <a:gd name="connsiteY7" fmla="*/ 27836 h 95686"/>
                <a:gd name="connsiteX8" fmla="*/ 52629 w 106181"/>
                <a:gd name="connsiteY8" fmla="*/ 37042 h 95686"/>
                <a:gd name="connsiteX9" fmla="*/ 65144 w 106181"/>
                <a:gd name="connsiteY9" fmla="*/ 42003 h 95686"/>
                <a:gd name="connsiteX10" fmla="*/ 59503 w 106181"/>
                <a:gd name="connsiteY10" fmla="*/ 54321 h 95686"/>
                <a:gd name="connsiteX11" fmla="*/ 52629 w 106181"/>
                <a:gd name="connsiteY11" fmla="*/ 50781 h 95686"/>
                <a:gd name="connsiteX12" fmla="*/ 36009 w 106181"/>
                <a:gd name="connsiteY12" fmla="*/ 74148 h 95686"/>
                <a:gd name="connsiteX13" fmla="*/ 42286 w 106181"/>
                <a:gd name="connsiteY13" fmla="*/ 89820 h 95686"/>
                <a:gd name="connsiteX14" fmla="*/ 27516 w 106181"/>
                <a:gd name="connsiteY14" fmla="*/ 94699 h 95686"/>
                <a:gd name="connsiteX15" fmla="*/ 10070 w 106181"/>
                <a:gd name="connsiteY15" fmla="*/ 90473 h 95686"/>
                <a:gd name="connsiteX16" fmla="*/ 700 w 106181"/>
                <a:gd name="connsiteY16" fmla="*/ 72606 h 95686"/>
                <a:gd name="connsiteX17" fmla="*/ 0 w 106181"/>
                <a:gd name="connsiteY17" fmla="*/ 39337 h 95686"/>
                <a:gd name="connsiteX18" fmla="*/ 3846 w 106181"/>
                <a:gd name="connsiteY18" fmla="*/ 30471 h 95686"/>
                <a:gd name="connsiteX19" fmla="*/ 10467 w 106181"/>
                <a:gd name="connsiteY19" fmla="*/ 20578 h 95686"/>
                <a:gd name="connsiteX20" fmla="*/ 30803 w 106181"/>
                <a:gd name="connsiteY20" fmla="*/ 18527 h 95686"/>
                <a:gd name="connsiteX21" fmla="*/ 38907 w 106181"/>
                <a:gd name="connsiteY21" fmla="*/ 9385 h 9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6181" h="95686">
                  <a:moveTo>
                    <a:pt x="98815" y="53343"/>
                  </a:moveTo>
                  <a:lnTo>
                    <a:pt x="106181" y="69623"/>
                  </a:lnTo>
                  <a:lnTo>
                    <a:pt x="92331" y="95686"/>
                  </a:lnTo>
                  <a:lnTo>
                    <a:pt x="68176" y="77541"/>
                  </a:lnTo>
                  <a:lnTo>
                    <a:pt x="64953" y="64117"/>
                  </a:lnTo>
                  <a:close/>
                  <a:moveTo>
                    <a:pt x="57476" y="0"/>
                  </a:moveTo>
                  <a:lnTo>
                    <a:pt x="56694" y="17082"/>
                  </a:lnTo>
                  <a:lnTo>
                    <a:pt x="49859" y="27836"/>
                  </a:lnTo>
                  <a:lnTo>
                    <a:pt x="52629" y="37042"/>
                  </a:lnTo>
                  <a:lnTo>
                    <a:pt x="65144" y="42003"/>
                  </a:lnTo>
                  <a:lnTo>
                    <a:pt x="59503" y="54321"/>
                  </a:lnTo>
                  <a:lnTo>
                    <a:pt x="52629" y="50781"/>
                  </a:lnTo>
                  <a:lnTo>
                    <a:pt x="36009" y="74148"/>
                  </a:lnTo>
                  <a:lnTo>
                    <a:pt x="42286" y="89820"/>
                  </a:lnTo>
                  <a:lnTo>
                    <a:pt x="27516" y="94699"/>
                  </a:lnTo>
                  <a:lnTo>
                    <a:pt x="10070" y="90473"/>
                  </a:lnTo>
                  <a:lnTo>
                    <a:pt x="700" y="72606"/>
                  </a:lnTo>
                  <a:lnTo>
                    <a:pt x="0" y="39337"/>
                  </a:lnTo>
                  <a:lnTo>
                    <a:pt x="3846" y="30471"/>
                  </a:lnTo>
                  <a:lnTo>
                    <a:pt x="10467" y="20578"/>
                  </a:lnTo>
                  <a:lnTo>
                    <a:pt x="30803" y="18527"/>
                  </a:lnTo>
                  <a:lnTo>
                    <a:pt x="38907" y="938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8" name="Freeform 32">
              <a:extLst>
                <a:ext uri="{FF2B5EF4-FFF2-40B4-BE49-F238E27FC236}">
                  <a16:creationId xmlns:a16="http://schemas.microsoft.com/office/drawing/2014/main" id="{49C6DBB0-31CE-4430-8BFD-673C7050E563}"/>
                </a:ext>
              </a:extLst>
            </p:cNvPr>
            <p:cNvSpPr>
              <a:spLocks noChangeAspect="1"/>
            </p:cNvSpPr>
            <p:nvPr>
              <p:custDataLst>
                <p:tags r:id="rId40"/>
              </p:custDataLst>
            </p:nvPr>
          </p:nvSpPr>
          <p:spPr>
            <a:xfrm>
              <a:off x="4185901" y="2991710"/>
              <a:ext cx="213600" cy="276243"/>
            </a:xfrm>
            <a:custGeom>
              <a:avLst/>
              <a:gdLst>
                <a:gd name="connsiteX0" fmla="*/ 19350 w 213600"/>
                <a:gd name="connsiteY0" fmla="*/ 114098 h 276243"/>
                <a:gd name="connsiteX1" fmla="*/ 44092 w 213600"/>
                <a:gd name="connsiteY1" fmla="*/ 133901 h 276243"/>
                <a:gd name="connsiteX2" fmla="*/ 31722 w 213600"/>
                <a:gd name="connsiteY2" fmla="*/ 155717 h 276243"/>
                <a:gd name="connsiteX3" fmla="*/ 14275 w 213600"/>
                <a:gd name="connsiteY3" fmla="*/ 149192 h 276243"/>
                <a:gd name="connsiteX4" fmla="*/ 0 w 213600"/>
                <a:gd name="connsiteY4" fmla="*/ 149628 h 276243"/>
                <a:gd name="connsiteX5" fmla="*/ 4758 w 213600"/>
                <a:gd name="connsiteY5" fmla="*/ 132586 h 276243"/>
                <a:gd name="connsiteX6" fmla="*/ 0 w 213600"/>
                <a:gd name="connsiteY6" fmla="*/ 115424 h 276243"/>
                <a:gd name="connsiteX7" fmla="*/ 105422 w 213600"/>
                <a:gd name="connsiteY7" fmla="*/ 0 h 276243"/>
                <a:gd name="connsiteX8" fmla="*/ 80751 w 213600"/>
                <a:gd name="connsiteY8" fmla="*/ 36267 h 276243"/>
                <a:gd name="connsiteX9" fmla="*/ 104268 w 213600"/>
                <a:gd name="connsiteY9" fmla="*/ 31707 h 276243"/>
                <a:gd name="connsiteX10" fmla="*/ 129560 w 213600"/>
                <a:gd name="connsiteY10" fmla="*/ 31881 h 276243"/>
                <a:gd name="connsiteX11" fmla="*/ 123542 w 213600"/>
                <a:gd name="connsiteY11" fmla="*/ 58869 h 276243"/>
                <a:gd name="connsiteX12" fmla="*/ 102791 w 213600"/>
                <a:gd name="connsiteY12" fmla="*/ 88196 h 276243"/>
                <a:gd name="connsiteX13" fmla="*/ 126658 w 213600"/>
                <a:gd name="connsiteY13" fmla="*/ 90270 h 276243"/>
                <a:gd name="connsiteX14" fmla="*/ 128489 w 213600"/>
                <a:gd name="connsiteY14" fmla="*/ 93682 h 276243"/>
                <a:gd name="connsiteX15" fmla="*/ 149048 w 213600"/>
                <a:gd name="connsiteY15" fmla="*/ 131655 h 276243"/>
                <a:gd name="connsiteX16" fmla="*/ 164849 w 213600"/>
                <a:gd name="connsiteY16" fmla="*/ 136778 h 276243"/>
                <a:gd name="connsiteX17" fmla="*/ 179055 w 213600"/>
                <a:gd name="connsiteY17" fmla="*/ 172807 h 276243"/>
                <a:gd name="connsiteX18" fmla="*/ 185634 w 213600"/>
                <a:gd name="connsiteY18" fmla="*/ 185174 h 276243"/>
                <a:gd name="connsiteX19" fmla="*/ 213600 w 213600"/>
                <a:gd name="connsiteY19" fmla="*/ 191116 h 276243"/>
                <a:gd name="connsiteX20" fmla="*/ 210794 w 213600"/>
                <a:gd name="connsiteY20" fmla="*/ 210960 h 276243"/>
                <a:gd name="connsiteX21" fmla="*/ 199035 w 213600"/>
                <a:gd name="connsiteY21" fmla="*/ 220006 h 276243"/>
                <a:gd name="connsiteX22" fmla="*/ 208252 w 213600"/>
                <a:gd name="connsiteY22" fmla="*/ 235886 h 276243"/>
                <a:gd name="connsiteX23" fmla="*/ 187489 w 213600"/>
                <a:gd name="connsiteY23" fmla="*/ 251860 h 276243"/>
                <a:gd name="connsiteX24" fmla="*/ 156608 w 213600"/>
                <a:gd name="connsiteY24" fmla="*/ 251579 h 276243"/>
                <a:gd name="connsiteX25" fmla="*/ 117310 w 213600"/>
                <a:gd name="connsiteY25" fmla="*/ 259927 h 276243"/>
                <a:gd name="connsiteX26" fmla="*/ 106547 w 213600"/>
                <a:gd name="connsiteY26" fmla="*/ 253953 h 276243"/>
                <a:gd name="connsiteX27" fmla="*/ 91285 w 213600"/>
                <a:gd name="connsiteY27" fmla="*/ 268149 h 276243"/>
                <a:gd name="connsiteX28" fmla="*/ 69932 w 213600"/>
                <a:gd name="connsiteY28" fmla="*/ 264717 h 276243"/>
                <a:gd name="connsiteX29" fmla="*/ 53716 w 213600"/>
                <a:gd name="connsiteY29" fmla="*/ 276243 h 276243"/>
                <a:gd name="connsiteX30" fmla="*/ 41447 w 213600"/>
                <a:gd name="connsiteY30" fmla="*/ 270223 h 276243"/>
                <a:gd name="connsiteX31" fmla="*/ 75299 w 213600"/>
                <a:gd name="connsiteY31" fmla="*/ 238316 h 276243"/>
                <a:gd name="connsiteX32" fmla="*/ 95962 w 213600"/>
                <a:gd name="connsiteY32" fmla="*/ 231704 h 276243"/>
                <a:gd name="connsiteX33" fmla="*/ 95780 w 213600"/>
                <a:gd name="connsiteY33" fmla="*/ 231678 h 276243"/>
                <a:gd name="connsiteX34" fmla="*/ 59733 w 213600"/>
                <a:gd name="connsiteY34" fmla="*/ 226566 h 276243"/>
                <a:gd name="connsiteX35" fmla="*/ 53202 w 213600"/>
                <a:gd name="connsiteY35" fmla="*/ 214314 h 276243"/>
                <a:gd name="connsiteX36" fmla="*/ 77322 w 213600"/>
                <a:gd name="connsiteY36" fmla="*/ 204729 h 276243"/>
                <a:gd name="connsiteX37" fmla="*/ 64681 w 213600"/>
                <a:gd name="connsiteY37" fmla="*/ 187983 h 276243"/>
                <a:gd name="connsiteX38" fmla="*/ 69067 w 213600"/>
                <a:gd name="connsiteY38" fmla="*/ 167465 h 276243"/>
                <a:gd name="connsiteX39" fmla="*/ 103372 w 213600"/>
                <a:gd name="connsiteY39" fmla="*/ 170309 h 276243"/>
                <a:gd name="connsiteX40" fmla="*/ 103412 w 213600"/>
                <a:gd name="connsiteY40" fmla="*/ 170312 h 276243"/>
                <a:gd name="connsiteX41" fmla="*/ 106807 w 213600"/>
                <a:gd name="connsiteY41" fmla="*/ 152002 h 276243"/>
                <a:gd name="connsiteX42" fmla="*/ 91348 w 213600"/>
                <a:gd name="connsiteY42" fmla="*/ 132423 h 276243"/>
                <a:gd name="connsiteX43" fmla="*/ 90995 w 213600"/>
                <a:gd name="connsiteY43" fmla="*/ 131974 h 276243"/>
                <a:gd name="connsiteX44" fmla="*/ 62969 w 213600"/>
                <a:gd name="connsiteY44" fmla="*/ 126350 h 276243"/>
                <a:gd name="connsiteX45" fmla="*/ 57467 w 213600"/>
                <a:gd name="connsiteY45" fmla="*/ 117674 h 276243"/>
                <a:gd name="connsiteX46" fmla="*/ 65856 w 213600"/>
                <a:gd name="connsiteY46" fmla="*/ 103279 h 276243"/>
                <a:gd name="connsiteX47" fmla="*/ 58265 w 213600"/>
                <a:gd name="connsiteY47" fmla="*/ 94360 h 276243"/>
                <a:gd name="connsiteX48" fmla="*/ 45836 w 213600"/>
                <a:gd name="connsiteY48" fmla="*/ 109646 h 276243"/>
                <a:gd name="connsiteX49" fmla="*/ 44484 w 213600"/>
                <a:gd name="connsiteY49" fmla="*/ 78380 h 276243"/>
                <a:gd name="connsiteX50" fmla="*/ 32828 w 213600"/>
                <a:gd name="connsiteY50" fmla="*/ 61666 h 276243"/>
                <a:gd name="connsiteX51" fmla="*/ 41210 w 213600"/>
                <a:gd name="connsiteY51" fmla="*/ 27410 h 276243"/>
                <a:gd name="connsiteX52" fmla="*/ 59141 w 213600"/>
                <a:gd name="connsiteY52" fmla="*/ 169 h 276243"/>
                <a:gd name="connsiteX53" fmla="*/ 77573 w 213600"/>
                <a:gd name="connsiteY53" fmla="*/ 2842 h 27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13600" h="276243">
                  <a:moveTo>
                    <a:pt x="19350" y="114098"/>
                  </a:moveTo>
                  <a:lnTo>
                    <a:pt x="44092" y="133901"/>
                  </a:lnTo>
                  <a:lnTo>
                    <a:pt x="31722" y="155717"/>
                  </a:lnTo>
                  <a:lnTo>
                    <a:pt x="14275" y="149192"/>
                  </a:lnTo>
                  <a:lnTo>
                    <a:pt x="0" y="149628"/>
                  </a:lnTo>
                  <a:lnTo>
                    <a:pt x="4758" y="132586"/>
                  </a:lnTo>
                  <a:lnTo>
                    <a:pt x="0" y="115424"/>
                  </a:lnTo>
                  <a:close/>
                  <a:moveTo>
                    <a:pt x="105422" y="0"/>
                  </a:moveTo>
                  <a:lnTo>
                    <a:pt x="80751" y="36267"/>
                  </a:lnTo>
                  <a:lnTo>
                    <a:pt x="104268" y="31707"/>
                  </a:lnTo>
                  <a:lnTo>
                    <a:pt x="129560" y="31881"/>
                  </a:lnTo>
                  <a:lnTo>
                    <a:pt x="123542" y="58869"/>
                  </a:lnTo>
                  <a:lnTo>
                    <a:pt x="102791" y="88196"/>
                  </a:lnTo>
                  <a:lnTo>
                    <a:pt x="126658" y="90270"/>
                  </a:lnTo>
                  <a:lnTo>
                    <a:pt x="128489" y="93682"/>
                  </a:lnTo>
                  <a:lnTo>
                    <a:pt x="149048" y="131655"/>
                  </a:lnTo>
                  <a:lnTo>
                    <a:pt x="164849" y="136778"/>
                  </a:lnTo>
                  <a:lnTo>
                    <a:pt x="179055" y="172807"/>
                  </a:lnTo>
                  <a:lnTo>
                    <a:pt x="185634" y="185174"/>
                  </a:lnTo>
                  <a:lnTo>
                    <a:pt x="213600" y="191116"/>
                  </a:lnTo>
                  <a:lnTo>
                    <a:pt x="210794" y="210960"/>
                  </a:lnTo>
                  <a:lnTo>
                    <a:pt x="199035" y="220006"/>
                  </a:lnTo>
                  <a:lnTo>
                    <a:pt x="208252" y="235886"/>
                  </a:lnTo>
                  <a:lnTo>
                    <a:pt x="187489" y="251860"/>
                  </a:lnTo>
                  <a:lnTo>
                    <a:pt x="156608" y="251579"/>
                  </a:lnTo>
                  <a:lnTo>
                    <a:pt x="117310" y="259927"/>
                  </a:lnTo>
                  <a:lnTo>
                    <a:pt x="106547" y="253953"/>
                  </a:lnTo>
                  <a:lnTo>
                    <a:pt x="91285" y="268149"/>
                  </a:lnTo>
                  <a:lnTo>
                    <a:pt x="69932" y="264717"/>
                  </a:lnTo>
                  <a:lnTo>
                    <a:pt x="53716" y="276243"/>
                  </a:lnTo>
                  <a:lnTo>
                    <a:pt x="41447" y="270223"/>
                  </a:lnTo>
                  <a:lnTo>
                    <a:pt x="75299" y="238316"/>
                  </a:lnTo>
                  <a:lnTo>
                    <a:pt x="95962" y="231704"/>
                  </a:lnTo>
                  <a:lnTo>
                    <a:pt x="95780" y="231678"/>
                  </a:lnTo>
                  <a:lnTo>
                    <a:pt x="59733" y="226566"/>
                  </a:lnTo>
                  <a:lnTo>
                    <a:pt x="53202" y="214314"/>
                  </a:lnTo>
                  <a:lnTo>
                    <a:pt x="77322" y="204729"/>
                  </a:lnTo>
                  <a:lnTo>
                    <a:pt x="64681" y="187983"/>
                  </a:lnTo>
                  <a:lnTo>
                    <a:pt x="69067" y="167465"/>
                  </a:lnTo>
                  <a:lnTo>
                    <a:pt x="103372" y="170309"/>
                  </a:lnTo>
                  <a:lnTo>
                    <a:pt x="103412" y="170312"/>
                  </a:lnTo>
                  <a:lnTo>
                    <a:pt x="106807" y="152002"/>
                  </a:lnTo>
                  <a:lnTo>
                    <a:pt x="91348" y="132423"/>
                  </a:lnTo>
                  <a:lnTo>
                    <a:pt x="90995" y="131974"/>
                  </a:lnTo>
                  <a:lnTo>
                    <a:pt x="62969" y="126350"/>
                  </a:lnTo>
                  <a:lnTo>
                    <a:pt x="57467" y="117674"/>
                  </a:lnTo>
                  <a:lnTo>
                    <a:pt x="65856" y="103279"/>
                  </a:lnTo>
                  <a:lnTo>
                    <a:pt x="58265" y="94360"/>
                  </a:lnTo>
                  <a:lnTo>
                    <a:pt x="45836" y="109646"/>
                  </a:lnTo>
                  <a:lnTo>
                    <a:pt x="44484" y="78380"/>
                  </a:lnTo>
                  <a:lnTo>
                    <a:pt x="32828" y="61666"/>
                  </a:lnTo>
                  <a:lnTo>
                    <a:pt x="41210" y="27410"/>
                  </a:lnTo>
                  <a:lnTo>
                    <a:pt x="59141" y="169"/>
                  </a:lnTo>
                  <a:lnTo>
                    <a:pt x="77573" y="284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9" name="Freeform 33">
              <a:extLst>
                <a:ext uri="{FF2B5EF4-FFF2-40B4-BE49-F238E27FC236}">
                  <a16:creationId xmlns:a16="http://schemas.microsoft.com/office/drawing/2014/main" id="{8FB74885-5282-426B-B815-923F977B45AA}"/>
                </a:ext>
              </a:extLst>
            </p:cNvPr>
            <p:cNvSpPr>
              <a:spLocks noChangeAspect="1"/>
            </p:cNvSpPr>
            <p:nvPr>
              <p:custDataLst>
                <p:tags r:id="rId41"/>
              </p:custDataLst>
            </p:nvPr>
          </p:nvSpPr>
          <p:spPr>
            <a:xfrm>
              <a:off x="5757845" y="3593478"/>
              <a:ext cx="337691" cy="238008"/>
            </a:xfrm>
            <a:custGeom>
              <a:avLst/>
              <a:gdLst/>
              <a:ahLst/>
              <a:cxnLst/>
              <a:rect l="0" t="0" r="0" b="0"/>
              <a:pathLst>
                <a:path w="337691" h="238008">
                  <a:moveTo>
                    <a:pt x="15751" y="75342"/>
                  </a:moveTo>
                  <a:lnTo>
                    <a:pt x="39291" y="85295"/>
                  </a:lnTo>
                  <a:lnTo>
                    <a:pt x="56696" y="81800"/>
                  </a:lnTo>
                  <a:lnTo>
                    <a:pt x="61518" y="69897"/>
                  </a:lnTo>
                  <a:lnTo>
                    <a:pt x="79738" y="65927"/>
                  </a:lnTo>
                  <a:lnTo>
                    <a:pt x="92747" y="57907"/>
                  </a:lnTo>
                  <a:lnTo>
                    <a:pt x="97355" y="36724"/>
                  </a:lnTo>
                  <a:lnTo>
                    <a:pt x="116810" y="31581"/>
                  </a:lnTo>
                  <a:lnTo>
                    <a:pt x="120426" y="22095"/>
                  </a:lnTo>
                  <a:lnTo>
                    <a:pt x="131316" y="29223"/>
                  </a:lnTo>
                  <a:lnTo>
                    <a:pt x="138269" y="30049"/>
                  </a:lnTo>
                  <a:lnTo>
                    <a:pt x="151130" y="30226"/>
                  </a:lnTo>
                  <a:lnTo>
                    <a:pt x="168539" y="35842"/>
                  </a:lnTo>
                  <a:lnTo>
                    <a:pt x="175592" y="39080"/>
                  </a:lnTo>
                  <a:lnTo>
                    <a:pt x="192302" y="30540"/>
                  </a:lnTo>
                  <a:lnTo>
                    <a:pt x="200077" y="35679"/>
                  </a:lnTo>
                  <a:lnTo>
                    <a:pt x="207521" y="23487"/>
                  </a:lnTo>
                  <a:lnTo>
                    <a:pt x="221320" y="24041"/>
                  </a:lnTo>
                  <a:lnTo>
                    <a:pt x="224874" y="20120"/>
                  </a:lnTo>
                  <a:lnTo>
                    <a:pt x="227315" y="9334"/>
                  </a:lnTo>
                  <a:lnTo>
                    <a:pt x="237252" y="0"/>
                  </a:lnTo>
                  <a:lnTo>
                    <a:pt x="249747" y="6103"/>
                  </a:lnTo>
                  <a:lnTo>
                    <a:pt x="247238" y="14290"/>
                  </a:lnTo>
                  <a:lnTo>
                    <a:pt x="254220" y="15560"/>
                  </a:lnTo>
                  <a:lnTo>
                    <a:pt x="252068" y="37950"/>
                  </a:lnTo>
                  <a:lnTo>
                    <a:pt x="261208" y="46637"/>
                  </a:lnTo>
                  <a:lnTo>
                    <a:pt x="269250" y="41066"/>
                  </a:lnTo>
                  <a:lnTo>
                    <a:pt x="279495" y="38431"/>
                  </a:lnTo>
                  <a:lnTo>
                    <a:pt x="293879" y="26520"/>
                  </a:lnTo>
                  <a:lnTo>
                    <a:pt x="309775" y="28483"/>
                  </a:lnTo>
                  <a:lnTo>
                    <a:pt x="333580" y="28525"/>
                  </a:lnTo>
                  <a:lnTo>
                    <a:pt x="337690" y="36160"/>
                  </a:lnTo>
                  <a:lnTo>
                    <a:pt x="324253" y="39140"/>
                  </a:lnTo>
                  <a:lnTo>
                    <a:pt x="312519" y="44040"/>
                  </a:lnTo>
                  <a:lnTo>
                    <a:pt x="286031" y="47118"/>
                  </a:lnTo>
                  <a:lnTo>
                    <a:pt x="261246" y="52678"/>
                  </a:lnTo>
                  <a:lnTo>
                    <a:pt x="247767" y="64177"/>
                  </a:lnTo>
                  <a:lnTo>
                    <a:pt x="253225" y="75329"/>
                  </a:lnTo>
                  <a:lnTo>
                    <a:pt x="255863" y="88371"/>
                  </a:lnTo>
                  <a:lnTo>
                    <a:pt x="244367" y="99348"/>
                  </a:lnTo>
                  <a:lnTo>
                    <a:pt x="245330" y="109358"/>
                  </a:lnTo>
                  <a:lnTo>
                    <a:pt x="238983" y="118714"/>
                  </a:lnTo>
                  <a:lnTo>
                    <a:pt x="217026" y="117903"/>
                  </a:lnTo>
                  <a:lnTo>
                    <a:pt x="226098" y="135035"/>
                  </a:lnTo>
                  <a:lnTo>
                    <a:pt x="211407" y="141566"/>
                  </a:lnTo>
                  <a:lnTo>
                    <a:pt x="201606" y="157099"/>
                  </a:lnTo>
                  <a:lnTo>
                    <a:pt x="202881" y="172491"/>
                  </a:lnTo>
                  <a:lnTo>
                    <a:pt x="193854" y="179677"/>
                  </a:lnTo>
                  <a:lnTo>
                    <a:pt x="185319" y="177299"/>
                  </a:lnTo>
                  <a:lnTo>
                    <a:pt x="167678" y="180628"/>
                  </a:lnTo>
                  <a:lnTo>
                    <a:pt x="165155" y="187763"/>
                  </a:lnTo>
                  <a:lnTo>
                    <a:pt x="147970" y="187718"/>
                  </a:lnTo>
                  <a:lnTo>
                    <a:pt x="135103" y="202112"/>
                  </a:lnTo>
                  <a:lnTo>
                    <a:pt x="134296" y="223656"/>
                  </a:lnTo>
                  <a:lnTo>
                    <a:pt x="104297" y="234140"/>
                  </a:lnTo>
                  <a:lnTo>
                    <a:pt x="88221" y="231927"/>
                  </a:lnTo>
                  <a:lnTo>
                    <a:pt x="83549" y="237447"/>
                  </a:lnTo>
                  <a:lnTo>
                    <a:pt x="69752" y="234238"/>
                  </a:lnTo>
                  <a:lnTo>
                    <a:pt x="46660" y="238007"/>
                  </a:lnTo>
                  <a:lnTo>
                    <a:pt x="7982" y="225138"/>
                  </a:lnTo>
                  <a:lnTo>
                    <a:pt x="28918" y="202190"/>
                  </a:lnTo>
                  <a:lnTo>
                    <a:pt x="27027" y="185817"/>
                  </a:lnTo>
                  <a:lnTo>
                    <a:pt x="9545" y="181518"/>
                  </a:lnTo>
                  <a:lnTo>
                    <a:pt x="7738" y="165283"/>
                  </a:lnTo>
                  <a:lnTo>
                    <a:pt x="176" y="144769"/>
                  </a:lnTo>
                  <a:lnTo>
                    <a:pt x="10047" y="130633"/>
                  </a:lnTo>
                  <a:lnTo>
                    <a:pt x="0" y="126812"/>
                  </a:lnTo>
                  <a:lnTo>
                    <a:pt x="6342" y="1079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0" name="Freeform 34">
              <a:extLst>
                <a:ext uri="{FF2B5EF4-FFF2-40B4-BE49-F238E27FC236}">
                  <a16:creationId xmlns:a16="http://schemas.microsoft.com/office/drawing/2014/main" id="{F0BD80FA-0398-4BC7-9503-6A4619C164F3}"/>
                </a:ext>
              </a:extLst>
            </p:cNvPr>
            <p:cNvSpPr>
              <a:spLocks noChangeAspect="1"/>
            </p:cNvSpPr>
            <p:nvPr>
              <p:custDataLst>
                <p:tags r:id="rId42"/>
              </p:custDataLst>
            </p:nvPr>
          </p:nvSpPr>
          <p:spPr>
            <a:xfrm>
              <a:off x="4629371" y="4630477"/>
              <a:ext cx="287144" cy="315772"/>
            </a:xfrm>
            <a:custGeom>
              <a:avLst/>
              <a:gdLst/>
              <a:ahLst/>
              <a:cxnLst/>
              <a:rect l="l" t="t" r="r" b="b"/>
              <a:pathLst>
                <a:path w="287144" h="315772">
                  <a:moveTo>
                    <a:pt x="40060" y="33006"/>
                  </a:moveTo>
                  <a:lnTo>
                    <a:pt x="108175" y="33313"/>
                  </a:lnTo>
                  <a:lnTo>
                    <a:pt x="113869" y="50579"/>
                  </a:lnTo>
                  <a:lnTo>
                    <a:pt x="120494" y="64486"/>
                  </a:lnTo>
                  <a:lnTo>
                    <a:pt x="125798" y="71990"/>
                  </a:lnTo>
                  <a:lnTo>
                    <a:pt x="134638" y="84132"/>
                  </a:lnTo>
                  <a:lnTo>
                    <a:pt x="149902" y="82253"/>
                  </a:lnTo>
                  <a:lnTo>
                    <a:pt x="157518" y="78986"/>
                  </a:lnTo>
                  <a:lnTo>
                    <a:pt x="170273" y="82266"/>
                  </a:lnTo>
                  <a:lnTo>
                    <a:pt x="173732" y="76459"/>
                  </a:lnTo>
                  <a:lnTo>
                    <a:pt x="179523" y="62934"/>
                  </a:lnTo>
                  <a:lnTo>
                    <a:pt x="193840" y="62028"/>
                  </a:lnTo>
                  <a:lnTo>
                    <a:pt x="195084" y="58009"/>
                  </a:lnTo>
                  <a:lnTo>
                    <a:pt x="206861" y="57922"/>
                  </a:lnTo>
                  <a:lnTo>
                    <a:pt x="204851" y="66280"/>
                  </a:lnTo>
                  <a:lnTo>
                    <a:pt x="232859" y="66077"/>
                  </a:lnTo>
                  <a:lnTo>
                    <a:pt x="233282" y="80683"/>
                  </a:lnTo>
                  <a:lnTo>
                    <a:pt x="237960" y="89646"/>
                  </a:lnTo>
                  <a:lnTo>
                    <a:pt x="234559" y="103662"/>
                  </a:lnTo>
                  <a:lnTo>
                    <a:pt x="236253" y="117976"/>
                  </a:lnTo>
                  <a:lnTo>
                    <a:pt x="243953" y="126621"/>
                  </a:lnTo>
                  <a:lnTo>
                    <a:pt x="242718" y="154387"/>
                  </a:lnTo>
                  <a:lnTo>
                    <a:pt x="248432" y="152244"/>
                  </a:lnTo>
                  <a:lnTo>
                    <a:pt x="258462" y="152818"/>
                  </a:lnTo>
                  <a:lnTo>
                    <a:pt x="272761" y="149320"/>
                  </a:lnTo>
                  <a:lnTo>
                    <a:pt x="283273" y="150697"/>
                  </a:lnTo>
                  <a:lnTo>
                    <a:pt x="285713" y="157950"/>
                  </a:lnTo>
                  <a:lnTo>
                    <a:pt x="283087" y="169291"/>
                  </a:lnTo>
                  <a:lnTo>
                    <a:pt x="287144" y="180269"/>
                  </a:lnTo>
                  <a:lnTo>
                    <a:pt x="283705" y="189046"/>
                  </a:lnTo>
                  <a:lnTo>
                    <a:pt x="285672" y="197142"/>
                  </a:lnTo>
                  <a:lnTo>
                    <a:pt x="237608" y="196846"/>
                  </a:lnTo>
                  <a:lnTo>
                    <a:pt x="236546" y="271828"/>
                  </a:lnTo>
                  <a:lnTo>
                    <a:pt x="252118" y="291224"/>
                  </a:lnTo>
                  <a:lnTo>
                    <a:pt x="267181" y="306070"/>
                  </a:lnTo>
                  <a:lnTo>
                    <a:pt x="224758" y="315772"/>
                  </a:lnTo>
                  <a:lnTo>
                    <a:pt x="168875" y="312401"/>
                  </a:lnTo>
                  <a:lnTo>
                    <a:pt x="152882" y="301000"/>
                  </a:lnTo>
                  <a:lnTo>
                    <a:pt x="59313" y="302026"/>
                  </a:lnTo>
                  <a:lnTo>
                    <a:pt x="55823" y="303698"/>
                  </a:lnTo>
                  <a:lnTo>
                    <a:pt x="42063" y="292952"/>
                  </a:lnTo>
                  <a:lnTo>
                    <a:pt x="27099" y="292243"/>
                  </a:lnTo>
                  <a:lnTo>
                    <a:pt x="13281" y="296288"/>
                  </a:lnTo>
                  <a:lnTo>
                    <a:pt x="2172" y="300809"/>
                  </a:lnTo>
                  <a:lnTo>
                    <a:pt x="0" y="285877"/>
                  </a:lnTo>
                  <a:lnTo>
                    <a:pt x="3195" y="265047"/>
                  </a:lnTo>
                  <a:lnTo>
                    <a:pt x="11160" y="243421"/>
                  </a:lnTo>
                  <a:lnTo>
                    <a:pt x="12361" y="233303"/>
                  </a:lnTo>
                  <a:lnTo>
                    <a:pt x="19851" y="212092"/>
                  </a:lnTo>
                  <a:lnTo>
                    <a:pt x="25354" y="202466"/>
                  </a:lnTo>
                  <a:lnTo>
                    <a:pt x="38613" y="187119"/>
                  </a:lnTo>
                  <a:lnTo>
                    <a:pt x="46018" y="176694"/>
                  </a:lnTo>
                  <a:lnTo>
                    <a:pt x="48442" y="159366"/>
                  </a:lnTo>
                  <a:lnTo>
                    <a:pt x="47234" y="146127"/>
                  </a:lnTo>
                  <a:lnTo>
                    <a:pt x="40331" y="137784"/>
                  </a:lnTo>
                  <a:lnTo>
                    <a:pt x="34183" y="123641"/>
                  </a:lnTo>
                  <a:lnTo>
                    <a:pt x="28513" y="109670"/>
                  </a:lnTo>
                  <a:lnTo>
                    <a:pt x="29753" y="104834"/>
                  </a:lnTo>
                  <a:lnTo>
                    <a:pt x="36848" y="95613"/>
                  </a:lnTo>
                  <a:lnTo>
                    <a:pt x="29845" y="73171"/>
                  </a:lnTo>
                  <a:lnTo>
                    <a:pt x="25119" y="57639"/>
                  </a:lnTo>
                  <a:lnTo>
                    <a:pt x="13555" y="42973"/>
                  </a:lnTo>
                  <a:lnTo>
                    <a:pt x="15750" y="38470"/>
                  </a:lnTo>
                  <a:lnTo>
                    <a:pt x="25277" y="35356"/>
                  </a:lnTo>
                  <a:lnTo>
                    <a:pt x="31964" y="35790"/>
                  </a:lnTo>
                  <a:close/>
                  <a:moveTo>
                    <a:pt x="22637" y="0"/>
                  </a:moveTo>
                  <a:lnTo>
                    <a:pt x="31287" y="7935"/>
                  </a:lnTo>
                  <a:lnTo>
                    <a:pt x="22887" y="12798"/>
                  </a:lnTo>
                  <a:lnTo>
                    <a:pt x="19110" y="18748"/>
                  </a:lnTo>
                  <a:lnTo>
                    <a:pt x="18388" y="28840"/>
                  </a:lnTo>
                  <a:lnTo>
                    <a:pt x="12516" y="31286"/>
                  </a:lnTo>
                  <a:lnTo>
                    <a:pt x="6345" y="13879"/>
                  </a:lnTo>
                  <a:lnTo>
                    <a:pt x="15662" y="389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1" name="Freeform 35">
              <a:extLst>
                <a:ext uri="{FF2B5EF4-FFF2-40B4-BE49-F238E27FC236}">
                  <a16:creationId xmlns:a16="http://schemas.microsoft.com/office/drawing/2014/main" id="{48762322-5E04-45EE-B582-48EF81ED232D}"/>
                </a:ext>
              </a:extLst>
            </p:cNvPr>
            <p:cNvSpPr>
              <a:spLocks noChangeAspect="1"/>
            </p:cNvSpPr>
            <p:nvPr>
              <p:custDataLst>
                <p:tags r:id="rId43"/>
              </p:custDataLst>
            </p:nvPr>
          </p:nvSpPr>
          <p:spPr>
            <a:xfrm>
              <a:off x="4806286" y="3478483"/>
              <a:ext cx="39600" cy="84252"/>
            </a:xfrm>
            <a:custGeom>
              <a:avLst/>
              <a:gdLst/>
              <a:ahLst/>
              <a:cxnLst/>
              <a:rect l="0" t="0" r="0" b="0"/>
              <a:pathLst>
                <a:path w="39600" h="84252">
                  <a:moveTo>
                    <a:pt x="29679" y="23140"/>
                  </a:moveTo>
                  <a:lnTo>
                    <a:pt x="26745" y="32543"/>
                  </a:lnTo>
                  <a:lnTo>
                    <a:pt x="30023" y="44352"/>
                  </a:lnTo>
                  <a:lnTo>
                    <a:pt x="39599" y="51037"/>
                  </a:lnTo>
                  <a:lnTo>
                    <a:pt x="39136" y="58233"/>
                  </a:lnTo>
                  <a:lnTo>
                    <a:pt x="31635" y="62197"/>
                  </a:lnTo>
                  <a:lnTo>
                    <a:pt x="30250" y="71064"/>
                  </a:lnTo>
                  <a:lnTo>
                    <a:pt x="19517" y="84251"/>
                  </a:lnTo>
                  <a:lnTo>
                    <a:pt x="15592" y="82351"/>
                  </a:lnTo>
                  <a:lnTo>
                    <a:pt x="15131" y="76372"/>
                  </a:lnTo>
                  <a:lnTo>
                    <a:pt x="2345" y="67227"/>
                  </a:lnTo>
                  <a:lnTo>
                    <a:pt x="336" y="54203"/>
                  </a:lnTo>
                  <a:lnTo>
                    <a:pt x="2286" y="35453"/>
                  </a:lnTo>
                  <a:lnTo>
                    <a:pt x="5437" y="26885"/>
                  </a:lnTo>
                  <a:lnTo>
                    <a:pt x="1553" y="22527"/>
                  </a:lnTo>
                  <a:lnTo>
                    <a:pt x="0" y="13705"/>
                  </a:lnTo>
                  <a:lnTo>
                    <a:pt x="10008" y="0"/>
                  </a:lnTo>
                  <a:lnTo>
                    <a:pt x="11475" y="5244"/>
                  </a:lnTo>
                  <a:lnTo>
                    <a:pt x="17686" y="2777"/>
                  </a:lnTo>
                  <a:lnTo>
                    <a:pt x="22604" y="10246"/>
                  </a:lnTo>
                  <a:lnTo>
                    <a:pt x="28125" y="130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2" name="Freeform 36">
              <a:extLst>
                <a:ext uri="{FF2B5EF4-FFF2-40B4-BE49-F238E27FC236}">
                  <a16:creationId xmlns:a16="http://schemas.microsoft.com/office/drawing/2014/main" id="{7664CA0E-E14D-489B-8CC8-DAEEF7E64776}"/>
                </a:ext>
              </a:extLst>
            </p:cNvPr>
            <p:cNvSpPr>
              <a:spLocks noChangeAspect="1"/>
            </p:cNvSpPr>
            <p:nvPr>
              <p:custDataLst>
                <p:tags r:id="rId44"/>
              </p:custDataLst>
            </p:nvPr>
          </p:nvSpPr>
          <p:spPr>
            <a:xfrm>
              <a:off x="5551280" y="3912817"/>
              <a:ext cx="111197" cy="87108"/>
            </a:xfrm>
            <a:custGeom>
              <a:avLst/>
              <a:gdLst/>
              <a:ahLst/>
              <a:cxnLst/>
              <a:rect l="0" t="0" r="0" b="0"/>
              <a:pathLst>
                <a:path w="111197" h="87108">
                  <a:moveTo>
                    <a:pt x="0" y="44496"/>
                  </a:moveTo>
                  <a:lnTo>
                    <a:pt x="4107" y="43307"/>
                  </a:lnTo>
                  <a:lnTo>
                    <a:pt x="4960" y="50016"/>
                  </a:lnTo>
                  <a:lnTo>
                    <a:pt x="23026" y="46162"/>
                  </a:lnTo>
                  <a:lnTo>
                    <a:pt x="42114" y="46800"/>
                  </a:lnTo>
                  <a:lnTo>
                    <a:pt x="56056" y="47523"/>
                  </a:lnTo>
                  <a:lnTo>
                    <a:pt x="71868" y="30960"/>
                  </a:lnTo>
                  <a:lnTo>
                    <a:pt x="89088" y="15198"/>
                  </a:lnTo>
                  <a:lnTo>
                    <a:pt x="103671" y="0"/>
                  </a:lnTo>
                  <a:lnTo>
                    <a:pt x="108062" y="8411"/>
                  </a:lnTo>
                  <a:lnTo>
                    <a:pt x="111196" y="27846"/>
                  </a:lnTo>
                  <a:lnTo>
                    <a:pt x="99410" y="27942"/>
                  </a:lnTo>
                  <a:lnTo>
                    <a:pt x="97515" y="43906"/>
                  </a:lnTo>
                  <a:lnTo>
                    <a:pt x="101603" y="47308"/>
                  </a:lnTo>
                  <a:lnTo>
                    <a:pt x="91156" y="52123"/>
                  </a:lnTo>
                  <a:lnTo>
                    <a:pt x="91091" y="62100"/>
                  </a:lnTo>
                  <a:lnTo>
                    <a:pt x="84366" y="72183"/>
                  </a:lnTo>
                  <a:lnTo>
                    <a:pt x="83763" y="81974"/>
                  </a:lnTo>
                  <a:lnTo>
                    <a:pt x="79111" y="87107"/>
                  </a:lnTo>
                  <a:lnTo>
                    <a:pt x="9722" y="74856"/>
                  </a:lnTo>
                  <a:lnTo>
                    <a:pt x="881" y="5015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3" name="Freeform 37">
              <a:extLst>
                <a:ext uri="{FF2B5EF4-FFF2-40B4-BE49-F238E27FC236}">
                  <a16:creationId xmlns:a16="http://schemas.microsoft.com/office/drawing/2014/main" id="{2F42E7FA-9B1D-4BBA-933F-04726D6814B4}"/>
                </a:ext>
              </a:extLst>
            </p:cNvPr>
            <p:cNvSpPr>
              <a:spLocks noChangeAspect="1"/>
            </p:cNvSpPr>
            <p:nvPr>
              <p:custDataLst>
                <p:tags r:id="rId45"/>
              </p:custDataLst>
            </p:nvPr>
          </p:nvSpPr>
          <p:spPr>
            <a:xfrm>
              <a:off x="5366693" y="3518383"/>
              <a:ext cx="67471" cy="68239"/>
            </a:xfrm>
            <a:custGeom>
              <a:avLst/>
              <a:gdLst/>
              <a:ahLst/>
              <a:cxnLst/>
              <a:rect l="0" t="0" r="0" b="0"/>
              <a:pathLst>
                <a:path w="67471" h="68239">
                  <a:moveTo>
                    <a:pt x="0" y="4290"/>
                  </a:moveTo>
                  <a:lnTo>
                    <a:pt x="32079" y="0"/>
                  </a:lnTo>
                  <a:lnTo>
                    <a:pt x="36857" y="7223"/>
                  </a:lnTo>
                  <a:lnTo>
                    <a:pt x="45648" y="11971"/>
                  </a:lnTo>
                  <a:lnTo>
                    <a:pt x="41005" y="18839"/>
                  </a:lnTo>
                  <a:lnTo>
                    <a:pt x="53301" y="28208"/>
                  </a:lnTo>
                  <a:lnTo>
                    <a:pt x="46795" y="36881"/>
                  </a:lnTo>
                  <a:lnTo>
                    <a:pt x="56594" y="44269"/>
                  </a:lnTo>
                  <a:lnTo>
                    <a:pt x="66957" y="48711"/>
                  </a:lnTo>
                  <a:lnTo>
                    <a:pt x="67470" y="67446"/>
                  </a:lnTo>
                  <a:lnTo>
                    <a:pt x="59112" y="68238"/>
                  </a:lnTo>
                  <a:lnTo>
                    <a:pt x="49688" y="52622"/>
                  </a:lnTo>
                  <a:lnTo>
                    <a:pt x="49795" y="48444"/>
                  </a:lnTo>
                  <a:lnTo>
                    <a:pt x="39596" y="48505"/>
                  </a:lnTo>
                  <a:lnTo>
                    <a:pt x="32760" y="41229"/>
                  </a:lnTo>
                  <a:lnTo>
                    <a:pt x="27959" y="41962"/>
                  </a:lnTo>
                  <a:lnTo>
                    <a:pt x="18865" y="34024"/>
                  </a:lnTo>
                  <a:lnTo>
                    <a:pt x="1701" y="27251"/>
                  </a:lnTo>
                  <a:lnTo>
                    <a:pt x="3922" y="1394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4" name="Freeform 38">
              <a:extLst>
                <a:ext uri="{FF2B5EF4-FFF2-40B4-BE49-F238E27FC236}">
                  <a16:creationId xmlns:a16="http://schemas.microsoft.com/office/drawing/2014/main" id="{4BDE5C3F-6F8B-4D54-9527-F60ABFF7170F}"/>
                </a:ext>
              </a:extLst>
            </p:cNvPr>
            <p:cNvSpPr>
              <a:spLocks noChangeAspect="1"/>
            </p:cNvSpPr>
            <p:nvPr>
              <p:custDataLst>
                <p:tags r:id="rId46"/>
              </p:custDataLst>
            </p:nvPr>
          </p:nvSpPr>
          <p:spPr>
            <a:xfrm>
              <a:off x="6976852" y="4775136"/>
              <a:ext cx="928629" cy="828837"/>
            </a:xfrm>
            <a:custGeom>
              <a:avLst/>
              <a:gdLst/>
              <a:ahLst/>
              <a:cxnLst/>
              <a:rect l="l" t="t" r="r" b="b"/>
              <a:pathLst>
                <a:path w="928629" h="828837">
                  <a:moveTo>
                    <a:pt x="724907" y="747483"/>
                  </a:moveTo>
                  <a:lnTo>
                    <a:pt x="740009" y="749910"/>
                  </a:lnTo>
                  <a:lnTo>
                    <a:pt x="762310" y="759385"/>
                  </a:lnTo>
                  <a:lnTo>
                    <a:pt x="774878" y="755616"/>
                  </a:lnTo>
                  <a:lnTo>
                    <a:pt x="792898" y="750340"/>
                  </a:lnTo>
                  <a:lnTo>
                    <a:pt x="806743" y="752182"/>
                  </a:lnTo>
                  <a:lnTo>
                    <a:pt x="808377" y="784918"/>
                  </a:lnTo>
                  <a:lnTo>
                    <a:pt x="800470" y="794488"/>
                  </a:lnTo>
                  <a:lnTo>
                    <a:pt x="798087" y="816954"/>
                  </a:lnTo>
                  <a:lnTo>
                    <a:pt x="790020" y="809288"/>
                  </a:lnTo>
                  <a:lnTo>
                    <a:pt x="773995" y="828837"/>
                  </a:lnTo>
                  <a:lnTo>
                    <a:pt x="769216" y="827325"/>
                  </a:lnTo>
                  <a:lnTo>
                    <a:pt x="755022" y="826450"/>
                  </a:lnTo>
                  <a:lnTo>
                    <a:pt x="740792" y="802476"/>
                  </a:lnTo>
                  <a:lnTo>
                    <a:pt x="737634" y="784119"/>
                  </a:lnTo>
                  <a:lnTo>
                    <a:pt x="724315" y="760068"/>
                  </a:lnTo>
                  <a:close/>
                  <a:moveTo>
                    <a:pt x="673468" y="0"/>
                  </a:moveTo>
                  <a:lnTo>
                    <a:pt x="679978" y="11424"/>
                  </a:lnTo>
                  <a:lnTo>
                    <a:pt x="681582" y="26093"/>
                  </a:lnTo>
                  <a:lnTo>
                    <a:pt x="687334" y="28923"/>
                  </a:lnTo>
                  <a:lnTo>
                    <a:pt x="688319" y="38759"/>
                  </a:lnTo>
                  <a:lnTo>
                    <a:pt x="696709" y="50685"/>
                  </a:lnTo>
                  <a:lnTo>
                    <a:pt x="698442" y="63973"/>
                  </a:lnTo>
                  <a:lnTo>
                    <a:pt x="697625" y="72510"/>
                  </a:lnTo>
                  <a:lnTo>
                    <a:pt x="705942" y="90982"/>
                  </a:lnTo>
                  <a:lnTo>
                    <a:pt x="720752" y="82099"/>
                  </a:lnTo>
                  <a:lnTo>
                    <a:pt x="728397" y="92070"/>
                  </a:lnTo>
                  <a:lnTo>
                    <a:pt x="739472" y="101280"/>
                  </a:lnTo>
                  <a:lnTo>
                    <a:pt x="737100" y="111746"/>
                  </a:lnTo>
                  <a:lnTo>
                    <a:pt x="742023" y="132033"/>
                  </a:lnTo>
                  <a:lnTo>
                    <a:pt x="745527" y="143872"/>
                  </a:lnTo>
                  <a:lnTo>
                    <a:pt x="751341" y="146768"/>
                  </a:lnTo>
                  <a:lnTo>
                    <a:pt x="757605" y="167089"/>
                  </a:lnTo>
                  <a:lnTo>
                    <a:pt x="755375" y="179445"/>
                  </a:lnTo>
                  <a:lnTo>
                    <a:pt x="762849" y="195644"/>
                  </a:lnTo>
                  <a:lnTo>
                    <a:pt x="787862" y="208151"/>
                  </a:lnTo>
                  <a:lnTo>
                    <a:pt x="804170" y="219550"/>
                  </a:lnTo>
                  <a:lnTo>
                    <a:pt x="819654" y="230009"/>
                  </a:lnTo>
                  <a:lnTo>
                    <a:pt x="816631" y="235839"/>
                  </a:lnTo>
                  <a:lnTo>
                    <a:pt x="829834" y="250954"/>
                  </a:lnTo>
                  <a:lnTo>
                    <a:pt x="838810" y="277134"/>
                  </a:lnTo>
                  <a:lnTo>
                    <a:pt x="848022" y="271807"/>
                  </a:lnTo>
                  <a:lnTo>
                    <a:pt x="857384" y="282318"/>
                  </a:lnTo>
                  <a:lnTo>
                    <a:pt x="863023" y="278587"/>
                  </a:lnTo>
                  <a:lnTo>
                    <a:pt x="866999" y="304361"/>
                  </a:lnTo>
                  <a:lnTo>
                    <a:pt x="883380" y="319352"/>
                  </a:lnTo>
                  <a:lnTo>
                    <a:pt x="894099" y="328692"/>
                  </a:lnTo>
                  <a:lnTo>
                    <a:pt x="912142" y="348566"/>
                  </a:lnTo>
                  <a:lnTo>
                    <a:pt x="918627" y="368376"/>
                  </a:lnTo>
                  <a:lnTo>
                    <a:pt x="919222" y="382481"/>
                  </a:lnTo>
                  <a:lnTo>
                    <a:pt x="917629" y="397844"/>
                  </a:lnTo>
                  <a:lnTo>
                    <a:pt x="928629" y="419021"/>
                  </a:lnTo>
                  <a:lnTo>
                    <a:pt x="927305" y="441188"/>
                  </a:lnTo>
                  <a:lnTo>
                    <a:pt x="923312" y="452835"/>
                  </a:lnTo>
                  <a:lnTo>
                    <a:pt x="917082" y="475361"/>
                  </a:lnTo>
                  <a:lnTo>
                    <a:pt x="917552" y="489907"/>
                  </a:lnTo>
                  <a:lnTo>
                    <a:pt x="912981" y="508167"/>
                  </a:lnTo>
                  <a:lnTo>
                    <a:pt x="902789" y="531463"/>
                  </a:lnTo>
                  <a:lnTo>
                    <a:pt x="885687" y="544107"/>
                  </a:lnTo>
                  <a:lnTo>
                    <a:pt x="877259" y="564131"/>
                  </a:lnTo>
                  <a:lnTo>
                    <a:pt x="869562" y="576966"/>
                  </a:lnTo>
                  <a:lnTo>
                    <a:pt x="862721" y="599487"/>
                  </a:lnTo>
                  <a:lnTo>
                    <a:pt x="853812" y="612558"/>
                  </a:lnTo>
                  <a:lnTo>
                    <a:pt x="847972" y="632277"/>
                  </a:lnTo>
                  <a:lnTo>
                    <a:pt x="844992" y="650530"/>
                  </a:lnTo>
                  <a:lnTo>
                    <a:pt x="846173" y="658942"/>
                  </a:lnTo>
                  <a:lnTo>
                    <a:pt x="832937" y="668210"/>
                  </a:lnTo>
                  <a:lnTo>
                    <a:pt x="807102" y="669182"/>
                  </a:lnTo>
                  <a:lnTo>
                    <a:pt x="785799" y="680159"/>
                  </a:lnTo>
                  <a:lnTo>
                    <a:pt x="775190" y="690560"/>
                  </a:lnTo>
                  <a:lnTo>
                    <a:pt x="761243" y="702126"/>
                  </a:lnTo>
                  <a:lnTo>
                    <a:pt x="742125" y="690217"/>
                  </a:lnTo>
                  <a:lnTo>
                    <a:pt x="727983" y="685478"/>
                  </a:lnTo>
                  <a:lnTo>
                    <a:pt x="731566" y="671511"/>
                  </a:lnTo>
                  <a:lnTo>
                    <a:pt x="718950" y="676572"/>
                  </a:lnTo>
                  <a:lnTo>
                    <a:pt x="698737" y="696023"/>
                  </a:lnTo>
                  <a:lnTo>
                    <a:pt x="678781" y="688725"/>
                  </a:lnTo>
                  <a:lnTo>
                    <a:pt x="665691" y="684474"/>
                  </a:lnTo>
                  <a:lnTo>
                    <a:pt x="652493" y="682555"/>
                  </a:lnTo>
                  <a:lnTo>
                    <a:pt x="630150" y="674805"/>
                  </a:lnTo>
                  <a:lnTo>
                    <a:pt x="615228" y="658347"/>
                  </a:lnTo>
                  <a:lnTo>
                    <a:pt x="610945" y="638186"/>
                  </a:lnTo>
                  <a:lnTo>
                    <a:pt x="605579" y="624837"/>
                  </a:lnTo>
                  <a:lnTo>
                    <a:pt x="594238" y="614158"/>
                  </a:lnTo>
                  <a:lnTo>
                    <a:pt x="572031" y="610993"/>
                  </a:lnTo>
                  <a:lnTo>
                    <a:pt x="579619" y="598277"/>
                  </a:lnTo>
                  <a:lnTo>
                    <a:pt x="574035" y="578901"/>
                  </a:lnTo>
                  <a:lnTo>
                    <a:pt x="562761" y="596958"/>
                  </a:lnTo>
                  <a:lnTo>
                    <a:pt x="542223" y="601767"/>
                  </a:lnTo>
                  <a:lnTo>
                    <a:pt x="554295" y="587306"/>
                  </a:lnTo>
                  <a:lnTo>
                    <a:pt x="557792" y="572284"/>
                  </a:lnTo>
                  <a:lnTo>
                    <a:pt x="566708" y="559584"/>
                  </a:lnTo>
                  <a:lnTo>
                    <a:pt x="564866" y="540466"/>
                  </a:lnTo>
                  <a:lnTo>
                    <a:pt x="546088" y="562492"/>
                  </a:lnTo>
                  <a:lnTo>
                    <a:pt x="531667" y="571362"/>
                  </a:lnTo>
                  <a:lnTo>
                    <a:pt x="522825" y="592077"/>
                  </a:lnTo>
                  <a:lnTo>
                    <a:pt x="504802" y="581346"/>
                  </a:lnTo>
                  <a:lnTo>
                    <a:pt x="505518" y="567551"/>
                  </a:lnTo>
                  <a:lnTo>
                    <a:pt x="491073" y="548787"/>
                  </a:lnTo>
                  <a:lnTo>
                    <a:pt x="478896" y="539128"/>
                  </a:lnTo>
                  <a:lnTo>
                    <a:pt x="483235" y="533190"/>
                  </a:lnTo>
                  <a:lnTo>
                    <a:pt x="453618" y="517646"/>
                  </a:lnTo>
                  <a:lnTo>
                    <a:pt x="437398" y="516915"/>
                  </a:lnTo>
                  <a:lnTo>
                    <a:pt x="415198" y="504476"/>
                  </a:lnTo>
                  <a:lnTo>
                    <a:pt x="373868" y="506890"/>
                  </a:lnTo>
                  <a:lnTo>
                    <a:pt x="343979" y="516041"/>
                  </a:lnTo>
                  <a:lnTo>
                    <a:pt x="317709" y="524591"/>
                  </a:lnTo>
                  <a:lnTo>
                    <a:pt x="295685" y="522891"/>
                  </a:lnTo>
                  <a:lnTo>
                    <a:pt x="271214" y="536058"/>
                  </a:lnTo>
                  <a:lnTo>
                    <a:pt x="251202" y="541998"/>
                  </a:lnTo>
                  <a:lnTo>
                    <a:pt x="246754" y="555531"/>
                  </a:lnTo>
                  <a:lnTo>
                    <a:pt x="238231" y="566053"/>
                  </a:lnTo>
                  <a:lnTo>
                    <a:pt x="218642" y="566683"/>
                  </a:lnTo>
                  <a:lnTo>
                    <a:pt x="204147" y="568991"/>
                  </a:lnTo>
                  <a:lnTo>
                    <a:pt x="183744" y="564261"/>
                  </a:lnTo>
                  <a:lnTo>
                    <a:pt x="167150" y="567090"/>
                  </a:lnTo>
                  <a:lnTo>
                    <a:pt x="151302" y="568281"/>
                  </a:lnTo>
                  <a:lnTo>
                    <a:pt x="137573" y="582146"/>
                  </a:lnTo>
                  <a:lnTo>
                    <a:pt x="130842" y="580968"/>
                  </a:lnTo>
                  <a:lnTo>
                    <a:pt x="119264" y="588337"/>
                  </a:lnTo>
                  <a:lnTo>
                    <a:pt x="108167" y="596642"/>
                  </a:lnTo>
                  <a:lnTo>
                    <a:pt x="91329" y="595615"/>
                  </a:lnTo>
                  <a:lnTo>
                    <a:pt x="75854" y="595605"/>
                  </a:lnTo>
                  <a:lnTo>
                    <a:pt x="51369" y="578945"/>
                  </a:lnTo>
                  <a:lnTo>
                    <a:pt x="38961" y="574006"/>
                  </a:lnTo>
                  <a:lnTo>
                    <a:pt x="39464" y="559142"/>
                  </a:lnTo>
                  <a:lnTo>
                    <a:pt x="50925" y="555620"/>
                  </a:lnTo>
                  <a:lnTo>
                    <a:pt x="54839" y="549737"/>
                  </a:lnTo>
                  <a:lnTo>
                    <a:pt x="54024" y="540475"/>
                  </a:lnTo>
                  <a:lnTo>
                    <a:pt x="56847" y="522612"/>
                  </a:lnTo>
                  <a:lnTo>
                    <a:pt x="54260" y="507452"/>
                  </a:lnTo>
                  <a:lnTo>
                    <a:pt x="42057" y="481731"/>
                  </a:lnTo>
                  <a:lnTo>
                    <a:pt x="38274" y="467278"/>
                  </a:lnTo>
                  <a:lnTo>
                    <a:pt x="39266" y="452908"/>
                  </a:lnTo>
                  <a:lnTo>
                    <a:pt x="30078" y="436549"/>
                  </a:lnTo>
                  <a:lnTo>
                    <a:pt x="29490" y="429184"/>
                  </a:lnTo>
                  <a:lnTo>
                    <a:pt x="19266" y="419221"/>
                  </a:lnTo>
                  <a:lnTo>
                    <a:pt x="16388" y="399695"/>
                  </a:lnTo>
                  <a:lnTo>
                    <a:pt x="3199" y="380049"/>
                  </a:lnTo>
                  <a:lnTo>
                    <a:pt x="0" y="369497"/>
                  </a:lnTo>
                  <a:lnTo>
                    <a:pt x="10143" y="380195"/>
                  </a:lnTo>
                  <a:lnTo>
                    <a:pt x="2355" y="357276"/>
                  </a:lnTo>
                  <a:lnTo>
                    <a:pt x="13803" y="364427"/>
                  </a:lnTo>
                  <a:lnTo>
                    <a:pt x="20634" y="373993"/>
                  </a:lnTo>
                  <a:lnTo>
                    <a:pt x="20249" y="361344"/>
                  </a:lnTo>
                  <a:lnTo>
                    <a:pt x="8825" y="341964"/>
                  </a:lnTo>
                  <a:lnTo>
                    <a:pt x="6612" y="334234"/>
                  </a:lnTo>
                  <a:lnTo>
                    <a:pt x="1260" y="326901"/>
                  </a:lnTo>
                  <a:lnTo>
                    <a:pt x="3765" y="312757"/>
                  </a:lnTo>
                  <a:lnTo>
                    <a:pt x="8496" y="306750"/>
                  </a:lnTo>
                  <a:lnTo>
                    <a:pt x="11645" y="294563"/>
                  </a:lnTo>
                  <a:lnTo>
                    <a:pt x="9178" y="280360"/>
                  </a:lnTo>
                  <a:lnTo>
                    <a:pt x="18716" y="262925"/>
                  </a:lnTo>
                  <a:lnTo>
                    <a:pt x="20460" y="281379"/>
                  </a:lnTo>
                  <a:lnTo>
                    <a:pt x="30212" y="264706"/>
                  </a:lnTo>
                  <a:lnTo>
                    <a:pt x="48964" y="256622"/>
                  </a:lnTo>
                  <a:lnTo>
                    <a:pt x="60210" y="246326"/>
                  </a:lnTo>
                  <a:lnTo>
                    <a:pt x="77851" y="237481"/>
                  </a:lnTo>
                  <a:lnTo>
                    <a:pt x="88346" y="235601"/>
                  </a:lnTo>
                  <a:lnTo>
                    <a:pt x="94699" y="238570"/>
                  </a:lnTo>
                  <a:lnTo>
                    <a:pt x="112889" y="229600"/>
                  </a:lnTo>
                  <a:lnTo>
                    <a:pt x="126890" y="226934"/>
                  </a:lnTo>
                  <a:lnTo>
                    <a:pt x="130392" y="221669"/>
                  </a:lnTo>
                  <a:lnTo>
                    <a:pt x="136501" y="219478"/>
                  </a:lnTo>
                  <a:lnTo>
                    <a:pt x="149260" y="220044"/>
                  </a:lnTo>
                  <a:lnTo>
                    <a:pt x="173519" y="213018"/>
                  </a:lnTo>
                  <a:lnTo>
                    <a:pt x="186068" y="202380"/>
                  </a:lnTo>
                  <a:lnTo>
                    <a:pt x="191961" y="189597"/>
                  </a:lnTo>
                  <a:lnTo>
                    <a:pt x="205500" y="177479"/>
                  </a:lnTo>
                  <a:lnTo>
                    <a:pt x="206537" y="167969"/>
                  </a:lnTo>
                  <a:lnTo>
                    <a:pt x="207141" y="155036"/>
                  </a:lnTo>
                  <a:lnTo>
                    <a:pt x="223294" y="134866"/>
                  </a:lnTo>
                  <a:lnTo>
                    <a:pt x="233016" y="155358"/>
                  </a:lnTo>
                  <a:lnTo>
                    <a:pt x="242840" y="150617"/>
                  </a:lnTo>
                  <a:lnTo>
                    <a:pt x="234620" y="139402"/>
                  </a:lnTo>
                  <a:lnTo>
                    <a:pt x="241864" y="127904"/>
                  </a:lnTo>
                  <a:lnTo>
                    <a:pt x="252048" y="133035"/>
                  </a:lnTo>
                  <a:lnTo>
                    <a:pt x="254852" y="115027"/>
                  </a:lnTo>
                  <a:lnTo>
                    <a:pt x="267465" y="103407"/>
                  </a:lnTo>
                  <a:lnTo>
                    <a:pt x="273030" y="94095"/>
                  </a:lnTo>
                  <a:lnTo>
                    <a:pt x="284637" y="90081"/>
                  </a:lnTo>
                  <a:lnTo>
                    <a:pt x="284999" y="83499"/>
                  </a:lnTo>
                  <a:lnTo>
                    <a:pt x="295141" y="86247"/>
                  </a:lnTo>
                  <a:lnTo>
                    <a:pt x="295548" y="80329"/>
                  </a:lnTo>
                  <a:lnTo>
                    <a:pt x="305700" y="76959"/>
                  </a:lnTo>
                  <a:lnTo>
                    <a:pt x="316855" y="73788"/>
                  </a:lnTo>
                  <a:lnTo>
                    <a:pt x="333907" y="84588"/>
                  </a:lnTo>
                  <a:lnTo>
                    <a:pt x="346720" y="98548"/>
                  </a:lnTo>
                  <a:lnTo>
                    <a:pt x="361166" y="98708"/>
                  </a:lnTo>
                  <a:lnTo>
                    <a:pt x="375845" y="100921"/>
                  </a:lnTo>
                  <a:lnTo>
                    <a:pt x="370955" y="87975"/>
                  </a:lnTo>
                  <a:lnTo>
                    <a:pt x="382012" y="69102"/>
                  </a:lnTo>
                  <a:lnTo>
                    <a:pt x="392418" y="62962"/>
                  </a:lnTo>
                  <a:lnTo>
                    <a:pt x="388818" y="57095"/>
                  </a:lnTo>
                  <a:lnTo>
                    <a:pt x="398843" y="43697"/>
                  </a:lnTo>
                  <a:lnTo>
                    <a:pt x="412824" y="35432"/>
                  </a:lnTo>
                  <a:lnTo>
                    <a:pt x="424633" y="38215"/>
                  </a:lnTo>
                  <a:lnTo>
                    <a:pt x="444027" y="33802"/>
                  </a:lnTo>
                  <a:lnTo>
                    <a:pt x="443610" y="21843"/>
                  </a:lnTo>
                  <a:lnTo>
                    <a:pt x="426701" y="14145"/>
                  </a:lnTo>
                  <a:lnTo>
                    <a:pt x="438993" y="10751"/>
                  </a:lnTo>
                  <a:lnTo>
                    <a:pt x="454282" y="16544"/>
                  </a:lnTo>
                  <a:lnTo>
                    <a:pt x="466545" y="26135"/>
                  </a:lnTo>
                  <a:lnTo>
                    <a:pt x="485986" y="32124"/>
                  </a:lnTo>
                  <a:lnTo>
                    <a:pt x="492578" y="29755"/>
                  </a:lnTo>
                  <a:lnTo>
                    <a:pt x="506886" y="36954"/>
                  </a:lnTo>
                  <a:lnTo>
                    <a:pt x="520371" y="30249"/>
                  </a:lnTo>
                  <a:lnTo>
                    <a:pt x="529043" y="32287"/>
                  </a:lnTo>
                  <a:lnTo>
                    <a:pt x="534446" y="27790"/>
                  </a:lnTo>
                  <a:lnTo>
                    <a:pt x="545044" y="39375"/>
                  </a:lnTo>
                  <a:lnTo>
                    <a:pt x="538893" y="51924"/>
                  </a:lnTo>
                  <a:lnTo>
                    <a:pt x="530128" y="61408"/>
                  </a:lnTo>
                  <a:lnTo>
                    <a:pt x="522196" y="62190"/>
                  </a:lnTo>
                  <a:lnTo>
                    <a:pt x="524870" y="71584"/>
                  </a:lnTo>
                  <a:lnTo>
                    <a:pt x="518089" y="83342"/>
                  </a:lnTo>
                  <a:lnTo>
                    <a:pt x="509890" y="94922"/>
                  </a:lnTo>
                  <a:lnTo>
                    <a:pt x="511541" y="101581"/>
                  </a:lnTo>
                  <a:lnTo>
                    <a:pt x="529892" y="114630"/>
                  </a:lnTo>
                  <a:lnTo>
                    <a:pt x="547669" y="122210"/>
                  </a:lnTo>
                  <a:lnTo>
                    <a:pt x="559560" y="130361"/>
                  </a:lnTo>
                  <a:lnTo>
                    <a:pt x="576243" y="144410"/>
                  </a:lnTo>
                  <a:lnTo>
                    <a:pt x="582751" y="144387"/>
                  </a:lnTo>
                  <a:lnTo>
                    <a:pt x="594832" y="150466"/>
                  </a:lnTo>
                  <a:lnTo>
                    <a:pt x="598341" y="157808"/>
                  </a:lnTo>
                  <a:lnTo>
                    <a:pt x="620377" y="165879"/>
                  </a:lnTo>
                  <a:lnTo>
                    <a:pt x="635617" y="157748"/>
                  </a:lnTo>
                  <a:lnTo>
                    <a:pt x="640133" y="144990"/>
                  </a:lnTo>
                  <a:lnTo>
                    <a:pt x="644818" y="134479"/>
                  </a:lnTo>
                  <a:lnTo>
                    <a:pt x="647684" y="121495"/>
                  </a:lnTo>
                  <a:lnTo>
                    <a:pt x="654700" y="102694"/>
                  </a:lnTo>
                  <a:lnTo>
                    <a:pt x="651496" y="91289"/>
                  </a:lnTo>
                  <a:lnTo>
                    <a:pt x="653161" y="84435"/>
                  </a:lnTo>
                  <a:lnTo>
                    <a:pt x="650492" y="70969"/>
                  </a:lnTo>
                  <a:lnTo>
                    <a:pt x="653517" y="53273"/>
                  </a:lnTo>
                  <a:lnTo>
                    <a:pt x="657943" y="48508"/>
                  </a:lnTo>
                  <a:lnTo>
                    <a:pt x="654350" y="40679"/>
                  </a:lnTo>
                  <a:lnTo>
                    <a:pt x="659928" y="28264"/>
                  </a:lnTo>
                  <a:lnTo>
                    <a:pt x="664309" y="15413"/>
                  </a:lnTo>
                  <a:lnTo>
                    <a:pt x="664892" y="874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5" name="Freeform 39">
              <a:extLst>
                <a:ext uri="{FF2B5EF4-FFF2-40B4-BE49-F238E27FC236}">
                  <a16:creationId xmlns:a16="http://schemas.microsoft.com/office/drawing/2014/main" id="{209F687F-1058-46A9-ADFF-A56C83C06FC2}"/>
                </a:ext>
              </a:extLst>
            </p:cNvPr>
            <p:cNvSpPr>
              <a:spLocks noChangeAspect="1"/>
            </p:cNvSpPr>
            <p:nvPr>
              <p:custDataLst>
                <p:tags r:id="rId47"/>
              </p:custDataLst>
            </p:nvPr>
          </p:nvSpPr>
          <p:spPr>
            <a:xfrm>
              <a:off x="4579510" y="3295541"/>
              <a:ext cx="173114" cy="76581"/>
            </a:xfrm>
            <a:custGeom>
              <a:avLst/>
              <a:gdLst/>
              <a:ahLst/>
              <a:cxnLst/>
              <a:rect l="0" t="0" r="0" b="0"/>
              <a:pathLst>
                <a:path w="173114" h="76581">
                  <a:moveTo>
                    <a:pt x="173113" y="27143"/>
                  </a:moveTo>
                  <a:lnTo>
                    <a:pt x="171360" y="39169"/>
                  </a:lnTo>
                  <a:lnTo>
                    <a:pt x="158361" y="39226"/>
                  </a:lnTo>
                  <a:lnTo>
                    <a:pt x="162832" y="45582"/>
                  </a:lnTo>
                  <a:lnTo>
                    <a:pt x="155169" y="64374"/>
                  </a:lnTo>
                  <a:lnTo>
                    <a:pt x="150769" y="69278"/>
                  </a:lnTo>
                  <a:lnTo>
                    <a:pt x="130581" y="70002"/>
                  </a:lnTo>
                  <a:lnTo>
                    <a:pt x="118933" y="76580"/>
                  </a:lnTo>
                  <a:lnTo>
                    <a:pt x="99867" y="74335"/>
                  </a:lnTo>
                  <a:lnTo>
                    <a:pt x="66859" y="66840"/>
                  </a:lnTo>
                  <a:lnTo>
                    <a:pt x="61702" y="56713"/>
                  </a:lnTo>
                  <a:lnTo>
                    <a:pt x="38891" y="61778"/>
                  </a:lnTo>
                  <a:lnTo>
                    <a:pt x="36207" y="67311"/>
                  </a:lnTo>
                  <a:lnTo>
                    <a:pt x="22222" y="63176"/>
                  </a:lnTo>
                  <a:lnTo>
                    <a:pt x="10444" y="62385"/>
                  </a:lnTo>
                  <a:lnTo>
                    <a:pt x="0" y="57080"/>
                  </a:lnTo>
                  <a:lnTo>
                    <a:pt x="3530" y="49930"/>
                  </a:lnTo>
                  <a:lnTo>
                    <a:pt x="2637" y="44736"/>
                  </a:lnTo>
                  <a:lnTo>
                    <a:pt x="9604" y="43120"/>
                  </a:lnTo>
                  <a:lnTo>
                    <a:pt x="21284" y="51249"/>
                  </a:lnTo>
                  <a:lnTo>
                    <a:pt x="24572" y="43524"/>
                  </a:lnTo>
                  <a:lnTo>
                    <a:pt x="44929" y="44774"/>
                  </a:lnTo>
                  <a:lnTo>
                    <a:pt x="61432" y="39514"/>
                  </a:lnTo>
                  <a:lnTo>
                    <a:pt x="72498" y="40415"/>
                  </a:lnTo>
                  <a:lnTo>
                    <a:pt x="79696" y="46417"/>
                  </a:lnTo>
                  <a:lnTo>
                    <a:pt x="81848" y="41437"/>
                  </a:lnTo>
                  <a:lnTo>
                    <a:pt x="78576" y="22253"/>
                  </a:lnTo>
                  <a:lnTo>
                    <a:pt x="86869" y="18499"/>
                  </a:lnTo>
                  <a:lnTo>
                    <a:pt x="95007" y="4821"/>
                  </a:lnTo>
                  <a:lnTo>
                    <a:pt x="112157" y="14377"/>
                  </a:lnTo>
                  <a:lnTo>
                    <a:pt x="125142" y="2225"/>
                  </a:lnTo>
                  <a:lnTo>
                    <a:pt x="133266" y="0"/>
                  </a:lnTo>
                  <a:lnTo>
                    <a:pt x="151184" y="9079"/>
                  </a:lnTo>
                  <a:lnTo>
                    <a:pt x="162024" y="7537"/>
                  </a:lnTo>
                  <a:lnTo>
                    <a:pt x="172665" y="13142"/>
                  </a:lnTo>
                  <a:lnTo>
                    <a:pt x="170812" y="1690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6" name="Freeform 40">
              <a:extLst>
                <a:ext uri="{FF2B5EF4-FFF2-40B4-BE49-F238E27FC236}">
                  <a16:creationId xmlns:a16="http://schemas.microsoft.com/office/drawing/2014/main" id="{582301F7-41D7-47D8-B00D-1A0EF32D6AE4}"/>
                </a:ext>
              </a:extLst>
            </p:cNvPr>
            <p:cNvSpPr>
              <a:spLocks noChangeAspect="1"/>
            </p:cNvSpPr>
            <p:nvPr>
              <p:custDataLst>
                <p:tags r:id="rId48"/>
              </p:custDataLst>
            </p:nvPr>
          </p:nvSpPr>
          <p:spPr>
            <a:xfrm>
              <a:off x="5394652" y="3501477"/>
              <a:ext cx="129236" cy="97797"/>
            </a:xfrm>
            <a:custGeom>
              <a:avLst/>
              <a:gdLst/>
              <a:ahLst/>
              <a:cxnLst/>
              <a:rect l="l" t="t" r="r" b="b"/>
              <a:pathLst>
                <a:path w="129236" h="97797">
                  <a:moveTo>
                    <a:pt x="4801" y="58135"/>
                  </a:moveTo>
                  <a:lnTo>
                    <a:pt x="11637" y="65411"/>
                  </a:lnTo>
                  <a:lnTo>
                    <a:pt x="21836" y="65350"/>
                  </a:lnTo>
                  <a:lnTo>
                    <a:pt x="21729" y="69528"/>
                  </a:lnTo>
                  <a:lnTo>
                    <a:pt x="31153" y="85144"/>
                  </a:lnTo>
                  <a:lnTo>
                    <a:pt x="15320" y="81562"/>
                  </a:lnTo>
                  <a:lnTo>
                    <a:pt x="3663" y="69093"/>
                  </a:lnTo>
                  <a:lnTo>
                    <a:pt x="0" y="58868"/>
                  </a:lnTo>
                  <a:close/>
                  <a:moveTo>
                    <a:pt x="37185" y="0"/>
                  </a:moveTo>
                  <a:lnTo>
                    <a:pt x="43674" y="928"/>
                  </a:lnTo>
                  <a:lnTo>
                    <a:pt x="59537" y="17687"/>
                  </a:lnTo>
                  <a:lnTo>
                    <a:pt x="69748" y="19566"/>
                  </a:lnTo>
                  <a:lnTo>
                    <a:pt x="73709" y="12562"/>
                  </a:lnTo>
                  <a:lnTo>
                    <a:pt x="87491" y="1433"/>
                  </a:lnTo>
                  <a:lnTo>
                    <a:pt x="99631" y="15965"/>
                  </a:lnTo>
                  <a:lnTo>
                    <a:pt x="111372" y="35433"/>
                  </a:lnTo>
                  <a:lnTo>
                    <a:pt x="122126" y="36712"/>
                  </a:lnTo>
                  <a:lnTo>
                    <a:pt x="129236" y="44075"/>
                  </a:lnTo>
                  <a:lnTo>
                    <a:pt x="110224" y="46269"/>
                  </a:lnTo>
                  <a:lnTo>
                    <a:pt x="106209" y="67369"/>
                  </a:lnTo>
                  <a:lnTo>
                    <a:pt x="102238" y="76839"/>
                  </a:lnTo>
                  <a:lnTo>
                    <a:pt x="93774" y="83143"/>
                  </a:lnTo>
                  <a:lnTo>
                    <a:pt x="94390" y="96459"/>
                  </a:lnTo>
                  <a:lnTo>
                    <a:pt x="88646" y="97797"/>
                  </a:lnTo>
                  <a:lnTo>
                    <a:pt x="74251" y="83721"/>
                  </a:lnTo>
                  <a:lnTo>
                    <a:pt x="82209" y="70365"/>
                  </a:lnTo>
                  <a:lnTo>
                    <a:pt x="75390" y="62416"/>
                  </a:lnTo>
                  <a:lnTo>
                    <a:pt x="66734" y="64419"/>
                  </a:lnTo>
                  <a:lnTo>
                    <a:pt x="39511" y="84352"/>
                  </a:lnTo>
                  <a:lnTo>
                    <a:pt x="38998" y="65617"/>
                  </a:lnTo>
                  <a:lnTo>
                    <a:pt x="28635" y="61175"/>
                  </a:lnTo>
                  <a:lnTo>
                    <a:pt x="18836" y="53787"/>
                  </a:lnTo>
                  <a:lnTo>
                    <a:pt x="25342" y="45114"/>
                  </a:lnTo>
                  <a:lnTo>
                    <a:pt x="13046" y="35745"/>
                  </a:lnTo>
                  <a:lnTo>
                    <a:pt x="17689" y="28877"/>
                  </a:lnTo>
                  <a:lnTo>
                    <a:pt x="8898" y="24129"/>
                  </a:lnTo>
                  <a:lnTo>
                    <a:pt x="4120" y="16906"/>
                  </a:lnTo>
                  <a:lnTo>
                    <a:pt x="9774" y="12407"/>
                  </a:lnTo>
                  <a:lnTo>
                    <a:pt x="26974" y="20324"/>
                  </a:lnTo>
                  <a:lnTo>
                    <a:pt x="39417" y="21957"/>
                  </a:lnTo>
                  <a:lnTo>
                    <a:pt x="42562" y="18734"/>
                  </a:lnTo>
                  <a:lnTo>
                    <a:pt x="31194" y="381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7" name="Freeform 41">
              <a:extLst>
                <a:ext uri="{FF2B5EF4-FFF2-40B4-BE49-F238E27FC236}">
                  <a16:creationId xmlns:a16="http://schemas.microsoft.com/office/drawing/2014/main" id="{1FBA70A4-0415-48FB-AE63-D127CEE14128}"/>
                </a:ext>
              </a:extLst>
            </p:cNvPr>
            <p:cNvSpPr>
              <a:spLocks noChangeAspect="1"/>
            </p:cNvSpPr>
            <p:nvPr>
              <p:custDataLst>
                <p:tags r:id="rId49"/>
              </p:custDataLst>
            </p:nvPr>
          </p:nvSpPr>
          <p:spPr>
            <a:xfrm>
              <a:off x="5030660" y="4582190"/>
              <a:ext cx="39872" cy="49722"/>
            </a:xfrm>
            <a:custGeom>
              <a:avLst/>
              <a:gdLst/>
              <a:ahLst/>
              <a:cxnLst/>
              <a:rect l="0" t="0" r="0" b="0"/>
              <a:pathLst>
                <a:path w="39872" h="49722">
                  <a:moveTo>
                    <a:pt x="7272" y="49721"/>
                  </a:moveTo>
                  <a:lnTo>
                    <a:pt x="5804" y="21839"/>
                  </a:lnTo>
                  <a:lnTo>
                    <a:pt x="0" y="11335"/>
                  </a:lnTo>
                  <a:lnTo>
                    <a:pt x="14016" y="13151"/>
                  </a:lnTo>
                  <a:lnTo>
                    <a:pt x="21084" y="0"/>
                  </a:lnTo>
                  <a:lnTo>
                    <a:pt x="33349" y="1509"/>
                  </a:lnTo>
                  <a:lnTo>
                    <a:pt x="34687" y="10605"/>
                  </a:lnTo>
                  <a:lnTo>
                    <a:pt x="39658" y="15841"/>
                  </a:lnTo>
                  <a:lnTo>
                    <a:pt x="39871" y="23351"/>
                  </a:lnTo>
                  <a:lnTo>
                    <a:pt x="34177" y="28187"/>
                  </a:lnTo>
                  <a:lnTo>
                    <a:pt x="25192" y="40243"/>
                  </a:lnTo>
                  <a:lnTo>
                    <a:pt x="16817" y="4862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8" name="Freeform 42">
              <a:extLst>
                <a:ext uri="{FF2B5EF4-FFF2-40B4-BE49-F238E27FC236}">
                  <a16:creationId xmlns:a16="http://schemas.microsoft.com/office/drawing/2014/main" id="{FDEAF19C-B0B8-4F26-887F-33D839D0B292}"/>
                </a:ext>
              </a:extLst>
            </p:cNvPr>
            <p:cNvSpPr>
              <a:spLocks noChangeAspect="1"/>
            </p:cNvSpPr>
            <p:nvPr>
              <p:custDataLst>
                <p:tags r:id="rId50"/>
              </p:custDataLst>
            </p:nvPr>
          </p:nvSpPr>
          <p:spPr>
            <a:xfrm>
              <a:off x="4418707" y="3221910"/>
              <a:ext cx="84093" cy="58978"/>
            </a:xfrm>
            <a:custGeom>
              <a:avLst/>
              <a:gdLst/>
              <a:ahLst/>
              <a:cxnLst/>
              <a:rect l="0" t="0" r="0" b="0"/>
              <a:pathLst>
                <a:path w="84093" h="58978">
                  <a:moveTo>
                    <a:pt x="18498" y="3961"/>
                  </a:moveTo>
                  <a:lnTo>
                    <a:pt x="35397" y="6364"/>
                  </a:lnTo>
                  <a:lnTo>
                    <a:pt x="56793" y="0"/>
                  </a:lnTo>
                  <a:lnTo>
                    <a:pt x="71403" y="13389"/>
                  </a:lnTo>
                  <a:lnTo>
                    <a:pt x="84092" y="20504"/>
                  </a:lnTo>
                  <a:lnTo>
                    <a:pt x="81470" y="40976"/>
                  </a:lnTo>
                  <a:lnTo>
                    <a:pt x="75453" y="42114"/>
                  </a:lnTo>
                  <a:lnTo>
                    <a:pt x="72952" y="58977"/>
                  </a:lnTo>
                  <a:lnTo>
                    <a:pt x="52758" y="45278"/>
                  </a:lnTo>
                  <a:lnTo>
                    <a:pt x="40912" y="47623"/>
                  </a:lnTo>
                  <a:lnTo>
                    <a:pt x="24804" y="33392"/>
                  </a:lnTo>
                  <a:lnTo>
                    <a:pt x="14072" y="21215"/>
                  </a:lnTo>
                  <a:lnTo>
                    <a:pt x="3343" y="20713"/>
                  </a:lnTo>
                  <a:lnTo>
                    <a:pt x="0" y="99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9" name="Freeform 43">
              <a:extLst>
                <a:ext uri="{FF2B5EF4-FFF2-40B4-BE49-F238E27FC236}">
                  <a16:creationId xmlns:a16="http://schemas.microsoft.com/office/drawing/2014/main" id="{59C368C4-C33B-4639-A4A7-F38AB37F3003}"/>
                </a:ext>
              </a:extLst>
            </p:cNvPr>
            <p:cNvSpPr>
              <a:spLocks noChangeAspect="1"/>
            </p:cNvSpPr>
            <p:nvPr>
              <p:custDataLst>
                <p:tags r:id="rId51"/>
              </p:custDataLst>
            </p:nvPr>
          </p:nvSpPr>
          <p:spPr>
            <a:xfrm>
              <a:off x="4378514" y="4244155"/>
              <a:ext cx="69821" cy="141865"/>
            </a:xfrm>
            <a:custGeom>
              <a:avLst/>
              <a:gdLst/>
              <a:ahLst/>
              <a:cxnLst/>
              <a:rect l="0" t="0" r="0" b="0"/>
              <a:pathLst>
                <a:path w="69821" h="141865">
                  <a:moveTo>
                    <a:pt x="44304" y="139161"/>
                  </a:moveTo>
                  <a:lnTo>
                    <a:pt x="25227" y="141864"/>
                  </a:lnTo>
                  <a:lnTo>
                    <a:pt x="19542" y="125874"/>
                  </a:lnTo>
                  <a:lnTo>
                    <a:pt x="20593" y="72530"/>
                  </a:lnTo>
                  <a:lnTo>
                    <a:pt x="15943" y="67735"/>
                  </a:lnTo>
                  <a:lnTo>
                    <a:pt x="15067" y="56304"/>
                  </a:lnTo>
                  <a:lnTo>
                    <a:pt x="7051" y="48141"/>
                  </a:lnTo>
                  <a:lnTo>
                    <a:pt x="0" y="41256"/>
                  </a:lnTo>
                  <a:lnTo>
                    <a:pt x="2937" y="28964"/>
                  </a:lnTo>
                  <a:lnTo>
                    <a:pt x="10875" y="26320"/>
                  </a:lnTo>
                  <a:lnTo>
                    <a:pt x="15577" y="16101"/>
                  </a:lnTo>
                  <a:lnTo>
                    <a:pt x="26860" y="13916"/>
                  </a:lnTo>
                  <a:lnTo>
                    <a:pt x="31904" y="6919"/>
                  </a:lnTo>
                  <a:lnTo>
                    <a:pt x="39652" y="61"/>
                  </a:lnTo>
                  <a:lnTo>
                    <a:pt x="47927" y="0"/>
                  </a:lnTo>
                  <a:lnTo>
                    <a:pt x="65528" y="13471"/>
                  </a:lnTo>
                  <a:lnTo>
                    <a:pt x="64629" y="21239"/>
                  </a:lnTo>
                  <a:lnTo>
                    <a:pt x="69820" y="35096"/>
                  </a:lnTo>
                  <a:lnTo>
                    <a:pt x="65272" y="44489"/>
                  </a:lnTo>
                  <a:lnTo>
                    <a:pt x="67704" y="50762"/>
                  </a:lnTo>
                  <a:lnTo>
                    <a:pt x="56507" y="65185"/>
                  </a:lnTo>
                  <a:lnTo>
                    <a:pt x="49396" y="72321"/>
                  </a:lnTo>
                  <a:lnTo>
                    <a:pt x="45045" y="86991"/>
                  </a:lnTo>
                  <a:lnTo>
                    <a:pt x="45628" y="10177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0" name="Freeform 44">
              <a:extLst>
                <a:ext uri="{FF2B5EF4-FFF2-40B4-BE49-F238E27FC236}">
                  <a16:creationId xmlns:a16="http://schemas.microsoft.com/office/drawing/2014/main" id="{149F7DB9-86D2-43E4-9105-DDA674AB5306}"/>
                </a:ext>
              </a:extLst>
            </p:cNvPr>
            <p:cNvSpPr>
              <a:spLocks noChangeAspect="1"/>
            </p:cNvSpPr>
            <p:nvPr>
              <p:custDataLst>
                <p:tags r:id="rId52"/>
              </p:custDataLst>
            </p:nvPr>
          </p:nvSpPr>
          <p:spPr>
            <a:xfrm>
              <a:off x="4234411" y="4176430"/>
              <a:ext cx="176530" cy="129029"/>
            </a:xfrm>
            <a:custGeom>
              <a:avLst/>
              <a:gdLst/>
              <a:ahLst/>
              <a:cxnLst/>
              <a:rect l="0" t="0" r="0" b="0"/>
              <a:pathLst>
                <a:path w="176530" h="129029">
                  <a:moveTo>
                    <a:pt x="61009" y="128291"/>
                  </a:moveTo>
                  <a:lnTo>
                    <a:pt x="45211" y="122283"/>
                  </a:lnTo>
                  <a:lnTo>
                    <a:pt x="34396" y="123168"/>
                  </a:lnTo>
                  <a:lnTo>
                    <a:pt x="26322" y="129028"/>
                  </a:lnTo>
                  <a:lnTo>
                    <a:pt x="15943" y="124109"/>
                  </a:lnTo>
                  <a:lnTo>
                    <a:pt x="11909" y="116400"/>
                  </a:lnTo>
                  <a:lnTo>
                    <a:pt x="1529" y="111315"/>
                  </a:lnTo>
                  <a:lnTo>
                    <a:pt x="0" y="97765"/>
                  </a:lnTo>
                  <a:lnTo>
                    <a:pt x="6295" y="87861"/>
                  </a:lnTo>
                  <a:lnTo>
                    <a:pt x="5762" y="79940"/>
                  </a:lnTo>
                  <a:lnTo>
                    <a:pt x="24084" y="60532"/>
                  </a:lnTo>
                  <a:lnTo>
                    <a:pt x="27472" y="44441"/>
                  </a:lnTo>
                  <a:lnTo>
                    <a:pt x="33797" y="38709"/>
                  </a:lnTo>
                  <a:lnTo>
                    <a:pt x="44960" y="41876"/>
                  </a:lnTo>
                  <a:lnTo>
                    <a:pt x="54634" y="37093"/>
                  </a:lnTo>
                  <a:lnTo>
                    <a:pt x="57773" y="31053"/>
                  </a:lnTo>
                  <a:lnTo>
                    <a:pt x="75682" y="20505"/>
                  </a:lnTo>
                  <a:lnTo>
                    <a:pt x="80086" y="13141"/>
                  </a:lnTo>
                  <a:lnTo>
                    <a:pt x="101661" y="3359"/>
                  </a:lnTo>
                  <a:lnTo>
                    <a:pt x="114368" y="0"/>
                  </a:lnTo>
                  <a:lnTo>
                    <a:pt x="120129" y="4527"/>
                  </a:lnTo>
                  <a:lnTo>
                    <a:pt x="134929" y="4419"/>
                  </a:lnTo>
                  <a:lnTo>
                    <a:pt x="133100" y="15846"/>
                  </a:lnTo>
                  <a:lnTo>
                    <a:pt x="136199" y="26570"/>
                  </a:lnTo>
                  <a:lnTo>
                    <a:pt x="149198" y="41921"/>
                  </a:lnTo>
                  <a:lnTo>
                    <a:pt x="149914" y="53281"/>
                  </a:lnTo>
                  <a:lnTo>
                    <a:pt x="176529" y="58600"/>
                  </a:lnTo>
                  <a:lnTo>
                    <a:pt x="176007" y="74644"/>
                  </a:lnTo>
                  <a:lnTo>
                    <a:pt x="170963" y="81641"/>
                  </a:lnTo>
                  <a:lnTo>
                    <a:pt x="159680" y="83826"/>
                  </a:lnTo>
                  <a:lnTo>
                    <a:pt x="154978" y="94045"/>
                  </a:lnTo>
                  <a:lnTo>
                    <a:pt x="147040" y="96689"/>
                  </a:lnTo>
                  <a:lnTo>
                    <a:pt x="126825" y="96191"/>
                  </a:lnTo>
                  <a:lnTo>
                    <a:pt x="116149" y="94330"/>
                  </a:lnTo>
                  <a:lnTo>
                    <a:pt x="108696" y="98100"/>
                  </a:lnTo>
                  <a:lnTo>
                    <a:pt x="98499" y="96398"/>
                  </a:lnTo>
                  <a:lnTo>
                    <a:pt x="58403" y="97498"/>
                  </a:lnTo>
                  <a:lnTo>
                    <a:pt x="57861" y="11074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1" name="Freeform 45">
              <a:extLst>
                <a:ext uri="{FF2B5EF4-FFF2-40B4-BE49-F238E27FC236}">
                  <a16:creationId xmlns:a16="http://schemas.microsoft.com/office/drawing/2014/main" id="{37D38A7D-843C-40BE-B742-9D32D06D4937}"/>
                </a:ext>
              </a:extLst>
            </p:cNvPr>
            <p:cNvSpPr>
              <a:spLocks noChangeAspect="1"/>
            </p:cNvSpPr>
            <p:nvPr>
              <p:custDataLst>
                <p:tags r:id="rId53"/>
              </p:custDataLst>
            </p:nvPr>
          </p:nvSpPr>
          <p:spPr>
            <a:xfrm>
              <a:off x="6393910" y="3903148"/>
              <a:ext cx="105912" cy="140919"/>
            </a:xfrm>
            <a:custGeom>
              <a:avLst/>
              <a:gdLst/>
              <a:ahLst/>
              <a:cxnLst/>
              <a:rect l="0" t="0" r="0" b="0"/>
              <a:pathLst>
                <a:path w="105912" h="140919">
                  <a:moveTo>
                    <a:pt x="105911" y="107825"/>
                  </a:moveTo>
                  <a:lnTo>
                    <a:pt x="105439" y="125169"/>
                  </a:lnTo>
                  <a:lnTo>
                    <a:pt x="97382" y="121511"/>
                  </a:lnTo>
                  <a:lnTo>
                    <a:pt x="98890" y="140918"/>
                  </a:lnTo>
                  <a:lnTo>
                    <a:pt x="92296" y="128351"/>
                  </a:lnTo>
                  <a:lnTo>
                    <a:pt x="90965" y="116046"/>
                  </a:lnTo>
                  <a:lnTo>
                    <a:pt x="86572" y="104392"/>
                  </a:lnTo>
                  <a:lnTo>
                    <a:pt x="76927" y="90266"/>
                  </a:lnTo>
                  <a:lnTo>
                    <a:pt x="55666" y="89294"/>
                  </a:lnTo>
                  <a:lnTo>
                    <a:pt x="57766" y="99303"/>
                  </a:lnTo>
                  <a:lnTo>
                    <a:pt x="50518" y="112785"/>
                  </a:lnTo>
                  <a:lnTo>
                    <a:pt x="40696" y="107876"/>
                  </a:lnTo>
                  <a:lnTo>
                    <a:pt x="37340" y="112283"/>
                  </a:lnTo>
                  <a:lnTo>
                    <a:pt x="30803" y="109643"/>
                  </a:lnTo>
                  <a:lnTo>
                    <a:pt x="21872" y="107475"/>
                  </a:lnTo>
                  <a:lnTo>
                    <a:pt x="18280" y="87492"/>
                  </a:lnTo>
                  <a:lnTo>
                    <a:pt x="10280" y="69177"/>
                  </a:lnTo>
                  <a:lnTo>
                    <a:pt x="14209" y="54453"/>
                  </a:lnTo>
                  <a:lnTo>
                    <a:pt x="0" y="47893"/>
                  </a:lnTo>
                  <a:lnTo>
                    <a:pt x="5124" y="38955"/>
                  </a:lnTo>
                  <a:lnTo>
                    <a:pt x="19555" y="29800"/>
                  </a:lnTo>
                  <a:lnTo>
                    <a:pt x="2894" y="16762"/>
                  </a:lnTo>
                  <a:lnTo>
                    <a:pt x="11049" y="0"/>
                  </a:lnTo>
                  <a:lnTo>
                    <a:pt x="29331" y="10683"/>
                  </a:lnTo>
                  <a:lnTo>
                    <a:pt x="40350" y="11901"/>
                  </a:lnTo>
                  <a:lnTo>
                    <a:pt x="42387" y="29036"/>
                  </a:lnTo>
                  <a:lnTo>
                    <a:pt x="64350" y="32408"/>
                  </a:lnTo>
                  <a:lnTo>
                    <a:pt x="85757" y="32044"/>
                  </a:lnTo>
                  <a:lnTo>
                    <a:pt x="99066" y="36239"/>
                  </a:lnTo>
                  <a:lnTo>
                    <a:pt x="88423" y="56981"/>
                  </a:lnTo>
                  <a:lnTo>
                    <a:pt x="78097" y="58394"/>
                  </a:lnTo>
                  <a:lnTo>
                    <a:pt x="70969" y="72290"/>
                  </a:lnTo>
                  <a:lnTo>
                    <a:pt x="83607" y="84912"/>
                  </a:lnTo>
                  <a:lnTo>
                    <a:pt x="87380" y="69343"/>
                  </a:lnTo>
                  <a:lnTo>
                    <a:pt x="93754" y="6926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2" name="Freeform 46">
              <a:extLst>
                <a:ext uri="{FF2B5EF4-FFF2-40B4-BE49-F238E27FC236}">
                  <a16:creationId xmlns:a16="http://schemas.microsoft.com/office/drawing/2014/main" id="{51BB79AD-C707-4B9D-8322-F4D03E348EA4}"/>
                </a:ext>
              </a:extLst>
            </p:cNvPr>
            <p:cNvSpPr>
              <a:spLocks noChangeAspect="1"/>
            </p:cNvSpPr>
            <p:nvPr>
              <p:custDataLst>
                <p:tags r:id="rId54"/>
              </p:custDataLst>
            </p:nvPr>
          </p:nvSpPr>
          <p:spPr>
            <a:xfrm>
              <a:off x="4877289" y="3435021"/>
              <a:ext cx="142596" cy="83738"/>
            </a:xfrm>
            <a:custGeom>
              <a:avLst/>
              <a:gdLst/>
              <a:ahLst/>
              <a:cxnLst/>
              <a:rect l="0" t="0" r="0" b="0"/>
              <a:pathLst>
                <a:path w="142596" h="83738">
                  <a:moveTo>
                    <a:pt x="6385" y="0"/>
                  </a:moveTo>
                  <a:lnTo>
                    <a:pt x="13026" y="11617"/>
                  </a:lnTo>
                  <a:lnTo>
                    <a:pt x="21969" y="9551"/>
                  </a:lnTo>
                  <a:lnTo>
                    <a:pt x="39705" y="13949"/>
                  </a:lnTo>
                  <a:lnTo>
                    <a:pt x="73605" y="15430"/>
                  </a:lnTo>
                  <a:lnTo>
                    <a:pt x="85051" y="8239"/>
                  </a:lnTo>
                  <a:lnTo>
                    <a:pt x="112225" y="1668"/>
                  </a:lnTo>
                  <a:lnTo>
                    <a:pt x="129022" y="11936"/>
                  </a:lnTo>
                  <a:lnTo>
                    <a:pt x="142595" y="14895"/>
                  </a:lnTo>
                  <a:lnTo>
                    <a:pt x="130615" y="26541"/>
                  </a:lnTo>
                  <a:lnTo>
                    <a:pt x="122185" y="46539"/>
                  </a:lnTo>
                  <a:lnTo>
                    <a:pt x="129637" y="62393"/>
                  </a:lnTo>
                  <a:lnTo>
                    <a:pt x="109763" y="58674"/>
                  </a:lnTo>
                  <a:lnTo>
                    <a:pt x="86249" y="67390"/>
                  </a:lnTo>
                  <a:lnTo>
                    <a:pt x="85997" y="81138"/>
                  </a:lnTo>
                  <a:lnTo>
                    <a:pt x="65016" y="83737"/>
                  </a:lnTo>
                  <a:lnTo>
                    <a:pt x="48753" y="74106"/>
                  </a:lnTo>
                  <a:lnTo>
                    <a:pt x="30274" y="81684"/>
                  </a:lnTo>
                  <a:lnTo>
                    <a:pt x="13200" y="80887"/>
                  </a:lnTo>
                  <a:lnTo>
                    <a:pt x="11561" y="62617"/>
                  </a:lnTo>
                  <a:lnTo>
                    <a:pt x="0" y="53708"/>
                  </a:lnTo>
                  <a:lnTo>
                    <a:pt x="3797" y="49784"/>
                  </a:lnTo>
                  <a:lnTo>
                    <a:pt x="1294" y="46471"/>
                  </a:lnTo>
                  <a:lnTo>
                    <a:pt x="5177" y="37591"/>
                  </a:lnTo>
                  <a:lnTo>
                    <a:pt x="13976" y="28840"/>
                  </a:lnTo>
                  <a:lnTo>
                    <a:pt x="2761" y="16715"/>
                  </a:lnTo>
                  <a:lnTo>
                    <a:pt x="690" y="641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3" name="Freeform 47">
              <a:extLst>
                <a:ext uri="{FF2B5EF4-FFF2-40B4-BE49-F238E27FC236}">
                  <a16:creationId xmlns:a16="http://schemas.microsoft.com/office/drawing/2014/main" id="{01773D6C-BE65-4B5D-91E5-A86E73498C4F}"/>
                </a:ext>
              </a:extLst>
            </p:cNvPr>
            <p:cNvSpPr>
              <a:spLocks noChangeAspect="1"/>
            </p:cNvSpPr>
            <p:nvPr>
              <p:custDataLst>
                <p:tags r:id="rId55"/>
              </p:custDataLst>
            </p:nvPr>
          </p:nvSpPr>
          <p:spPr>
            <a:xfrm>
              <a:off x="4724239" y="3406597"/>
              <a:ext cx="88864" cy="72954"/>
            </a:xfrm>
            <a:custGeom>
              <a:avLst/>
              <a:gdLst/>
              <a:ahLst/>
              <a:cxnLst/>
              <a:rect l="0" t="0" r="0" b="0"/>
              <a:pathLst>
                <a:path w="88864" h="72954">
                  <a:moveTo>
                    <a:pt x="75145" y="10663"/>
                  </a:moveTo>
                  <a:lnTo>
                    <a:pt x="83513" y="10584"/>
                  </a:lnTo>
                  <a:lnTo>
                    <a:pt x="77733" y="23091"/>
                  </a:lnTo>
                  <a:lnTo>
                    <a:pt x="88863" y="33980"/>
                  </a:lnTo>
                  <a:lnTo>
                    <a:pt x="85498" y="47242"/>
                  </a:lnTo>
                  <a:lnTo>
                    <a:pt x="80062" y="48486"/>
                  </a:lnTo>
                  <a:lnTo>
                    <a:pt x="75749" y="51053"/>
                  </a:lnTo>
                  <a:lnTo>
                    <a:pt x="68243" y="57574"/>
                  </a:lnTo>
                  <a:lnTo>
                    <a:pt x="64862" y="72953"/>
                  </a:lnTo>
                  <a:lnTo>
                    <a:pt x="44432" y="62379"/>
                  </a:lnTo>
                  <a:lnTo>
                    <a:pt x="35717" y="50664"/>
                  </a:lnTo>
                  <a:lnTo>
                    <a:pt x="26918" y="44438"/>
                  </a:lnTo>
                  <a:lnTo>
                    <a:pt x="16306" y="33902"/>
                  </a:lnTo>
                  <a:lnTo>
                    <a:pt x="11302" y="25131"/>
                  </a:lnTo>
                  <a:lnTo>
                    <a:pt x="0" y="11846"/>
                  </a:lnTo>
                  <a:lnTo>
                    <a:pt x="4832" y="0"/>
                  </a:lnTo>
                  <a:lnTo>
                    <a:pt x="13114" y="6561"/>
                  </a:lnTo>
                  <a:lnTo>
                    <a:pt x="18118" y="634"/>
                  </a:lnTo>
                  <a:lnTo>
                    <a:pt x="28903" y="0"/>
                  </a:lnTo>
                  <a:lnTo>
                    <a:pt x="48745" y="4745"/>
                  </a:lnTo>
                  <a:lnTo>
                    <a:pt x="64706" y="434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4" name="Freeform 48">
              <a:extLst>
                <a:ext uri="{FF2B5EF4-FFF2-40B4-BE49-F238E27FC236}">
                  <a16:creationId xmlns:a16="http://schemas.microsoft.com/office/drawing/2014/main" id="{86C4D770-1793-4A7A-A85A-A23ED636FE01}"/>
                </a:ext>
              </a:extLst>
            </p:cNvPr>
            <p:cNvSpPr>
              <a:spLocks noChangeAspect="1"/>
            </p:cNvSpPr>
            <p:nvPr>
              <p:custDataLst>
                <p:tags r:id="rId56"/>
              </p:custDataLst>
            </p:nvPr>
          </p:nvSpPr>
          <p:spPr>
            <a:xfrm>
              <a:off x="4896193" y="3073544"/>
              <a:ext cx="219151" cy="153132"/>
            </a:xfrm>
            <a:custGeom>
              <a:avLst/>
              <a:gdLst/>
              <a:ahLst/>
              <a:cxnLst/>
              <a:rect l="0" t="0" r="0" b="0"/>
              <a:pathLst>
                <a:path w="219151" h="153132">
                  <a:moveTo>
                    <a:pt x="6570" y="72461"/>
                  </a:moveTo>
                  <a:lnTo>
                    <a:pt x="28881" y="72676"/>
                  </a:lnTo>
                  <a:lnTo>
                    <a:pt x="53941" y="60733"/>
                  </a:lnTo>
                  <a:lnTo>
                    <a:pt x="59298" y="42722"/>
                  </a:lnTo>
                  <a:lnTo>
                    <a:pt x="78222" y="32446"/>
                  </a:lnTo>
                  <a:lnTo>
                    <a:pt x="76053" y="17996"/>
                  </a:lnTo>
                  <a:lnTo>
                    <a:pt x="90091" y="12547"/>
                  </a:lnTo>
                  <a:lnTo>
                    <a:pt x="114887" y="0"/>
                  </a:lnTo>
                  <a:lnTo>
                    <a:pt x="139189" y="8164"/>
                  </a:lnTo>
                  <a:lnTo>
                    <a:pt x="142468" y="16216"/>
                  </a:lnTo>
                  <a:lnTo>
                    <a:pt x="154580" y="12347"/>
                  </a:lnTo>
                  <a:lnTo>
                    <a:pt x="177146" y="20070"/>
                  </a:lnTo>
                  <a:lnTo>
                    <a:pt x="179406" y="35198"/>
                  </a:lnTo>
                  <a:lnTo>
                    <a:pt x="174460" y="43849"/>
                  </a:lnTo>
                  <a:lnTo>
                    <a:pt x="188931" y="64714"/>
                  </a:lnTo>
                  <a:lnTo>
                    <a:pt x="198325" y="70495"/>
                  </a:lnTo>
                  <a:lnTo>
                    <a:pt x="196936" y="76205"/>
                  </a:lnTo>
                  <a:lnTo>
                    <a:pt x="212501" y="81756"/>
                  </a:lnTo>
                  <a:lnTo>
                    <a:pt x="219150" y="90143"/>
                  </a:lnTo>
                  <a:lnTo>
                    <a:pt x="210168" y="97000"/>
                  </a:lnTo>
                  <a:lnTo>
                    <a:pt x="191543" y="95913"/>
                  </a:lnTo>
                  <a:lnTo>
                    <a:pt x="187101" y="98838"/>
                  </a:lnTo>
                  <a:lnTo>
                    <a:pt x="192522" y="109202"/>
                  </a:lnTo>
                  <a:lnTo>
                    <a:pt x="198199" y="129073"/>
                  </a:lnTo>
                  <a:lnTo>
                    <a:pt x="178384" y="130906"/>
                  </a:lnTo>
                  <a:lnTo>
                    <a:pt x="171272" y="137677"/>
                  </a:lnTo>
                  <a:lnTo>
                    <a:pt x="169787" y="153131"/>
                  </a:lnTo>
                  <a:lnTo>
                    <a:pt x="160606" y="150171"/>
                  </a:lnTo>
                  <a:lnTo>
                    <a:pt x="139776" y="151639"/>
                  </a:lnTo>
                  <a:lnTo>
                    <a:pt x="133726" y="144467"/>
                  </a:lnTo>
                  <a:lnTo>
                    <a:pt x="125064" y="149816"/>
                  </a:lnTo>
                  <a:lnTo>
                    <a:pt x="116386" y="145383"/>
                  </a:lnTo>
                  <a:lnTo>
                    <a:pt x="98207" y="144767"/>
                  </a:lnTo>
                  <a:lnTo>
                    <a:pt x="72444" y="137385"/>
                  </a:lnTo>
                  <a:lnTo>
                    <a:pt x="49126" y="134970"/>
                  </a:lnTo>
                  <a:lnTo>
                    <a:pt x="31245" y="135654"/>
                  </a:lnTo>
                  <a:lnTo>
                    <a:pt x="18595" y="143994"/>
                  </a:lnTo>
                  <a:lnTo>
                    <a:pt x="7561" y="145192"/>
                  </a:lnTo>
                  <a:lnTo>
                    <a:pt x="7121" y="131484"/>
                  </a:lnTo>
                  <a:lnTo>
                    <a:pt x="0" y="117136"/>
                  </a:lnTo>
                  <a:lnTo>
                    <a:pt x="13843" y="110789"/>
                  </a:lnTo>
                  <a:lnTo>
                    <a:pt x="13975" y="98346"/>
                  </a:lnTo>
                  <a:lnTo>
                    <a:pt x="7572" y="8641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5" name="Freeform 49">
              <a:extLst>
                <a:ext uri="{FF2B5EF4-FFF2-40B4-BE49-F238E27FC236}">
                  <a16:creationId xmlns:a16="http://schemas.microsoft.com/office/drawing/2014/main" id="{4AEED0B9-FFC5-4F02-8F0E-4F92C8D5CAF8}"/>
                </a:ext>
              </a:extLst>
            </p:cNvPr>
            <p:cNvSpPr>
              <a:spLocks noChangeAspect="1"/>
            </p:cNvSpPr>
            <p:nvPr>
              <p:custDataLst>
                <p:tags r:id="rId57"/>
              </p:custDataLst>
            </p:nvPr>
          </p:nvSpPr>
          <p:spPr>
            <a:xfrm>
              <a:off x="6996821" y="4402101"/>
              <a:ext cx="28778" cy="33315"/>
            </a:xfrm>
            <a:custGeom>
              <a:avLst/>
              <a:gdLst/>
              <a:ahLst/>
              <a:cxnLst/>
              <a:rect l="0" t="0" r="0" b="0"/>
              <a:pathLst>
                <a:path w="28778" h="33315">
                  <a:moveTo>
                    <a:pt x="0" y="21331"/>
                  </a:moveTo>
                  <a:lnTo>
                    <a:pt x="9139" y="12676"/>
                  </a:lnTo>
                  <a:lnTo>
                    <a:pt x="28777" y="0"/>
                  </a:lnTo>
                  <a:lnTo>
                    <a:pt x="27738" y="11398"/>
                  </a:lnTo>
                  <a:lnTo>
                    <a:pt x="26394" y="26170"/>
                  </a:lnTo>
                  <a:lnTo>
                    <a:pt x="15363" y="25437"/>
                  </a:lnTo>
                  <a:lnTo>
                    <a:pt x="10516" y="3331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6" name="Freeform 50">
              <a:extLst>
                <a:ext uri="{FF2B5EF4-FFF2-40B4-BE49-F238E27FC236}">
                  <a16:creationId xmlns:a16="http://schemas.microsoft.com/office/drawing/2014/main" id="{B3118957-C9D8-4A91-8AC7-02E470A33363}"/>
                </a:ext>
              </a:extLst>
            </p:cNvPr>
            <p:cNvSpPr>
              <a:spLocks noChangeAspect="1"/>
            </p:cNvSpPr>
            <p:nvPr>
              <p:custDataLst>
                <p:tags r:id="rId58"/>
              </p:custDataLst>
            </p:nvPr>
          </p:nvSpPr>
          <p:spPr>
            <a:xfrm>
              <a:off x="6410757" y="3857125"/>
              <a:ext cx="75931" cy="39265"/>
            </a:xfrm>
            <a:custGeom>
              <a:avLst/>
              <a:gdLst/>
              <a:ahLst/>
              <a:cxnLst/>
              <a:rect l="0" t="0" r="0" b="0"/>
              <a:pathLst>
                <a:path w="75931" h="39265">
                  <a:moveTo>
                    <a:pt x="66534" y="13103"/>
                  </a:moveTo>
                  <a:lnTo>
                    <a:pt x="75930" y="21053"/>
                  </a:lnTo>
                  <a:lnTo>
                    <a:pt x="74309" y="36316"/>
                  </a:lnTo>
                  <a:lnTo>
                    <a:pt x="55474" y="37052"/>
                  </a:lnTo>
                  <a:lnTo>
                    <a:pt x="35986" y="35388"/>
                  </a:lnTo>
                  <a:lnTo>
                    <a:pt x="21473" y="39264"/>
                  </a:lnTo>
                  <a:lnTo>
                    <a:pt x="494" y="29846"/>
                  </a:lnTo>
                  <a:lnTo>
                    <a:pt x="0" y="24867"/>
                  </a:lnTo>
                  <a:lnTo>
                    <a:pt x="15271" y="6340"/>
                  </a:lnTo>
                  <a:lnTo>
                    <a:pt x="27736" y="0"/>
                  </a:lnTo>
                  <a:lnTo>
                    <a:pt x="44232" y="5786"/>
                  </a:lnTo>
                  <a:lnTo>
                    <a:pt x="56428" y="63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7" name="Freeform 51">
              <a:extLst>
                <a:ext uri="{FF2B5EF4-FFF2-40B4-BE49-F238E27FC236}">
                  <a16:creationId xmlns:a16="http://schemas.microsoft.com/office/drawing/2014/main" id="{BE7A7562-8E5E-40EF-ADDE-CE1A67DE4CF0}"/>
                </a:ext>
              </a:extLst>
            </p:cNvPr>
            <p:cNvSpPr>
              <a:spLocks noChangeAspect="1"/>
            </p:cNvSpPr>
            <p:nvPr>
              <p:custDataLst>
                <p:tags r:id="rId59"/>
              </p:custDataLst>
            </p:nvPr>
          </p:nvSpPr>
          <p:spPr>
            <a:xfrm>
              <a:off x="4819927" y="4939848"/>
              <a:ext cx="220134" cy="222411"/>
            </a:xfrm>
            <a:custGeom>
              <a:avLst/>
              <a:gdLst/>
              <a:ahLst/>
              <a:cxnLst/>
              <a:rect l="0" t="0" r="0" b="0"/>
              <a:pathLst>
                <a:path w="220134" h="222411">
                  <a:moveTo>
                    <a:pt x="132811" y="20842"/>
                  </a:moveTo>
                  <a:lnTo>
                    <a:pt x="137456" y="25103"/>
                  </a:lnTo>
                  <a:lnTo>
                    <a:pt x="144713" y="38945"/>
                  </a:lnTo>
                  <a:lnTo>
                    <a:pt x="170836" y="65305"/>
                  </a:lnTo>
                  <a:lnTo>
                    <a:pt x="180721" y="67892"/>
                  </a:lnTo>
                  <a:lnTo>
                    <a:pt x="180778" y="76386"/>
                  </a:lnTo>
                  <a:lnTo>
                    <a:pt x="187568" y="91688"/>
                  </a:lnTo>
                  <a:lnTo>
                    <a:pt x="205417" y="95397"/>
                  </a:lnTo>
                  <a:lnTo>
                    <a:pt x="220133" y="106333"/>
                  </a:lnTo>
                  <a:lnTo>
                    <a:pt x="187472" y="124204"/>
                  </a:lnTo>
                  <a:lnTo>
                    <a:pt x="166748" y="142382"/>
                  </a:lnTo>
                  <a:lnTo>
                    <a:pt x="159061" y="158662"/>
                  </a:lnTo>
                  <a:lnTo>
                    <a:pt x="152121" y="167863"/>
                  </a:lnTo>
                  <a:lnTo>
                    <a:pt x="139562" y="169826"/>
                  </a:lnTo>
                  <a:lnTo>
                    <a:pt x="135504" y="181575"/>
                  </a:lnTo>
                  <a:lnTo>
                    <a:pt x="133169" y="189252"/>
                  </a:lnTo>
                  <a:lnTo>
                    <a:pt x="118407" y="194989"/>
                  </a:lnTo>
                  <a:lnTo>
                    <a:pt x="99620" y="193770"/>
                  </a:lnTo>
                  <a:lnTo>
                    <a:pt x="88594" y="186871"/>
                  </a:lnTo>
                  <a:lnTo>
                    <a:pt x="78865" y="183883"/>
                  </a:lnTo>
                  <a:lnTo>
                    <a:pt x="67605" y="189588"/>
                  </a:lnTo>
                  <a:lnTo>
                    <a:pt x="61956" y="201399"/>
                  </a:lnTo>
                  <a:lnTo>
                    <a:pt x="51025" y="208831"/>
                  </a:lnTo>
                  <a:lnTo>
                    <a:pt x="39481" y="219880"/>
                  </a:lnTo>
                  <a:lnTo>
                    <a:pt x="22948" y="222410"/>
                  </a:lnTo>
                  <a:lnTo>
                    <a:pt x="17797" y="213710"/>
                  </a:lnTo>
                  <a:lnTo>
                    <a:pt x="19924" y="198651"/>
                  </a:lnTo>
                  <a:lnTo>
                    <a:pt x="6238" y="175264"/>
                  </a:lnTo>
                  <a:lnTo>
                    <a:pt x="7" y="171578"/>
                  </a:lnTo>
                  <a:lnTo>
                    <a:pt x="0" y="100470"/>
                  </a:lnTo>
                  <a:lnTo>
                    <a:pt x="22752" y="99627"/>
                  </a:lnTo>
                  <a:lnTo>
                    <a:pt x="23433" y="14069"/>
                  </a:lnTo>
                  <a:lnTo>
                    <a:pt x="40616" y="13280"/>
                  </a:lnTo>
                  <a:lnTo>
                    <a:pt x="76205" y="4935"/>
                  </a:lnTo>
                  <a:lnTo>
                    <a:pt x="85026" y="14762"/>
                  </a:lnTo>
                  <a:lnTo>
                    <a:pt x="99761" y="5419"/>
                  </a:lnTo>
                  <a:lnTo>
                    <a:pt x="106763" y="5366"/>
                  </a:lnTo>
                  <a:lnTo>
                    <a:pt x="119775" y="0"/>
                  </a:lnTo>
                  <a:lnTo>
                    <a:pt x="123925" y="177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8" name="Freeform 52">
              <a:extLst>
                <a:ext uri="{FF2B5EF4-FFF2-40B4-BE49-F238E27FC236}">
                  <a16:creationId xmlns:a16="http://schemas.microsoft.com/office/drawing/2014/main" id="{5CECE832-6513-46FC-8F5F-1722DD77F626}"/>
                </a:ext>
              </a:extLst>
            </p:cNvPr>
            <p:cNvSpPr>
              <a:spLocks noChangeAspect="1"/>
            </p:cNvSpPr>
            <p:nvPr>
              <p:custDataLst>
                <p:tags r:id="rId60"/>
              </p:custDataLst>
            </p:nvPr>
          </p:nvSpPr>
          <p:spPr>
            <a:xfrm>
              <a:off x="4694448" y="4269730"/>
              <a:ext cx="298110" cy="205890"/>
            </a:xfrm>
            <a:custGeom>
              <a:avLst/>
              <a:gdLst/>
              <a:ahLst/>
              <a:cxnLst/>
              <a:rect l="0" t="0" r="0" b="0"/>
              <a:pathLst>
                <a:path w="298110" h="205890">
                  <a:moveTo>
                    <a:pt x="18929" y="86615"/>
                  </a:moveTo>
                  <a:lnTo>
                    <a:pt x="38014" y="84871"/>
                  </a:lnTo>
                  <a:lnTo>
                    <a:pt x="42268" y="78900"/>
                  </a:lnTo>
                  <a:lnTo>
                    <a:pt x="46091" y="79353"/>
                  </a:lnTo>
                  <a:lnTo>
                    <a:pt x="51857" y="84610"/>
                  </a:lnTo>
                  <a:lnTo>
                    <a:pt x="80917" y="75728"/>
                  </a:lnTo>
                  <a:lnTo>
                    <a:pt x="90718" y="66658"/>
                  </a:lnTo>
                  <a:lnTo>
                    <a:pt x="102755" y="58533"/>
                  </a:lnTo>
                  <a:lnTo>
                    <a:pt x="100470" y="50345"/>
                  </a:lnTo>
                  <a:lnTo>
                    <a:pt x="106979" y="48206"/>
                  </a:lnTo>
                  <a:lnTo>
                    <a:pt x="129270" y="49652"/>
                  </a:lnTo>
                  <a:lnTo>
                    <a:pt x="150995" y="38869"/>
                  </a:lnTo>
                  <a:lnTo>
                    <a:pt x="167682" y="13435"/>
                  </a:lnTo>
                  <a:lnTo>
                    <a:pt x="179392" y="3984"/>
                  </a:lnTo>
                  <a:lnTo>
                    <a:pt x="194005" y="0"/>
                  </a:lnTo>
                  <a:lnTo>
                    <a:pt x="196622" y="9994"/>
                  </a:lnTo>
                  <a:lnTo>
                    <a:pt x="209935" y="24580"/>
                  </a:lnTo>
                  <a:lnTo>
                    <a:pt x="210003" y="34088"/>
                  </a:lnTo>
                  <a:lnTo>
                    <a:pt x="206252" y="43779"/>
                  </a:lnTo>
                  <a:lnTo>
                    <a:pt x="207735" y="51011"/>
                  </a:lnTo>
                  <a:lnTo>
                    <a:pt x="215740" y="57709"/>
                  </a:lnTo>
                  <a:lnTo>
                    <a:pt x="233319" y="67870"/>
                  </a:lnTo>
                  <a:lnTo>
                    <a:pt x="245958" y="77256"/>
                  </a:lnTo>
                  <a:lnTo>
                    <a:pt x="246171" y="84801"/>
                  </a:lnTo>
                  <a:lnTo>
                    <a:pt x="261694" y="96884"/>
                  </a:lnTo>
                  <a:lnTo>
                    <a:pt x="271314" y="106916"/>
                  </a:lnTo>
                  <a:lnTo>
                    <a:pt x="277142" y="120816"/>
                  </a:lnTo>
                  <a:lnTo>
                    <a:pt x="294397" y="129981"/>
                  </a:lnTo>
                  <a:lnTo>
                    <a:pt x="298109" y="137320"/>
                  </a:lnTo>
                  <a:lnTo>
                    <a:pt x="290488" y="139775"/>
                  </a:lnTo>
                  <a:lnTo>
                    <a:pt x="275685" y="139242"/>
                  </a:lnTo>
                  <a:lnTo>
                    <a:pt x="258319" y="136807"/>
                  </a:lnTo>
                  <a:lnTo>
                    <a:pt x="249741" y="138790"/>
                  </a:lnTo>
                  <a:lnTo>
                    <a:pt x="246279" y="144417"/>
                  </a:lnTo>
                  <a:lnTo>
                    <a:pt x="238805" y="145111"/>
                  </a:lnTo>
                  <a:lnTo>
                    <a:pt x="229699" y="140216"/>
                  </a:lnTo>
                  <a:lnTo>
                    <a:pt x="204001" y="151763"/>
                  </a:lnTo>
                  <a:lnTo>
                    <a:pt x="193481" y="149440"/>
                  </a:lnTo>
                  <a:lnTo>
                    <a:pt x="190310" y="151223"/>
                  </a:lnTo>
                  <a:lnTo>
                    <a:pt x="183409" y="165188"/>
                  </a:lnTo>
                  <a:lnTo>
                    <a:pt x="166189" y="160675"/>
                  </a:lnTo>
                  <a:lnTo>
                    <a:pt x="149303" y="158399"/>
                  </a:lnTo>
                  <a:lnTo>
                    <a:pt x="134602" y="149867"/>
                  </a:lnTo>
                  <a:lnTo>
                    <a:pt x="115607" y="142004"/>
                  </a:lnTo>
                  <a:lnTo>
                    <a:pt x="103247" y="149454"/>
                  </a:lnTo>
                  <a:lnTo>
                    <a:pt x="94260" y="161196"/>
                  </a:lnTo>
                  <a:lnTo>
                    <a:pt x="92185" y="177318"/>
                  </a:lnTo>
                  <a:lnTo>
                    <a:pt x="77339" y="176028"/>
                  </a:lnTo>
                  <a:lnTo>
                    <a:pt x="61715" y="172145"/>
                  </a:lnTo>
                  <a:lnTo>
                    <a:pt x="47958" y="184392"/>
                  </a:lnTo>
                  <a:lnTo>
                    <a:pt x="35858" y="205889"/>
                  </a:lnTo>
                  <a:lnTo>
                    <a:pt x="33423" y="199197"/>
                  </a:lnTo>
                  <a:lnTo>
                    <a:pt x="32393" y="188659"/>
                  </a:lnTo>
                  <a:lnTo>
                    <a:pt x="21836" y="181225"/>
                  </a:lnTo>
                  <a:lnTo>
                    <a:pt x="13315" y="169298"/>
                  </a:lnTo>
                  <a:lnTo>
                    <a:pt x="11347" y="160998"/>
                  </a:lnTo>
                  <a:lnTo>
                    <a:pt x="438" y="148920"/>
                  </a:lnTo>
                  <a:lnTo>
                    <a:pt x="2297" y="142026"/>
                  </a:lnTo>
                  <a:lnTo>
                    <a:pt x="0" y="132278"/>
                  </a:lnTo>
                  <a:lnTo>
                    <a:pt x="1781" y="114324"/>
                  </a:lnTo>
                  <a:lnTo>
                    <a:pt x="7321" y="1101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9" name="Freeform 53">
              <a:extLst>
                <a:ext uri="{FF2B5EF4-FFF2-40B4-BE49-F238E27FC236}">
                  <a16:creationId xmlns:a16="http://schemas.microsoft.com/office/drawing/2014/main" id="{905634B8-BF0D-4F5B-97E2-B70BE0EE011D}"/>
                </a:ext>
              </a:extLst>
            </p:cNvPr>
            <p:cNvSpPr>
              <a:spLocks noChangeAspect="1"/>
            </p:cNvSpPr>
            <p:nvPr>
              <p:custDataLst>
                <p:tags r:id="rId61"/>
              </p:custDataLst>
            </p:nvPr>
          </p:nvSpPr>
          <p:spPr>
            <a:xfrm>
              <a:off x="6061310" y="3160312"/>
              <a:ext cx="1416144" cy="943012"/>
            </a:xfrm>
            <a:custGeom>
              <a:avLst/>
              <a:gdLst/>
              <a:ahLst/>
              <a:cxnLst/>
              <a:rect l="l" t="t" r="r" b="b"/>
              <a:pathLst>
                <a:path w="1416144" h="943012">
                  <a:moveTo>
                    <a:pt x="843354" y="897452"/>
                  </a:moveTo>
                  <a:lnTo>
                    <a:pt x="856626" y="898022"/>
                  </a:lnTo>
                  <a:lnTo>
                    <a:pt x="861784" y="907181"/>
                  </a:lnTo>
                  <a:lnTo>
                    <a:pt x="851642" y="917726"/>
                  </a:lnTo>
                  <a:lnTo>
                    <a:pt x="846299" y="931538"/>
                  </a:lnTo>
                  <a:lnTo>
                    <a:pt x="826356" y="943012"/>
                  </a:lnTo>
                  <a:lnTo>
                    <a:pt x="807429" y="935615"/>
                  </a:lnTo>
                  <a:lnTo>
                    <a:pt x="806760" y="915044"/>
                  </a:lnTo>
                  <a:lnTo>
                    <a:pt x="818135" y="904180"/>
                  </a:lnTo>
                  <a:close/>
                  <a:moveTo>
                    <a:pt x="1151736" y="0"/>
                  </a:moveTo>
                  <a:lnTo>
                    <a:pt x="1186285" y="9344"/>
                  </a:lnTo>
                  <a:lnTo>
                    <a:pt x="1206555" y="20851"/>
                  </a:lnTo>
                  <a:lnTo>
                    <a:pt x="1220820" y="52095"/>
                  </a:lnTo>
                  <a:lnTo>
                    <a:pt x="1229471" y="65309"/>
                  </a:lnTo>
                  <a:lnTo>
                    <a:pt x="1237510" y="84045"/>
                  </a:lnTo>
                  <a:lnTo>
                    <a:pt x="1246050" y="113648"/>
                  </a:lnTo>
                  <a:lnTo>
                    <a:pt x="1286223" y="123236"/>
                  </a:lnTo>
                  <a:lnTo>
                    <a:pt x="1313564" y="144432"/>
                  </a:lnTo>
                  <a:lnTo>
                    <a:pt x="1322913" y="172186"/>
                  </a:lnTo>
                  <a:lnTo>
                    <a:pt x="1357984" y="172220"/>
                  </a:lnTo>
                  <a:lnTo>
                    <a:pt x="1377995" y="160603"/>
                  </a:lnTo>
                  <a:lnTo>
                    <a:pt x="1416144" y="151888"/>
                  </a:lnTo>
                  <a:lnTo>
                    <a:pt x="1404014" y="178399"/>
                  </a:lnTo>
                  <a:lnTo>
                    <a:pt x="1395048" y="189107"/>
                  </a:lnTo>
                  <a:lnTo>
                    <a:pt x="1387137" y="220911"/>
                  </a:lnTo>
                  <a:lnTo>
                    <a:pt x="1371614" y="248849"/>
                  </a:lnTo>
                  <a:lnTo>
                    <a:pt x="1343598" y="243784"/>
                  </a:lnTo>
                  <a:lnTo>
                    <a:pt x="1323788" y="253877"/>
                  </a:lnTo>
                  <a:lnTo>
                    <a:pt x="1329867" y="278199"/>
                  </a:lnTo>
                  <a:lnTo>
                    <a:pt x="1326546" y="311420"/>
                  </a:lnTo>
                  <a:lnTo>
                    <a:pt x="1314755" y="312174"/>
                  </a:lnTo>
                  <a:lnTo>
                    <a:pt x="1314897" y="326338"/>
                  </a:lnTo>
                  <a:lnTo>
                    <a:pt x="1299991" y="309871"/>
                  </a:lnTo>
                  <a:lnTo>
                    <a:pt x="1290813" y="325504"/>
                  </a:lnTo>
                  <a:lnTo>
                    <a:pt x="1255163" y="337463"/>
                  </a:lnTo>
                  <a:lnTo>
                    <a:pt x="1258769" y="352046"/>
                  </a:lnTo>
                  <a:lnTo>
                    <a:pt x="1238811" y="351043"/>
                  </a:lnTo>
                  <a:lnTo>
                    <a:pt x="1227853" y="342384"/>
                  </a:lnTo>
                  <a:lnTo>
                    <a:pt x="1211995" y="361942"/>
                  </a:lnTo>
                  <a:lnTo>
                    <a:pt x="1186555" y="376681"/>
                  </a:lnTo>
                  <a:lnTo>
                    <a:pt x="1167759" y="394176"/>
                  </a:lnTo>
                  <a:lnTo>
                    <a:pt x="1135488" y="402073"/>
                  </a:lnTo>
                  <a:lnTo>
                    <a:pt x="1118495" y="414728"/>
                  </a:lnTo>
                  <a:lnTo>
                    <a:pt x="1093638" y="422097"/>
                  </a:lnTo>
                  <a:lnTo>
                    <a:pt x="1105906" y="409578"/>
                  </a:lnTo>
                  <a:lnTo>
                    <a:pt x="1101076" y="399020"/>
                  </a:lnTo>
                  <a:lnTo>
                    <a:pt x="1119353" y="380710"/>
                  </a:lnTo>
                  <a:lnTo>
                    <a:pt x="1107161" y="366363"/>
                  </a:lnTo>
                  <a:lnTo>
                    <a:pt x="1087039" y="376037"/>
                  </a:lnTo>
                  <a:lnTo>
                    <a:pt x="1060978" y="395004"/>
                  </a:lnTo>
                  <a:lnTo>
                    <a:pt x="1046755" y="412515"/>
                  </a:lnTo>
                  <a:lnTo>
                    <a:pt x="1024118" y="413814"/>
                  </a:lnTo>
                  <a:lnTo>
                    <a:pt x="1012345" y="426404"/>
                  </a:lnTo>
                  <a:lnTo>
                    <a:pt x="1024509" y="444559"/>
                  </a:lnTo>
                  <a:lnTo>
                    <a:pt x="1043401" y="448951"/>
                  </a:lnTo>
                  <a:lnTo>
                    <a:pt x="1044175" y="460932"/>
                  </a:lnTo>
                  <a:lnTo>
                    <a:pt x="1062436" y="468704"/>
                  </a:lnTo>
                  <a:lnTo>
                    <a:pt x="1088304" y="449671"/>
                  </a:lnTo>
                  <a:lnTo>
                    <a:pt x="1108797" y="460061"/>
                  </a:lnTo>
                  <a:lnTo>
                    <a:pt x="1123724" y="460771"/>
                  </a:lnTo>
                  <a:lnTo>
                    <a:pt x="1127465" y="474700"/>
                  </a:lnTo>
                  <a:lnTo>
                    <a:pt x="1094783" y="482102"/>
                  </a:lnTo>
                  <a:lnTo>
                    <a:pt x="1084001" y="496365"/>
                  </a:lnTo>
                  <a:lnTo>
                    <a:pt x="1061553" y="509565"/>
                  </a:lnTo>
                  <a:lnTo>
                    <a:pt x="1049704" y="527899"/>
                  </a:lnTo>
                  <a:lnTo>
                    <a:pt x="1074549" y="542227"/>
                  </a:lnTo>
                  <a:lnTo>
                    <a:pt x="1083616" y="567730"/>
                  </a:lnTo>
                  <a:lnTo>
                    <a:pt x="1097665" y="591333"/>
                  </a:lnTo>
                  <a:lnTo>
                    <a:pt x="1113342" y="611004"/>
                  </a:lnTo>
                  <a:lnTo>
                    <a:pt x="1112967" y="629932"/>
                  </a:lnTo>
                  <a:lnTo>
                    <a:pt x="1098479" y="636867"/>
                  </a:lnTo>
                  <a:lnTo>
                    <a:pt x="1104002" y="650378"/>
                  </a:lnTo>
                  <a:lnTo>
                    <a:pt x="1117588" y="658220"/>
                  </a:lnTo>
                  <a:lnTo>
                    <a:pt x="1114041" y="678728"/>
                  </a:lnTo>
                  <a:lnTo>
                    <a:pt x="1108178" y="698586"/>
                  </a:lnTo>
                  <a:lnTo>
                    <a:pt x="1095280" y="700831"/>
                  </a:lnTo>
                  <a:lnTo>
                    <a:pt x="1078425" y="727795"/>
                  </a:lnTo>
                  <a:lnTo>
                    <a:pt x="1059729" y="760271"/>
                  </a:lnTo>
                  <a:lnTo>
                    <a:pt x="1038294" y="789607"/>
                  </a:lnTo>
                  <a:lnTo>
                    <a:pt x="1006549" y="812174"/>
                  </a:lnTo>
                  <a:lnTo>
                    <a:pt x="974443" y="832667"/>
                  </a:lnTo>
                  <a:lnTo>
                    <a:pt x="948432" y="835456"/>
                  </a:lnTo>
                  <a:lnTo>
                    <a:pt x="934322" y="846237"/>
                  </a:lnTo>
                  <a:lnTo>
                    <a:pt x="926341" y="838364"/>
                  </a:lnTo>
                  <a:lnTo>
                    <a:pt x="913283" y="850415"/>
                  </a:lnTo>
                  <a:lnTo>
                    <a:pt x="881025" y="862533"/>
                  </a:lnTo>
                  <a:lnTo>
                    <a:pt x="856601" y="866239"/>
                  </a:lnTo>
                  <a:lnTo>
                    <a:pt x="848719" y="891689"/>
                  </a:lnTo>
                  <a:lnTo>
                    <a:pt x="835928" y="893098"/>
                  </a:lnTo>
                  <a:lnTo>
                    <a:pt x="829875" y="875624"/>
                  </a:lnTo>
                  <a:lnTo>
                    <a:pt x="835342" y="866289"/>
                  </a:lnTo>
                  <a:lnTo>
                    <a:pt x="804372" y="858551"/>
                  </a:lnTo>
                  <a:lnTo>
                    <a:pt x="793463" y="862488"/>
                  </a:lnTo>
                  <a:lnTo>
                    <a:pt x="770224" y="856212"/>
                  </a:lnTo>
                  <a:lnTo>
                    <a:pt x="759233" y="846372"/>
                  </a:lnTo>
                  <a:lnTo>
                    <a:pt x="762883" y="832391"/>
                  </a:lnTo>
                  <a:lnTo>
                    <a:pt x="741782" y="827950"/>
                  </a:lnTo>
                  <a:lnTo>
                    <a:pt x="730656" y="818817"/>
                  </a:lnTo>
                  <a:lnTo>
                    <a:pt x="710981" y="831786"/>
                  </a:lnTo>
                  <a:lnTo>
                    <a:pt x="688537" y="834590"/>
                  </a:lnTo>
                  <a:lnTo>
                    <a:pt x="670128" y="834467"/>
                  </a:lnTo>
                  <a:lnTo>
                    <a:pt x="657742" y="840393"/>
                  </a:lnTo>
                  <a:lnTo>
                    <a:pt x="645776" y="843948"/>
                  </a:lnTo>
                  <a:lnTo>
                    <a:pt x="649264" y="871616"/>
                  </a:lnTo>
                  <a:lnTo>
                    <a:pt x="636958" y="870958"/>
                  </a:lnTo>
                  <a:lnTo>
                    <a:pt x="634881" y="865286"/>
                  </a:lnTo>
                  <a:lnTo>
                    <a:pt x="634189" y="855290"/>
                  </a:lnTo>
                  <a:lnTo>
                    <a:pt x="617258" y="862332"/>
                  </a:lnTo>
                  <a:lnTo>
                    <a:pt x="607262" y="857880"/>
                  </a:lnTo>
                  <a:lnTo>
                    <a:pt x="590121" y="848793"/>
                  </a:lnTo>
                  <a:lnTo>
                    <a:pt x="596840" y="828628"/>
                  </a:lnTo>
                  <a:lnTo>
                    <a:pt x="582223" y="823915"/>
                  </a:lnTo>
                  <a:lnTo>
                    <a:pt x="576719" y="801457"/>
                  </a:lnTo>
                  <a:lnTo>
                    <a:pt x="552354" y="805511"/>
                  </a:lnTo>
                  <a:lnTo>
                    <a:pt x="555121" y="776447"/>
                  </a:lnTo>
                  <a:lnTo>
                    <a:pt x="576985" y="755881"/>
                  </a:lnTo>
                  <a:lnTo>
                    <a:pt x="577915" y="735478"/>
                  </a:lnTo>
                  <a:lnTo>
                    <a:pt x="577237" y="716466"/>
                  </a:lnTo>
                  <a:lnTo>
                    <a:pt x="567161" y="710526"/>
                  </a:lnTo>
                  <a:lnTo>
                    <a:pt x="559446" y="695824"/>
                  </a:lnTo>
                  <a:lnTo>
                    <a:pt x="545945" y="697684"/>
                  </a:lnTo>
                  <a:lnTo>
                    <a:pt x="521056" y="693946"/>
                  </a:lnTo>
                  <a:lnTo>
                    <a:pt x="528853" y="683423"/>
                  </a:lnTo>
                  <a:lnTo>
                    <a:pt x="518028" y="667794"/>
                  </a:lnTo>
                  <a:lnTo>
                    <a:pt x="501574" y="678384"/>
                  </a:lnTo>
                  <a:lnTo>
                    <a:pt x="482211" y="672207"/>
                  </a:lnTo>
                  <a:lnTo>
                    <a:pt x="455605" y="688196"/>
                  </a:lnTo>
                  <a:lnTo>
                    <a:pt x="434595" y="706794"/>
                  </a:lnTo>
                  <a:lnTo>
                    <a:pt x="415980" y="709915"/>
                  </a:lnTo>
                  <a:lnTo>
                    <a:pt x="405874" y="703206"/>
                  </a:lnTo>
                  <a:lnTo>
                    <a:pt x="393678" y="702598"/>
                  </a:lnTo>
                  <a:lnTo>
                    <a:pt x="377182" y="696812"/>
                  </a:lnTo>
                  <a:lnTo>
                    <a:pt x="364717" y="703152"/>
                  </a:lnTo>
                  <a:lnTo>
                    <a:pt x="349446" y="721679"/>
                  </a:lnTo>
                  <a:lnTo>
                    <a:pt x="347509" y="702051"/>
                  </a:lnTo>
                  <a:lnTo>
                    <a:pt x="333431" y="707301"/>
                  </a:lnTo>
                  <a:lnTo>
                    <a:pt x="306519" y="704862"/>
                  </a:lnTo>
                  <a:lnTo>
                    <a:pt x="280407" y="699134"/>
                  </a:lnTo>
                  <a:lnTo>
                    <a:pt x="261672" y="688142"/>
                  </a:lnTo>
                  <a:lnTo>
                    <a:pt x="243735" y="683199"/>
                  </a:lnTo>
                  <a:lnTo>
                    <a:pt x="235989" y="671131"/>
                  </a:lnTo>
                  <a:lnTo>
                    <a:pt x="223019" y="667518"/>
                  </a:lnTo>
                  <a:lnTo>
                    <a:pt x="199715" y="651077"/>
                  </a:lnTo>
                  <a:lnTo>
                    <a:pt x="181209" y="643296"/>
                  </a:lnTo>
                  <a:lnTo>
                    <a:pt x="171640" y="649352"/>
                  </a:lnTo>
                  <a:lnTo>
                    <a:pt x="139558" y="631625"/>
                  </a:lnTo>
                  <a:lnTo>
                    <a:pt x="116880" y="615503"/>
                  </a:lnTo>
                  <a:lnTo>
                    <a:pt x="110406" y="587278"/>
                  </a:lnTo>
                  <a:lnTo>
                    <a:pt x="126973" y="590730"/>
                  </a:lnTo>
                  <a:lnTo>
                    <a:pt x="127729" y="577595"/>
                  </a:lnTo>
                  <a:lnTo>
                    <a:pt x="118546" y="564383"/>
                  </a:lnTo>
                  <a:lnTo>
                    <a:pt x="120882" y="543225"/>
                  </a:lnTo>
                  <a:lnTo>
                    <a:pt x="96072" y="512604"/>
                  </a:lnTo>
                  <a:lnTo>
                    <a:pt x="58110" y="501977"/>
                  </a:lnTo>
                  <a:lnTo>
                    <a:pt x="51279" y="481692"/>
                  </a:lnTo>
                  <a:lnTo>
                    <a:pt x="34224" y="469325"/>
                  </a:lnTo>
                  <a:lnTo>
                    <a:pt x="30114" y="461690"/>
                  </a:lnTo>
                  <a:lnTo>
                    <a:pt x="26652" y="446472"/>
                  </a:lnTo>
                  <a:lnTo>
                    <a:pt x="27456" y="436050"/>
                  </a:lnTo>
                  <a:lnTo>
                    <a:pt x="13438" y="429933"/>
                  </a:lnTo>
                  <a:lnTo>
                    <a:pt x="5851" y="432640"/>
                  </a:lnTo>
                  <a:lnTo>
                    <a:pt x="0" y="407673"/>
                  </a:lnTo>
                  <a:lnTo>
                    <a:pt x="6571" y="401470"/>
                  </a:lnTo>
                  <a:lnTo>
                    <a:pt x="3391" y="395115"/>
                  </a:lnTo>
                  <a:lnTo>
                    <a:pt x="25426" y="382241"/>
                  </a:lnTo>
                  <a:lnTo>
                    <a:pt x="41375" y="376894"/>
                  </a:lnTo>
                  <a:lnTo>
                    <a:pt x="65809" y="380560"/>
                  </a:lnTo>
                  <a:lnTo>
                    <a:pt x="74537" y="363065"/>
                  </a:lnTo>
                  <a:lnTo>
                    <a:pt x="104145" y="359798"/>
                  </a:lnTo>
                  <a:lnTo>
                    <a:pt x="112373" y="348860"/>
                  </a:lnTo>
                  <a:lnTo>
                    <a:pt x="148746" y="333868"/>
                  </a:lnTo>
                  <a:lnTo>
                    <a:pt x="151991" y="327590"/>
                  </a:lnTo>
                  <a:lnTo>
                    <a:pt x="150148" y="311697"/>
                  </a:lnTo>
                  <a:lnTo>
                    <a:pt x="165984" y="304412"/>
                  </a:lnTo>
                  <a:lnTo>
                    <a:pt x="145207" y="255315"/>
                  </a:lnTo>
                  <a:lnTo>
                    <a:pt x="190933" y="243902"/>
                  </a:lnTo>
                  <a:lnTo>
                    <a:pt x="202748" y="237523"/>
                  </a:lnTo>
                  <a:lnTo>
                    <a:pt x="219404" y="185672"/>
                  </a:lnTo>
                  <a:lnTo>
                    <a:pt x="265195" y="195276"/>
                  </a:lnTo>
                  <a:lnTo>
                    <a:pt x="278033" y="182075"/>
                  </a:lnTo>
                  <a:lnTo>
                    <a:pt x="279136" y="152554"/>
                  </a:lnTo>
                  <a:lnTo>
                    <a:pt x="298307" y="149787"/>
                  </a:lnTo>
                  <a:lnTo>
                    <a:pt x="315877" y="129981"/>
                  </a:lnTo>
                  <a:lnTo>
                    <a:pt x="324910" y="127525"/>
                  </a:lnTo>
                  <a:lnTo>
                    <a:pt x="330970" y="148296"/>
                  </a:lnTo>
                  <a:lnTo>
                    <a:pt x="350371" y="163976"/>
                  </a:lnTo>
                  <a:lnTo>
                    <a:pt x="383298" y="175022"/>
                  </a:lnTo>
                  <a:lnTo>
                    <a:pt x="399225" y="198561"/>
                  </a:lnTo>
                  <a:lnTo>
                    <a:pt x="390337" y="232352"/>
                  </a:lnTo>
                  <a:lnTo>
                    <a:pt x="398642" y="244788"/>
                  </a:lnTo>
                  <a:lnTo>
                    <a:pt x="426072" y="249677"/>
                  </a:lnTo>
                  <a:lnTo>
                    <a:pt x="457161" y="253662"/>
                  </a:lnTo>
                  <a:lnTo>
                    <a:pt x="485049" y="271381"/>
                  </a:lnTo>
                  <a:lnTo>
                    <a:pt x="499313" y="274526"/>
                  </a:lnTo>
                  <a:lnTo>
                    <a:pt x="509829" y="300511"/>
                  </a:lnTo>
                  <a:lnTo>
                    <a:pt x="523377" y="317127"/>
                  </a:lnTo>
                  <a:lnTo>
                    <a:pt x="548823" y="316478"/>
                  </a:lnTo>
                  <a:lnTo>
                    <a:pt x="596467" y="322729"/>
                  </a:lnTo>
                  <a:lnTo>
                    <a:pt x="627168" y="318852"/>
                  </a:lnTo>
                  <a:lnTo>
                    <a:pt x="649955" y="323002"/>
                  </a:lnTo>
                  <a:lnTo>
                    <a:pt x="684099" y="339868"/>
                  </a:lnTo>
                  <a:lnTo>
                    <a:pt x="712030" y="339844"/>
                  </a:lnTo>
                  <a:lnTo>
                    <a:pt x="722249" y="348441"/>
                  </a:lnTo>
                  <a:lnTo>
                    <a:pt x="749124" y="333580"/>
                  </a:lnTo>
                  <a:lnTo>
                    <a:pt x="786413" y="323931"/>
                  </a:lnTo>
                  <a:lnTo>
                    <a:pt x="821010" y="322875"/>
                  </a:lnTo>
                  <a:lnTo>
                    <a:pt x="847982" y="313062"/>
                  </a:lnTo>
                  <a:lnTo>
                    <a:pt x="864546" y="298058"/>
                  </a:lnTo>
                  <a:lnTo>
                    <a:pt x="880702" y="288599"/>
                  </a:lnTo>
                  <a:lnTo>
                    <a:pt x="876965" y="279283"/>
                  </a:lnTo>
                  <a:lnTo>
                    <a:pt x="869594" y="268400"/>
                  </a:lnTo>
                  <a:lnTo>
                    <a:pt x="881711" y="250048"/>
                  </a:lnTo>
                  <a:lnTo>
                    <a:pt x="894701" y="252630"/>
                  </a:lnTo>
                  <a:lnTo>
                    <a:pt x="918426" y="258410"/>
                  </a:lnTo>
                  <a:lnTo>
                    <a:pt x="941427" y="243250"/>
                  </a:lnTo>
                  <a:lnTo>
                    <a:pt x="976622" y="232136"/>
                  </a:lnTo>
                  <a:lnTo>
                    <a:pt x="993536" y="213070"/>
                  </a:lnTo>
                  <a:lnTo>
                    <a:pt x="1009782" y="204822"/>
                  </a:lnTo>
                  <a:lnTo>
                    <a:pt x="1043313" y="200967"/>
                  </a:lnTo>
                  <a:lnTo>
                    <a:pt x="1061524" y="204243"/>
                  </a:lnTo>
                  <a:lnTo>
                    <a:pt x="1064053" y="193904"/>
                  </a:lnTo>
                  <a:lnTo>
                    <a:pt x="1043134" y="173451"/>
                  </a:lnTo>
                  <a:lnTo>
                    <a:pt x="1024612" y="164045"/>
                  </a:lnTo>
                  <a:lnTo>
                    <a:pt x="1006870" y="174900"/>
                  </a:lnTo>
                  <a:lnTo>
                    <a:pt x="984098" y="170326"/>
                  </a:lnTo>
                  <a:lnTo>
                    <a:pt x="971030" y="174054"/>
                  </a:lnTo>
                  <a:lnTo>
                    <a:pt x="965085" y="162021"/>
                  </a:lnTo>
                  <a:lnTo>
                    <a:pt x="981393" y="132380"/>
                  </a:lnTo>
                  <a:lnTo>
                    <a:pt x="992634" y="109791"/>
                  </a:lnTo>
                  <a:lnTo>
                    <a:pt x="1020344" y="121128"/>
                  </a:lnTo>
                  <a:lnTo>
                    <a:pt x="1052873" y="102125"/>
                  </a:lnTo>
                  <a:lnTo>
                    <a:pt x="1052663" y="88810"/>
                  </a:lnTo>
                  <a:lnTo>
                    <a:pt x="1073499" y="56423"/>
                  </a:lnTo>
                  <a:lnTo>
                    <a:pt x="1086336" y="46552"/>
                  </a:lnTo>
                  <a:lnTo>
                    <a:pt x="1086050" y="29459"/>
                  </a:lnTo>
                  <a:lnTo>
                    <a:pt x="1073385" y="22064"/>
                  </a:lnTo>
                  <a:lnTo>
                    <a:pt x="1092451" y="6512"/>
                  </a:lnTo>
                  <a:lnTo>
                    <a:pt x="1121134" y="85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0" name="Freeform 54">
              <a:extLst>
                <a:ext uri="{FF2B5EF4-FFF2-40B4-BE49-F238E27FC236}">
                  <a16:creationId xmlns:a16="http://schemas.microsoft.com/office/drawing/2014/main" id="{7B5E9866-CA56-4EB7-9153-3BC21E2F8D5A}"/>
                </a:ext>
              </a:extLst>
            </p:cNvPr>
            <p:cNvSpPr>
              <a:spLocks noChangeAspect="1"/>
            </p:cNvSpPr>
            <p:nvPr>
              <p:custDataLst>
                <p:tags r:id="rId62"/>
              </p:custDataLst>
            </p:nvPr>
          </p:nvSpPr>
          <p:spPr>
            <a:xfrm>
              <a:off x="4499704" y="3331302"/>
              <a:ext cx="102029" cy="59718"/>
            </a:xfrm>
            <a:custGeom>
              <a:avLst/>
              <a:gdLst/>
              <a:ahLst/>
              <a:cxnLst/>
              <a:rect l="0" t="0" r="0" b="0"/>
              <a:pathLst>
                <a:path w="102029" h="59718">
                  <a:moveTo>
                    <a:pt x="82443" y="8975"/>
                  </a:moveTo>
                  <a:lnTo>
                    <a:pt x="83336" y="14169"/>
                  </a:lnTo>
                  <a:lnTo>
                    <a:pt x="79806" y="21319"/>
                  </a:lnTo>
                  <a:lnTo>
                    <a:pt x="90250" y="26624"/>
                  </a:lnTo>
                  <a:lnTo>
                    <a:pt x="102028" y="27415"/>
                  </a:lnTo>
                  <a:lnTo>
                    <a:pt x="100197" y="39319"/>
                  </a:lnTo>
                  <a:lnTo>
                    <a:pt x="90028" y="44202"/>
                  </a:lnTo>
                  <a:lnTo>
                    <a:pt x="72948" y="40576"/>
                  </a:lnTo>
                  <a:lnTo>
                    <a:pt x="67949" y="52230"/>
                  </a:lnTo>
                  <a:lnTo>
                    <a:pt x="56953" y="53146"/>
                  </a:lnTo>
                  <a:lnTo>
                    <a:pt x="52953" y="48573"/>
                  </a:lnTo>
                  <a:lnTo>
                    <a:pt x="40012" y="58350"/>
                  </a:lnTo>
                  <a:lnTo>
                    <a:pt x="28882" y="59717"/>
                  </a:lnTo>
                  <a:lnTo>
                    <a:pt x="18951" y="53550"/>
                  </a:lnTo>
                  <a:lnTo>
                    <a:pt x="11022" y="40881"/>
                  </a:lnTo>
                  <a:lnTo>
                    <a:pt x="0" y="45414"/>
                  </a:lnTo>
                  <a:lnTo>
                    <a:pt x="341" y="32293"/>
                  </a:lnTo>
                  <a:lnTo>
                    <a:pt x="17223" y="15920"/>
                  </a:lnTo>
                  <a:lnTo>
                    <a:pt x="16480" y="8484"/>
                  </a:lnTo>
                  <a:lnTo>
                    <a:pt x="26998" y="11180"/>
                  </a:lnTo>
                  <a:lnTo>
                    <a:pt x="33335" y="6175"/>
                  </a:lnTo>
                  <a:lnTo>
                    <a:pt x="52968" y="6380"/>
                  </a:lnTo>
                  <a:lnTo>
                    <a:pt x="57707"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1" name="Freeform 55">
              <a:extLst>
                <a:ext uri="{FF2B5EF4-FFF2-40B4-BE49-F238E27FC236}">
                  <a16:creationId xmlns:a16="http://schemas.microsoft.com/office/drawing/2014/main" id="{A2B6202B-7CD2-4D5F-8CD0-9280DE7C289B}"/>
                </a:ext>
              </a:extLst>
            </p:cNvPr>
            <p:cNvSpPr>
              <a:spLocks noChangeAspect="1"/>
            </p:cNvSpPr>
            <p:nvPr>
              <p:custDataLst>
                <p:tags r:id="rId63"/>
              </p:custDataLst>
            </p:nvPr>
          </p:nvSpPr>
          <p:spPr>
            <a:xfrm>
              <a:off x="4162109" y="4284168"/>
              <a:ext cx="139436" cy="143603"/>
            </a:xfrm>
            <a:custGeom>
              <a:avLst/>
              <a:gdLst/>
              <a:ahLst/>
              <a:cxnLst/>
              <a:rect l="0" t="0" r="0" b="0"/>
              <a:pathLst>
                <a:path w="139436" h="143603">
                  <a:moveTo>
                    <a:pt x="132651" y="128423"/>
                  </a:moveTo>
                  <a:lnTo>
                    <a:pt x="122149" y="128659"/>
                  </a:lnTo>
                  <a:lnTo>
                    <a:pt x="106043" y="124134"/>
                  </a:lnTo>
                  <a:lnTo>
                    <a:pt x="91245" y="124402"/>
                  </a:lnTo>
                  <a:lnTo>
                    <a:pt x="63902" y="128441"/>
                  </a:lnTo>
                  <a:lnTo>
                    <a:pt x="47876" y="135118"/>
                  </a:lnTo>
                  <a:lnTo>
                    <a:pt x="25020" y="143602"/>
                  </a:lnTo>
                  <a:lnTo>
                    <a:pt x="20560" y="142994"/>
                  </a:lnTo>
                  <a:lnTo>
                    <a:pt x="22333" y="123941"/>
                  </a:lnTo>
                  <a:lnTo>
                    <a:pt x="24540" y="121044"/>
                  </a:lnTo>
                  <a:lnTo>
                    <a:pt x="23838" y="111922"/>
                  </a:lnTo>
                  <a:lnTo>
                    <a:pt x="14062" y="102221"/>
                  </a:lnTo>
                  <a:lnTo>
                    <a:pt x="6729" y="100672"/>
                  </a:lnTo>
                  <a:lnTo>
                    <a:pt x="0" y="94310"/>
                  </a:lnTo>
                  <a:lnTo>
                    <a:pt x="5019" y="84011"/>
                  </a:lnTo>
                  <a:lnTo>
                    <a:pt x="2711" y="72797"/>
                  </a:lnTo>
                  <a:lnTo>
                    <a:pt x="3776" y="66047"/>
                  </a:lnTo>
                  <a:lnTo>
                    <a:pt x="7436" y="66020"/>
                  </a:lnTo>
                  <a:lnTo>
                    <a:pt x="8796" y="55891"/>
                  </a:lnTo>
                  <a:lnTo>
                    <a:pt x="7013" y="51404"/>
                  </a:lnTo>
                  <a:lnTo>
                    <a:pt x="9219" y="48173"/>
                  </a:lnTo>
                  <a:lnTo>
                    <a:pt x="17792" y="45378"/>
                  </a:lnTo>
                  <a:lnTo>
                    <a:pt x="12090" y="26753"/>
                  </a:lnTo>
                  <a:lnTo>
                    <a:pt x="6769" y="17127"/>
                  </a:lnTo>
                  <a:lnTo>
                    <a:pt x="8622" y="9215"/>
                  </a:lnTo>
                  <a:lnTo>
                    <a:pt x="13225" y="7407"/>
                  </a:lnTo>
                  <a:lnTo>
                    <a:pt x="16234" y="5288"/>
                  </a:lnTo>
                  <a:lnTo>
                    <a:pt x="22624" y="8790"/>
                  </a:lnTo>
                  <a:lnTo>
                    <a:pt x="40450" y="8982"/>
                  </a:lnTo>
                  <a:lnTo>
                    <a:pt x="44698" y="2176"/>
                  </a:lnTo>
                  <a:lnTo>
                    <a:pt x="48679" y="2631"/>
                  </a:lnTo>
                  <a:lnTo>
                    <a:pt x="55344" y="0"/>
                  </a:lnTo>
                  <a:lnTo>
                    <a:pt x="58917" y="9976"/>
                  </a:lnTo>
                  <a:lnTo>
                    <a:pt x="64307" y="7033"/>
                  </a:lnTo>
                  <a:lnTo>
                    <a:pt x="73831" y="3577"/>
                  </a:lnTo>
                  <a:lnTo>
                    <a:pt x="84211" y="8662"/>
                  </a:lnTo>
                  <a:lnTo>
                    <a:pt x="88245" y="16371"/>
                  </a:lnTo>
                  <a:lnTo>
                    <a:pt x="98624" y="21290"/>
                  </a:lnTo>
                  <a:lnTo>
                    <a:pt x="106698" y="15430"/>
                  </a:lnTo>
                  <a:lnTo>
                    <a:pt x="117513" y="14545"/>
                  </a:lnTo>
                  <a:lnTo>
                    <a:pt x="133311" y="20553"/>
                  </a:lnTo>
                  <a:lnTo>
                    <a:pt x="139435" y="53654"/>
                  </a:lnTo>
                  <a:lnTo>
                    <a:pt x="129708" y="73157"/>
                  </a:lnTo>
                  <a:lnTo>
                    <a:pt x="123689" y="99342"/>
                  </a:lnTo>
                  <a:lnTo>
                    <a:pt x="133699" y="1192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2" name="Freeform 56">
              <a:extLst>
                <a:ext uri="{FF2B5EF4-FFF2-40B4-BE49-F238E27FC236}">
                  <a16:creationId xmlns:a16="http://schemas.microsoft.com/office/drawing/2014/main" id="{9FF69F69-3329-4C3B-A23D-A0E423D36017}"/>
                </a:ext>
              </a:extLst>
            </p:cNvPr>
            <p:cNvSpPr>
              <a:spLocks noChangeAspect="1"/>
            </p:cNvSpPr>
            <p:nvPr>
              <p:custDataLst>
                <p:tags r:id="rId64"/>
              </p:custDataLst>
            </p:nvPr>
          </p:nvSpPr>
          <p:spPr>
            <a:xfrm>
              <a:off x="4556631" y="4229533"/>
              <a:ext cx="173676" cy="258555"/>
            </a:xfrm>
            <a:custGeom>
              <a:avLst/>
              <a:gdLst/>
              <a:ahLst/>
              <a:cxnLst/>
              <a:rect l="0" t="0" r="0" b="0"/>
              <a:pathLst>
                <a:path w="173676" h="258555">
                  <a:moveTo>
                    <a:pt x="105881" y="246098"/>
                  </a:moveTo>
                  <a:lnTo>
                    <a:pt x="103007" y="244839"/>
                  </a:lnTo>
                  <a:lnTo>
                    <a:pt x="89343" y="247814"/>
                  </a:lnTo>
                  <a:lnTo>
                    <a:pt x="75315" y="244720"/>
                  </a:lnTo>
                  <a:lnTo>
                    <a:pt x="64346" y="246238"/>
                  </a:lnTo>
                  <a:lnTo>
                    <a:pt x="26784" y="245711"/>
                  </a:lnTo>
                  <a:lnTo>
                    <a:pt x="30155" y="227473"/>
                  </a:lnTo>
                  <a:lnTo>
                    <a:pt x="21133" y="212195"/>
                  </a:lnTo>
                  <a:lnTo>
                    <a:pt x="10602" y="208275"/>
                  </a:lnTo>
                  <a:lnTo>
                    <a:pt x="5912" y="197915"/>
                  </a:lnTo>
                  <a:lnTo>
                    <a:pt x="0" y="194599"/>
                  </a:lnTo>
                  <a:lnTo>
                    <a:pt x="265" y="188206"/>
                  </a:lnTo>
                  <a:lnTo>
                    <a:pt x="6203" y="171829"/>
                  </a:lnTo>
                  <a:lnTo>
                    <a:pt x="17182" y="149480"/>
                  </a:lnTo>
                  <a:lnTo>
                    <a:pt x="23865" y="149272"/>
                  </a:lnTo>
                  <a:lnTo>
                    <a:pt x="37612" y="135702"/>
                  </a:lnTo>
                  <a:lnTo>
                    <a:pt x="46363" y="135317"/>
                  </a:lnTo>
                  <a:lnTo>
                    <a:pt x="59322" y="144846"/>
                  </a:lnTo>
                  <a:lnTo>
                    <a:pt x="75179" y="137033"/>
                  </a:lnTo>
                  <a:lnTo>
                    <a:pt x="77338" y="127390"/>
                  </a:lnTo>
                  <a:lnTo>
                    <a:pt x="82523" y="118040"/>
                  </a:lnTo>
                  <a:lnTo>
                    <a:pt x="86100" y="106286"/>
                  </a:lnTo>
                  <a:lnTo>
                    <a:pt x="98444" y="96710"/>
                  </a:lnTo>
                  <a:lnTo>
                    <a:pt x="103102" y="80421"/>
                  </a:lnTo>
                  <a:lnTo>
                    <a:pt x="107999" y="75231"/>
                  </a:lnTo>
                  <a:lnTo>
                    <a:pt x="111255" y="63119"/>
                  </a:lnTo>
                  <a:lnTo>
                    <a:pt x="117355" y="48228"/>
                  </a:lnTo>
                  <a:lnTo>
                    <a:pt x="136801" y="30147"/>
                  </a:lnTo>
                  <a:lnTo>
                    <a:pt x="138020" y="22370"/>
                  </a:lnTo>
                  <a:lnTo>
                    <a:pt x="140536" y="18142"/>
                  </a:lnTo>
                  <a:lnTo>
                    <a:pt x="131399" y="8811"/>
                  </a:lnTo>
                  <a:lnTo>
                    <a:pt x="132142" y="1346"/>
                  </a:lnTo>
                  <a:lnTo>
                    <a:pt x="138657" y="0"/>
                  </a:lnTo>
                  <a:lnTo>
                    <a:pt x="147835" y="15011"/>
                  </a:lnTo>
                  <a:lnTo>
                    <a:pt x="149376" y="30539"/>
                  </a:lnTo>
                  <a:lnTo>
                    <a:pt x="148531" y="46062"/>
                  </a:lnTo>
                  <a:lnTo>
                    <a:pt x="161095" y="67269"/>
                  </a:lnTo>
                  <a:lnTo>
                    <a:pt x="148203" y="67041"/>
                  </a:lnTo>
                  <a:lnTo>
                    <a:pt x="141690" y="68700"/>
                  </a:lnTo>
                  <a:lnTo>
                    <a:pt x="131171" y="66359"/>
                  </a:lnTo>
                  <a:lnTo>
                    <a:pt x="126156" y="77354"/>
                  </a:lnTo>
                  <a:lnTo>
                    <a:pt x="139781" y="90939"/>
                  </a:lnTo>
                  <a:lnTo>
                    <a:pt x="149834" y="94888"/>
                  </a:lnTo>
                  <a:lnTo>
                    <a:pt x="153085" y="104512"/>
                  </a:lnTo>
                  <a:lnTo>
                    <a:pt x="160362" y="120524"/>
                  </a:lnTo>
                  <a:lnTo>
                    <a:pt x="156746" y="126812"/>
                  </a:lnTo>
                  <a:lnTo>
                    <a:pt x="145138" y="150314"/>
                  </a:lnTo>
                  <a:lnTo>
                    <a:pt x="139598" y="154521"/>
                  </a:lnTo>
                  <a:lnTo>
                    <a:pt x="137817" y="172475"/>
                  </a:lnTo>
                  <a:lnTo>
                    <a:pt x="140114" y="182223"/>
                  </a:lnTo>
                  <a:lnTo>
                    <a:pt x="138255" y="189117"/>
                  </a:lnTo>
                  <a:lnTo>
                    <a:pt x="149164" y="201195"/>
                  </a:lnTo>
                  <a:lnTo>
                    <a:pt x="151132" y="209495"/>
                  </a:lnTo>
                  <a:lnTo>
                    <a:pt x="159653" y="221422"/>
                  </a:lnTo>
                  <a:lnTo>
                    <a:pt x="170210" y="228856"/>
                  </a:lnTo>
                  <a:lnTo>
                    <a:pt x="171240" y="239394"/>
                  </a:lnTo>
                  <a:lnTo>
                    <a:pt x="173675" y="246086"/>
                  </a:lnTo>
                  <a:lnTo>
                    <a:pt x="172014" y="258554"/>
                  </a:lnTo>
                  <a:lnTo>
                    <a:pt x="153674" y="253097"/>
                  </a:lnTo>
                  <a:lnTo>
                    <a:pt x="135011" y="24700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3" name="Freeform 57">
              <a:extLst>
                <a:ext uri="{FF2B5EF4-FFF2-40B4-BE49-F238E27FC236}">
                  <a16:creationId xmlns:a16="http://schemas.microsoft.com/office/drawing/2014/main" id="{C0654319-5797-4AE5-81BC-B2B3778A39B4}"/>
                </a:ext>
              </a:extLst>
            </p:cNvPr>
            <p:cNvSpPr>
              <a:spLocks noChangeAspect="1"/>
            </p:cNvSpPr>
            <p:nvPr>
              <p:custDataLst>
                <p:tags r:id="rId65"/>
              </p:custDataLst>
            </p:nvPr>
          </p:nvSpPr>
          <p:spPr>
            <a:xfrm>
              <a:off x="4641887" y="4406537"/>
              <a:ext cx="438383" cy="429210"/>
            </a:xfrm>
            <a:custGeom>
              <a:avLst/>
              <a:gdLst/>
              <a:ahLst/>
              <a:cxnLst/>
              <a:rect l="0" t="0" r="0" b="0"/>
              <a:pathLst>
                <a:path w="438383" h="429210">
                  <a:moveTo>
                    <a:pt x="430527" y="40400"/>
                  </a:moveTo>
                  <a:lnTo>
                    <a:pt x="429131" y="67413"/>
                  </a:lnTo>
                  <a:lnTo>
                    <a:pt x="438382" y="70540"/>
                  </a:lnTo>
                  <a:lnTo>
                    <a:pt x="430961" y="78740"/>
                  </a:lnTo>
                  <a:lnTo>
                    <a:pt x="422094" y="84872"/>
                  </a:lnTo>
                  <a:lnTo>
                    <a:pt x="413268" y="96912"/>
                  </a:lnTo>
                  <a:lnTo>
                    <a:pt x="408412" y="107644"/>
                  </a:lnTo>
                  <a:lnTo>
                    <a:pt x="407113" y="126173"/>
                  </a:lnTo>
                  <a:lnTo>
                    <a:pt x="401766" y="134993"/>
                  </a:lnTo>
                  <a:lnTo>
                    <a:pt x="401573" y="152396"/>
                  </a:lnTo>
                  <a:lnTo>
                    <a:pt x="394935" y="158832"/>
                  </a:lnTo>
                  <a:lnTo>
                    <a:pt x="394079" y="172572"/>
                  </a:lnTo>
                  <a:lnTo>
                    <a:pt x="390909" y="174353"/>
                  </a:lnTo>
                  <a:lnTo>
                    <a:pt x="388773" y="186988"/>
                  </a:lnTo>
                  <a:lnTo>
                    <a:pt x="394577" y="197492"/>
                  </a:lnTo>
                  <a:lnTo>
                    <a:pt x="396045" y="225374"/>
                  </a:lnTo>
                  <a:lnTo>
                    <a:pt x="400200" y="246661"/>
                  </a:lnTo>
                  <a:lnTo>
                    <a:pt x="397891" y="258702"/>
                  </a:lnTo>
                  <a:lnTo>
                    <a:pt x="402509" y="272141"/>
                  </a:lnTo>
                  <a:lnTo>
                    <a:pt x="415896" y="285125"/>
                  </a:lnTo>
                  <a:lnTo>
                    <a:pt x="428361" y="314380"/>
                  </a:lnTo>
                  <a:lnTo>
                    <a:pt x="419268" y="312015"/>
                  </a:lnTo>
                  <a:lnTo>
                    <a:pt x="388264" y="315938"/>
                  </a:lnTo>
                  <a:lnTo>
                    <a:pt x="382077" y="318716"/>
                  </a:lnTo>
                  <a:lnTo>
                    <a:pt x="375499" y="333564"/>
                  </a:lnTo>
                  <a:lnTo>
                    <a:pt x="380665" y="343832"/>
                  </a:lnTo>
                  <a:lnTo>
                    <a:pt x="376565" y="371440"/>
                  </a:lnTo>
                  <a:lnTo>
                    <a:pt x="373707" y="394901"/>
                  </a:lnTo>
                  <a:lnTo>
                    <a:pt x="379943" y="399065"/>
                  </a:lnTo>
                  <a:lnTo>
                    <a:pt x="396081" y="408180"/>
                  </a:lnTo>
                  <a:lnTo>
                    <a:pt x="402416" y="403920"/>
                  </a:lnTo>
                  <a:lnTo>
                    <a:pt x="404346" y="429209"/>
                  </a:lnTo>
                  <a:lnTo>
                    <a:pt x="386680" y="429014"/>
                  </a:lnTo>
                  <a:lnTo>
                    <a:pt x="377200" y="416099"/>
                  </a:lnTo>
                  <a:lnTo>
                    <a:pt x="368695" y="406112"/>
                  </a:lnTo>
                  <a:lnTo>
                    <a:pt x="351006" y="402839"/>
                  </a:lnTo>
                  <a:lnTo>
                    <a:pt x="345827" y="390576"/>
                  </a:lnTo>
                  <a:lnTo>
                    <a:pt x="331716" y="397962"/>
                  </a:lnTo>
                  <a:lnTo>
                    <a:pt x="313232" y="394698"/>
                  </a:lnTo>
                  <a:lnTo>
                    <a:pt x="305518" y="384080"/>
                  </a:lnTo>
                  <a:lnTo>
                    <a:pt x="290862" y="381924"/>
                  </a:lnTo>
                  <a:lnTo>
                    <a:pt x="280044" y="382488"/>
                  </a:lnTo>
                  <a:lnTo>
                    <a:pt x="278720" y="375226"/>
                  </a:lnTo>
                  <a:lnTo>
                    <a:pt x="270757" y="374638"/>
                  </a:lnTo>
                  <a:lnTo>
                    <a:pt x="260245" y="373261"/>
                  </a:lnTo>
                  <a:lnTo>
                    <a:pt x="245946" y="376759"/>
                  </a:lnTo>
                  <a:lnTo>
                    <a:pt x="235916" y="376185"/>
                  </a:lnTo>
                  <a:lnTo>
                    <a:pt x="230202" y="378328"/>
                  </a:lnTo>
                  <a:lnTo>
                    <a:pt x="231437" y="350562"/>
                  </a:lnTo>
                  <a:lnTo>
                    <a:pt x="223737" y="341917"/>
                  </a:lnTo>
                  <a:lnTo>
                    <a:pt x="222043" y="327603"/>
                  </a:lnTo>
                  <a:lnTo>
                    <a:pt x="225444" y="313587"/>
                  </a:lnTo>
                  <a:lnTo>
                    <a:pt x="220766" y="304624"/>
                  </a:lnTo>
                  <a:lnTo>
                    <a:pt x="220343" y="290018"/>
                  </a:lnTo>
                  <a:lnTo>
                    <a:pt x="192335" y="290221"/>
                  </a:lnTo>
                  <a:lnTo>
                    <a:pt x="194345" y="281863"/>
                  </a:lnTo>
                  <a:lnTo>
                    <a:pt x="182568" y="281950"/>
                  </a:lnTo>
                  <a:lnTo>
                    <a:pt x="181324" y="285969"/>
                  </a:lnTo>
                  <a:lnTo>
                    <a:pt x="167007" y="286875"/>
                  </a:lnTo>
                  <a:lnTo>
                    <a:pt x="161216" y="300400"/>
                  </a:lnTo>
                  <a:lnTo>
                    <a:pt x="157757" y="306207"/>
                  </a:lnTo>
                  <a:lnTo>
                    <a:pt x="145002" y="302927"/>
                  </a:lnTo>
                  <a:lnTo>
                    <a:pt x="137386" y="306194"/>
                  </a:lnTo>
                  <a:lnTo>
                    <a:pt x="122122" y="308073"/>
                  </a:lnTo>
                  <a:lnTo>
                    <a:pt x="113282" y="295931"/>
                  </a:lnTo>
                  <a:lnTo>
                    <a:pt x="107978" y="288427"/>
                  </a:lnTo>
                  <a:lnTo>
                    <a:pt x="101353" y="274520"/>
                  </a:lnTo>
                  <a:lnTo>
                    <a:pt x="95659" y="257254"/>
                  </a:lnTo>
                  <a:lnTo>
                    <a:pt x="27544" y="256947"/>
                  </a:lnTo>
                  <a:lnTo>
                    <a:pt x="19448" y="259731"/>
                  </a:lnTo>
                  <a:lnTo>
                    <a:pt x="12761" y="259297"/>
                  </a:lnTo>
                  <a:lnTo>
                    <a:pt x="3234" y="262411"/>
                  </a:lnTo>
                  <a:lnTo>
                    <a:pt x="0" y="255227"/>
                  </a:lnTo>
                  <a:lnTo>
                    <a:pt x="5872" y="252781"/>
                  </a:lnTo>
                  <a:lnTo>
                    <a:pt x="6594" y="242689"/>
                  </a:lnTo>
                  <a:lnTo>
                    <a:pt x="10371" y="236739"/>
                  </a:lnTo>
                  <a:lnTo>
                    <a:pt x="18771" y="231876"/>
                  </a:lnTo>
                  <a:lnTo>
                    <a:pt x="24835" y="234233"/>
                  </a:lnTo>
                  <a:lnTo>
                    <a:pt x="32729" y="225377"/>
                  </a:lnTo>
                  <a:lnTo>
                    <a:pt x="45303" y="225605"/>
                  </a:lnTo>
                  <a:lnTo>
                    <a:pt x="46782" y="232154"/>
                  </a:lnTo>
                  <a:lnTo>
                    <a:pt x="55405" y="236252"/>
                  </a:lnTo>
                  <a:lnTo>
                    <a:pt x="68987" y="221755"/>
                  </a:lnTo>
                  <a:lnTo>
                    <a:pt x="82433" y="210464"/>
                  </a:lnTo>
                  <a:lnTo>
                    <a:pt x="88267" y="203067"/>
                  </a:lnTo>
                  <a:lnTo>
                    <a:pt x="87494" y="184058"/>
                  </a:lnTo>
                  <a:lnTo>
                    <a:pt x="97519" y="161623"/>
                  </a:lnTo>
                  <a:lnTo>
                    <a:pt x="108096" y="149730"/>
                  </a:lnTo>
                  <a:lnTo>
                    <a:pt x="123294" y="138603"/>
                  </a:lnTo>
                  <a:lnTo>
                    <a:pt x="125947" y="131240"/>
                  </a:lnTo>
                  <a:lnTo>
                    <a:pt x="126522" y="122774"/>
                  </a:lnTo>
                  <a:lnTo>
                    <a:pt x="130284" y="114765"/>
                  </a:lnTo>
                  <a:lnTo>
                    <a:pt x="129075" y="101682"/>
                  </a:lnTo>
                  <a:lnTo>
                    <a:pt x="131953" y="81224"/>
                  </a:lnTo>
                  <a:lnTo>
                    <a:pt x="136464" y="66816"/>
                  </a:lnTo>
                  <a:lnTo>
                    <a:pt x="143378" y="54465"/>
                  </a:lnTo>
                  <a:lnTo>
                    <a:pt x="144746" y="40511"/>
                  </a:lnTo>
                  <a:lnTo>
                    <a:pt x="146821" y="24389"/>
                  </a:lnTo>
                  <a:lnTo>
                    <a:pt x="155808" y="12647"/>
                  </a:lnTo>
                  <a:lnTo>
                    <a:pt x="168168" y="5197"/>
                  </a:lnTo>
                  <a:lnTo>
                    <a:pt x="187163" y="13060"/>
                  </a:lnTo>
                  <a:lnTo>
                    <a:pt x="201864" y="21592"/>
                  </a:lnTo>
                  <a:lnTo>
                    <a:pt x="218750" y="23868"/>
                  </a:lnTo>
                  <a:lnTo>
                    <a:pt x="235970" y="28381"/>
                  </a:lnTo>
                  <a:lnTo>
                    <a:pt x="242871" y="14416"/>
                  </a:lnTo>
                  <a:lnTo>
                    <a:pt x="246042" y="12633"/>
                  </a:lnTo>
                  <a:lnTo>
                    <a:pt x="256562" y="14956"/>
                  </a:lnTo>
                  <a:lnTo>
                    <a:pt x="282260" y="3409"/>
                  </a:lnTo>
                  <a:lnTo>
                    <a:pt x="291366" y="8304"/>
                  </a:lnTo>
                  <a:lnTo>
                    <a:pt x="298840" y="7610"/>
                  </a:lnTo>
                  <a:lnTo>
                    <a:pt x="302302" y="1983"/>
                  </a:lnTo>
                  <a:lnTo>
                    <a:pt x="310880" y="0"/>
                  </a:lnTo>
                  <a:lnTo>
                    <a:pt x="328246" y="2435"/>
                  </a:lnTo>
                  <a:lnTo>
                    <a:pt x="343049" y="2968"/>
                  </a:lnTo>
                  <a:lnTo>
                    <a:pt x="350670" y="513"/>
                  </a:lnTo>
                  <a:lnTo>
                    <a:pt x="364652" y="19611"/>
                  </a:lnTo>
                  <a:lnTo>
                    <a:pt x="375017" y="22416"/>
                  </a:lnTo>
                  <a:lnTo>
                    <a:pt x="381196" y="18532"/>
                  </a:lnTo>
                  <a:lnTo>
                    <a:pt x="391869" y="20054"/>
                  </a:lnTo>
                  <a:lnTo>
                    <a:pt x="404724" y="15162"/>
                  </a:lnTo>
                  <a:lnTo>
                    <a:pt x="410207" y="250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4" name="Freeform 58">
              <a:extLst>
                <a:ext uri="{FF2B5EF4-FFF2-40B4-BE49-F238E27FC236}">
                  <a16:creationId xmlns:a16="http://schemas.microsoft.com/office/drawing/2014/main" id="{C9F232D6-FE1B-4E91-A3AB-82300D554230}"/>
                </a:ext>
              </a:extLst>
            </p:cNvPr>
            <p:cNvSpPr>
              <a:spLocks noChangeAspect="1"/>
            </p:cNvSpPr>
            <p:nvPr>
              <p:custDataLst>
                <p:tags r:id="rId66"/>
              </p:custDataLst>
            </p:nvPr>
          </p:nvSpPr>
          <p:spPr>
            <a:xfrm>
              <a:off x="4616760" y="4441875"/>
              <a:ext cx="169874" cy="202483"/>
            </a:xfrm>
            <a:custGeom>
              <a:avLst/>
              <a:gdLst/>
              <a:ahLst/>
              <a:cxnLst/>
              <a:rect l="0" t="0" r="0" b="0"/>
              <a:pathLst>
                <a:path w="169874" h="202483">
                  <a:moveTo>
                    <a:pt x="43898" y="196538"/>
                  </a:moveTo>
                  <a:lnTo>
                    <a:pt x="35248" y="188603"/>
                  </a:lnTo>
                  <a:lnTo>
                    <a:pt x="28273" y="192493"/>
                  </a:lnTo>
                  <a:lnTo>
                    <a:pt x="18956" y="202482"/>
                  </a:lnTo>
                  <a:lnTo>
                    <a:pt x="0" y="177985"/>
                  </a:lnTo>
                  <a:lnTo>
                    <a:pt x="17575" y="165227"/>
                  </a:lnTo>
                  <a:lnTo>
                    <a:pt x="8870" y="149949"/>
                  </a:lnTo>
                  <a:lnTo>
                    <a:pt x="16786" y="144141"/>
                  </a:lnTo>
                  <a:lnTo>
                    <a:pt x="32361" y="141312"/>
                  </a:lnTo>
                  <a:lnTo>
                    <a:pt x="34198" y="131078"/>
                  </a:lnTo>
                  <a:lnTo>
                    <a:pt x="46532" y="142168"/>
                  </a:lnTo>
                  <a:lnTo>
                    <a:pt x="66909" y="143140"/>
                  </a:lnTo>
                  <a:lnTo>
                    <a:pt x="73991" y="132227"/>
                  </a:lnTo>
                  <a:lnTo>
                    <a:pt x="76905" y="116876"/>
                  </a:lnTo>
                  <a:lnTo>
                    <a:pt x="74388" y="98852"/>
                  </a:lnTo>
                  <a:lnTo>
                    <a:pt x="63468" y="85201"/>
                  </a:lnTo>
                  <a:lnTo>
                    <a:pt x="73461" y="58466"/>
                  </a:lnTo>
                  <a:lnTo>
                    <a:pt x="67699" y="53878"/>
                  </a:lnTo>
                  <a:lnTo>
                    <a:pt x="50525" y="55759"/>
                  </a:lnTo>
                  <a:lnTo>
                    <a:pt x="44073" y="43829"/>
                  </a:lnTo>
                  <a:lnTo>
                    <a:pt x="45752" y="33756"/>
                  </a:lnTo>
                  <a:lnTo>
                    <a:pt x="74882" y="34662"/>
                  </a:lnTo>
                  <a:lnTo>
                    <a:pt x="93545" y="40755"/>
                  </a:lnTo>
                  <a:lnTo>
                    <a:pt x="111885" y="46212"/>
                  </a:lnTo>
                  <a:lnTo>
                    <a:pt x="113546" y="33744"/>
                  </a:lnTo>
                  <a:lnTo>
                    <a:pt x="125646" y="12247"/>
                  </a:lnTo>
                  <a:lnTo>
                    <a:pt x="139403" y="0"/>
                  </a:lnTo>
                  <a:lnTo>
                    <a:pt x="155027" y="3883"/>
                  </a:lnTo>
                  <a:lnTo>
                    <a:pt x="169873" y="5173"/>
                  </a:lnTo>
                  <a:lnTo>
                    <a:pt x="168505" y="19127"/>
                  </a:lnTo>
                  <a:lnTo>
                    <a:pt x="161591" y="31478"/>
                  </a:lnTo>
                  <a:lnTo>
                    <a:pt x="157080" y="45886"/>
                  </a:lnTo>
                  <a:lnTo>
                    <a:pt x="154202" y="66344"/>
                  </a:lnTo>
                  <a:lnTo>
                    <a:pt x="155411" y="79427"/>
                  </a:lnTo>
                  <a:lnTo>
                    <a:pt x="151649" y="87436"/>
                  </a:lnTo>
                  <a:lnTo>
                    <a:pt x="151074" y="95902"/>
                  </a:lnTo>
                  <a:lnTo>
                    <a:pt x="148421" y="103265"/>
                  </a:lnTo>
                  <a:lnTo>
                    <a:pt x="133223" y="114392"/>
                  </a:lnTo>
                  <a:lnTo>
                    <a:pt x="122646" y="126285"/>
                  </a:lnTo>
                  <a:lnTo>
                    <a:pt x="112621" y="148720"/>
                  </a:lnTo>
                  <a:lnTo>
                    <a:pt x="113394" y="167729"/>
                  </a:lnTo>
                  <a:lnTo>
                    <a:pt x="107560" y="175126"/>
                  </a:lnTo>
                  <a:lnTo>
                    <a:pt x="94114" y="186417"/>
                  </a:lnTo>
                  <a:lnTo>
                    <a:pt x="80532" y="200914"/>
                  </a:lnTo>
                  <a:lnTo>
                    <a:pt x="71909" y="196816"/>
                  </a:lnTo>
                  <a:lnTo>
                    <a:pt x="70430" y="190267"/>
                  </a:lnTo>
                  <a:lnTo>
                    <a:pt x="57856" y="190039"/>
                  </a:lnTo>
                  <a:lnTo>
                    <a:pt x="49962" y="19889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5" name="Freeform 59">
              <a:extLst>
                <a:ext uri="{FF2B5EF4-FFF2-40B4-BE49-F238E27FC236}">
                  <a16:creationId xmlns:a16="http://schemas.microsoft.com/office/drawing/2014/main" id="{6A331123-E307-4B88-8E74-A9309EB9023E}"/>
                </a:ext>
              </a:extLst>
            </p:cNvPr>
            <p:cNvSpPr>
              <a:spLocks noChangeAspect="1"/>
            </p:cNvSpPr>
            <p:nvPr>
              <p:custDataLst>
                <p:tags r:id="rId67"/>
              </p:custDataLst>
            </p:nvPr>
          </p:nvSpPr>
          <p:spPr>
            <a:xfrm>
              <a:off x="5116223" y="3668254"/>
              <a:ext cx="42582" cy="17594"/>
            </a:xfrm>
            <a:custGeom>
              <a:avLst/>
              <a:gdLst/>
              <a:ahLst/>
              <a:cxnLst/>
              <a:rect l="0" t="0" r="0" b="0"/>
              <a:pathLst>
                <a:path w="42582" h="17594">
                  <a:moveTo>
                    <a:pt x="0" y="13939"/>
                  </a:moveTo>
                  <a:lnTo>
                    <a:pt x="1632" y="13796"/>
                  </a:lnTo>
                  <a:lnTo>
                    <a:pt x="4968" y="7478"/>
                  </a:lnTo>
                  <a:lnTo>
                    <a:pt x="21593" y="7832"/>
                  </a:lnTo>
                  <a:lnTo>
                    <a:pt x="42581" y="0"/>
                  </a:lnTo>
                  <a:lnTo>
                    <a:pt x="26985" y="11171"/>
                  </a:lnTo>
                  <a:lnTo>
                    <a:pt x="28665" y="16072"/>
                  </a:lnTo>
                  <a:lnTo>
                    <a:pt x="26191" y="15155"/>
                  </a:lnTo>
                  <a:lnTo>
                    <a:pt x="21782" y="17135"/>
                  </a:lnTo>
                  <a:lnTo>
                    <a:pt x="18326" y="16590"/>
                  </a:lnTo>
                  <a:lnTo>
                    <a:pt x="17175" y="17593"/>
                  </a:lnTo>
                  <a:lnTo>
                    <a:pt x="16716" y="14949"/>
                  </a:lnTo>
                  <a:lnTo>
                    <a:pt x="15052" y="13346"/>
                  </a:lnTo>
                  <a:lnTo>
                    <a:pt x="10600" y="13073"/>
                  </a:lnTo>
                  <a:lnTo>
                    <a:pt x="4335" y="1530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6" name="Freeform 60">
              <a:extLst>
                <a:ext uri="{FF2B5EF4-FFF2-40B4-BE49-F238E27FC236}">
                  <a16:creationId xmlns:a16="http://schemas.microsoft.com/office/drawing/2014/main" id="{CB706C65-8D6B-4B37-A267-FAA9DA40FC8E}"/>
                </a:ext>
              </a:extLst>
            </p:cNvPr>
            <p:cNvSpPr>
              <a:spLocks noChangeAspect="1"/>
            </p:cNvSpPr>
            <p:nvPr>
              <p:custDataLst>
                <p:tags r:id="rId68"/>
              </p:custDataLst>
            </p:nvPr>
          </p:nvSpPr>
          <p:spPr>
            <a:xfrm>
              <a:off x="5105257" y="3681327"/>
              <a:ext cx="40354" cy="15705"/>
            </a:xfrm>
            <a:custGeom>
              <a:avLst/>
              <a:gdLst/>
              <a:ahLst/>
              <a:cxnLst/>
              <a:rect l="0" t="0" r="0" b="0"/>
              <a:pathLst>
                <a:path w="40354" h="15705">
                  <a:moveTo>
                    <a:pt x="39631" y="2999"/>
                  </a:moveTo>
                  <a:lnTo>
                    <a:pt x="40353" y="5101"/>
                  </a:lnTo>
                  <a:lnTo>
                    <a:pt x="16692" y="15704"/>
                  </a:lnTo>
                  <a:lnTo>
                    <a:pt x="5392" y="12320"/>
                  </a:lnTo>
                  <a:lnTo>
                    <a:pt x="0" y="1829"/>
                  </a:lnTo>
                  <a:lnTo>
                    <a:pt x="10966" y="866"/>
                  </a:lnTo>
                  <a:lnTo>
                    <a:pt x="15301" y="2232"/>
                  </a:lnTo>
                  <a:lnTo>
                    <a:pt x="21566" y="0"/>
                  </a:lnTo>
                  <a:lnTo>
                    <a:pt x="26018" y="273"/>
                  </a:lnTo>
                  <a:lnTo>
                    <a:pt x="27682" y="1876"/>
                  </a:lnTo>
                  <a:lnTo>
                    <a:pt x="28141" y="4520"/>
                  </a:lnTo>
                  <a:lnTo>
                    <a:pt x="29292" y="3517"/>
                  </a:lnTo>
                  <a:lnTo>
                    <a:pt x="32748" y="4062"/>
                  </a:lnTo>
                  <a:lnTo>
                    <a:pt x="37157" y="208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7" name="Freeform 61">
              <a:extLst>
                <a:ext uri="{FF2B5EF4-FFF2-40B4-BE49-F238E27FC236}">
                  <a16:creationId xmlns:a16="http://schemas.microsoft.com/office/drawing/2014/main" id="{70A1D33C-7B9A-4D33-B475-2E0604A3D0A7}"/>
                </a:ext>
              </a:extLst>
            </p:cNvPr>
            <p:cNvSpPr>
              <a:spLocks noChangeAspect="1"/>
            </p:cNvSpPr>
            <p:nvPr>
              <p:custDataLst>
                <p:tags r:id="rId69"/>
              </p:custDataLst>
            </p:nvPr>
          </p:nvSpPr>
          <p:spPr>
            <a:xfrm>
              <a:off x="4643221" y="3232858"/>
              <a:ext cx="152647" cy="77061"/>
            </a:xfrm>
            <a:custGeom>
              <a:avLst/>
              <a:gdLst/>
              <a:ahLst/>
              <a:cxnLst/>
              <a:rect l="0" t="0" r="0" b="0"/>
              <a:pathLst>
                <a:path w="152647" h="77061">
                  <a:moveTo>
                    <a:pt x="108954" y="75825"/>
                  </a:moveTo>
                  <a:lnTo>
                    <a:pt x="98313" y="70220"/>
                  </a:lnTo>
                  <a:lnTo>
                    <a:pt x="87473" y="71762"/>
                  </a:lnTo>
                  <a:lnTo>
                    <a:pt x="69555" y="62683"/>
                  </a:lnTo>
                  <a:lnTo>
                    <a:pt x="61431" y="64908"/>
                  </a:lnTo>
                  <a:lnTo>
                    <a:pt x="48446" y="77060"/>
                  </a:lnTo>
                  <a:lnTo>
                    <a:pt x="31296" y="67504"/>
                  </a:lnTo>
                  <a:lnTo>
                    <a:pt x="18263" y="54685"/>
                  </a:lnTo>
                  <a:lnTo>
                    <a:pt x="6484" y="47491"/>
                  </a:lnTo>
                  <a:lnTo>
                    <a:pt x="4041" y="34820"/>
                  </a:lnTo>
                  <a:lnTo>
                    <a:pt x="0" y="25852"/>
                  </a:lnTo>
                  <a:lnTo>
                    <a:pt x="16775" y="19261"/>
                  </a:lnTo>
                  <a:lnTo>
                    <a:pt x="25345" y="11700"/>
                  </a:lnTo>
                  <a:lnTo>
                    <a:pt x="41921" y="5806"/>
                  </a:lnTo>
                  <a:lnTo>
                    <a:pt x="47710" y="0"/>
                  </a:lnTo>
                  <a:lnTo>
                    <a:pt x="53797" y="3507"/>
                  </a:lnTo>
                  <a:lnTo>
                    <a:pt x="64098" y="323"/>
                  </a:lnTo>
                  <a:lnTo>
                    <a:pt x="75039" y="10134"/>
                  </a:lnTo>
                  <a:lnTo>
                    <a:pt x="92297" y="12779"/>
                  </a:lnTo>
                  <a:lnTo>
                    <a:pt x="90857" y="21124"/>
                  </a:lnTo>
                  <a:lnTo>
                    <a:pt x="103396" y="27380"/>
                  </a:lnTo>
                  <a:lnTo>
                    <a:pt x="106842" y="19568"/>
                  </a:lnTo>
                  <a:lnTo>
                    <a:pt x="122672" y="22954"/>
                  </a:lnTo>
                  <a:lnTo>
                    <a:pt x="124862" y="32411"/>
                  </a:lnTo>
                  <a:lnTo>
                    <a:pt x="142023" y="34232"/>
                  </a:lnTo>
                  <a:lnTo>
                    <a:pt x="152646" y="49025"/>
                  </a:lnTo>
                  <a:lnTo>
                    <a:pt x="145764" y="49061"/>
                  </a:lnTo>
                  <a:lnTo>
                    <a:pt x="142187" y="54448"/>
                  </a:lnTo>
                  <a:lnTo>
                    <a:pt x="136889" y="55748"/>
                  </a:lnTo>
                  <a:lnTo>
                    <a:pt x="135377" y="62537"/>
                  </a:lnTo>
                  <a:lnTo>
                    <a:pt x="130957" y="63952"/>
                  </a:lnTo>
                  <a:lnTo>
                    <a:pt x="130333" y="66721"/>
                  </a:lnTo>
                  <a:lnTo>
                    <a:pt x="122451" y="69797"/>
                  </a:lnTo>
                  <a:lnTo>
                    <a:pt x="112225" y="692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8" name="Freeform 62">
              <a:extLst>
                <a:ext uri="{FF2B5EF4-FFF2-40B4-BE49-F238E27FC236}">
                  <a16:creationId xmlns:a16="http://schemas.microsoft.com/office/drawing/2014/main" id="{9305DAD7-0DC2-4ED5-B8F5-EBF74716C1E7}"/>
                </a:ext>
              </a:extLst>
            </p:cNvPr>
            <p:cNvSpPr>
              <a:spLocks noChangeAspect="1"/>
            </p:cNvSpPr>
            <p:nvPr>
              <p:custDataLst>
                <p:tags r:id="rId70"/>
              </p:custDataLst>
            </p:nvPr>
          </p:nvSpPr>
          <p:spPr>
            <a:xfrm>
              <a:off x="4498921" y="3111903"/>
              <a:ext cx="208399" cy="234888"/>
            </a:xfrm>
            <a:custGeom>
              <a:avLst/>
              <a:gdLst/>
              <a:ahLst/>
              <a:cxnLst/>
              <a:rect l="0" t="0" r="0" b="0"/>
              <a:pathLst>
                <a:path w="208399" h="234888">
                  <a:moveTo>
                    <a:pt x="90790" y="0"/>
                  </a:moveTo>
                  <a:lnTo>
                    <a:pt x="91198" y="12366"/>
                  </a:lnTo>
                  <a:lnTo>
                    <a:pt x="114523" y="19792"/>
                  </a:lnTo>
                  <a:lnTo>
                    <a:pt x="114278" y="31058"/>
                  </a:lnTo>
                  <a:lnTo>
                    <a:pt x="137748" y="25103"/>
                  </a:lnTo>
                  <a:lnTo>
                    <a:pt x="150725" y="16392"/>
                  </a:lnTo>
                  <a:lnTo>
                    <a:pt x="176785" y="28941"/>
                  </a:lnTo>
                  <a:lnTo>
                    <a:pt x="187686" y="39014"/>
                  </a:lnTo>
                  <a:lnTo>
                    <a:pt x="193078" y="55023"/>
                  </a:lnTo>
                  <a:lnTo>
                    <a:pt x="186643" y="63379"/>
                  </a:lnTo>
                  <a:lnTo>
                    <a:pt x="195024" y="74492"/>
                  </a:lnTo>
                  <a:lnTo>
                    <a:pt x="200735" y="91076"/>
                  </a:lnTo>
                  <a:lnTo>
                    <a:pt x="198936" y="101708"/>
                  </a:lnTo>
                  <a:lnTo>
                    <a:pt x="208398" y="121278"/>
                  </a:lnTo>
                  <a:lnTo>
                    <a:pt x="198097" y="124462"/>
                  </a:lnTo>
                  <a:lnTo>
                    <a:pt x="192010" y="120955"/>
                  </a:lnTo>
                  <a:lnTo>
                    <a:pt x="186221" y="126761"/>
                  </a:lnTo>
                  <a:lnTo>
                    <a:pt x="169645" y="132655"/>
                  </a:lnTo>
                  <a:lnTo>
                    <a:pt x="161075" y="140216"/>
                  </a:lnTo>
                  <a:lnTo>
                    <a:pt x="144300" y="146807"/>
                  </a:lnTo>
                  <a:lnTo>
                    <a:pt x="148341" y="155775"/>
                  </a:lnTo>
                  <a:lnTo>
                    <a:pt x="150784" y="168446"/>
                  </a:lnTo>
                  <a:lnTo>
                    <a:pt x="162563" y="175640"/>
                  </a:lnTo>
                  <a:lnTo>
                    <a:pt x="175596" y="188459"/>
                  </a:lnTo>
                  <a:lnTo>
                    <a:pt x="167458" y="202137"/>
                  </a:lnTo>
                  <a:lnTo>
                    <a:pt x="159165" y="205891"/>
                  </a:lnTo>
                  <a:lnTo>
                    <a:pt x="162437" y="225075"/>
                  </a:lnTo>
                  <a:lnTo>
                    <a:pt x="160285" y="230055"/>
                  </a:lnTo>
                  <a:lnTo>
                    <a:pt x="153087" y="224053"/>
                  </a:lnTo>
                  <a:lnTo>
                    <a:pt x="142021" y="223152"/>
                  </a:lnTo>
                  <a:lnTo>
                    <a:pt x="125518" y="228412"/>
                  </a:lnTo>
                  <a:lnTo>
                    <a:pt x="105161" y="227162"/>
                  </a:lnTo>
                  <a:lnTo>
                    <a:pt x="101873" y="234887"/>
                  </a:lnTo>
                  <a:lnTo>
                    <a:pt x="90193" y="226758"/>
                  </a:lnTo>
                  <a:lnTo>
                    <a:pt x="83226" y="228374"/>
                  </a:lnTo>
                  <a:lnTo>
                    <a:pt x="58490" y="219399"/>
                  </a:lnTo>
                  <a:lnTo>
                    <a:pt x="53751" y="225779"/>
                  </a:lnTo>
                  <a:lnTo>
                    <a:pt x="34118" y="225574"/>
                  </a:lnTo>
                  <a:lnTo>
                    <a:pt x="37048" y="204595"/>
                  </a:lnTo>
                  <a:lnTo>
                    <a:pt x="48718" y="184273"/>
                  </a:lnTo>
                  <a:lnTo>
                    <a:pt x="15455" y="178780"/>
                  </a:lnTo>
                  <a:lnTo>
                    <a:pt x="4562" y="170951"/>
                  </a:lnTo>
                  <a:lnTo>
                    <a:pt x="5865" y="157789"/>
                  </a:lnTo>
                  <a:lnTo>
                    <a:pt x="1256" y="150983"/>
                  </a:lnTo>
                  <a:lnTo>
                    <a:pt x="3878" y="130511"/>
                  </a:lnTo>
                  <a:lnTo>
                    <a:pt x="0" y="98431"/>
                  </a:lnTo>
                  <a:lnTo>
                    <a:pt x="13866" y="98418"/>
                  </a:lnTo>
                  <a:lnTo>
                    <a:pt x="19717" y="86793"/>
                  </a:lnTo>
                  <a:lnTo>
                    <a:pt x="25469" y="58286"/>
                  </a:lnTo>
                  <a:lnTo>
                    <a:pt x="21155" y="47675"/>
                  </a:lnTo>
                  <a:lnTo>
                    <a:pt x="25662" y="41005"/>
                  </a:lnTo>
                  <a:lnTo>
                    <a:pt x="44955" y="39290"/>
                  </a:lnTo>
                  <a:lnTo>
                    <a:pt x="49236" y="46240"/>
                  </a:lnTo>
                  <a:lnTo>
                    <a:pt x="64910" y="30675"/>
                  </a:lnTo>
                  <a:lnTo>
                    <a:pt x="59633" y="18772"/>
                  </a:lnTo>
                  <a:lnTo>
                    <a:pt x="58574" y="653"/>
                  </a:lnTo>
                  <a:lnTo>
                    <a:pt x="76020" y="4879"/>
                  </a:lnTo>
                  <a:close/>
                </a:path>
              </a:pathLst>
            </a:custGeom>
            <a:solidFill>
              <a:schemeClr val="bg2"/>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9" name="Freeform 63">
              <a:extLst>
                <a:ext uri="{FF2B5EF4-FFF2-40B4-BE49-F238E27FC236}">
                  <a16:creationId xmlns:a16="http://schemas.microsoft.com/office/drawing/2014/main" id="{0E3F7DB8-907C-47AF-868B-BCF76FB95975}"/>
                </a:ext>
              </a:extLst>
            </p:cNvPr>
            <p:cNvSpPr>
              <a:spLocks noChangeAspect="1"/>
            </p:cNvSpPr>
            <p:nvPr>
              <p:custDataLst>
                <p:tags r:id="rId71"/>
              </p:custDataLst>
            </p:nvPr>
          </p:nvSpPr>
          <p:spPr>
            <a:xfrm>
              <a:off x="5322351" y="4233281"/>
              <a:ext cx="38228" cy="41485"/>
            </a:xfrm>
            <a:custGeom>
              <a:avLst/>
              <a:gdLst/>
              <a:ahLst/>
              <a:cxnLst/>
              <a:rect l="0" t="0" r="0" b="0"/>
              <a:pathLst>
                <a:path w="38228" h="41485">
                  <a:moveTo>
                    <a:pt x="32766" y="0"/>
                  </a:moveTo>
                  <a:lnTo>
                    <a:pt x="38227" y="7254"/>
                  </a:lnTo>
                  <a:lnTo>
                    <a:pt x="37501" y="16979"/>
                  </a:lnTo>
                  <a:lnTo>
                    <a:pt x="24332" y="22579"/>
                  </a:lnTo>
                  <a:lnTo>
                    <a:pt x="34245" y="28978"/>
                  </a:lnTo>
                  <a:lnTo>
                    <a:pt x="25740" y="41484"/>
                  </a:lnTo>
                  <a:lnTo>
                    <a:pt x="20617" y="37321"/>
                  </a:lnTo>
                  <a:lnTo>
                    <a:pt x="15059" y="38977"/>
                  </a:lnTo>
                  <a:lnTo>
                    <a:pt x="2166" y="38587"/>
                  </a:lnTo>
                  <a:lnTo>
                    <a:pt x="1797" y="31478"/>
                  </a:lnTo>
                  <a:lnTo>
                    <a:pt x="0" y="25022"/>
                  </a:lnTo>
                  <a:lnTo>
                    <a:pt x="7808" y="14051"/>
                  </a:lnTo>
                  <a:lnTo>
                    <a:pt x="15923" y="3690"/>
                  </a:lnTo>
                  <a:lnTo>
                    <a:pt x="25804" y="572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0" name="Freeform 64">
              <a:extLst>
                <a:ext uri="{FF2B5EF4-FFF2-40B4-BE49-F238E27FC236}">
                  <a16:creationId xmlns:a16="http://schemas.microsoft.com/office/drawing/2014/main" id="{083A9786-DD6B-451A-A5B1-DF41EAEA23DB}"/>
                </a:ext>
              </a:extLst>
            </p:cNvPr>
            <p:cNvSpPr>
              <a:spLocks noChangeAspect="1"/>
            </p:cNvSpPr>
            <p:nvPr>
              <p:custDataLst>
                <p:tags r:id="rId72"/>
              </p:custDataLst>
            </p:nvPr>
          </p:nvSpPr>
          <p:spPr>
            <a:xfrm>
              <a:off x="4160227" y="3630027"/>
              <a:ext cx="477441" cy="452765"/>
            </a:xfrm>
            <a:custGeom>
              <a:avLst/>
              <a:gdLst/>
              <a:ahLst/>
              <a:cxnLst/>
              <a:rect l="0" t="0" r="0" b="0"/>
              <a:pathLst>
                <a:path w="477441" h="452765">
                  <a:moveTo>
                    <a:pt x="477440" y="346187"/>
                  </a:moveTo>
                  <a:lnTo>
                    <a:pt x="398345" y="392453"/>
                  </a:lnTo>
                  <a:lnTo>
                    <a:pt x="331513" y="439739"/>
                  </a:lnTo>
                  <a:lnTo>
                    <a:pt x="298963" y="450421"/>
                  </a:lnTo>
                  <a:lnTo>
                    <a:pt x="273358" y="452764"/>
                  </a:lnTo>
                  <a:lnTo>
                    <a:pt x="273093" y="437524"/>
                  </a:lnTo>
                  <a:lnTo>
                    <a:pt x="262404" y="433621"/>
                  </a:lnTo>
                  <a:lnTo>
                    <a:pt x="248033" y="426754"/>
                  </a:lnTo>
                  <a:lnTo>
                    <a:pt x="242545" y="415485"/>
                  </a:lnTo>
                  <a:lnTo>
                    <a:pt x="164680" y="362715"/>
                  </a:lnTo>
                  <a:lnTo>
                    <a:pt x="86816" y="309412"/>
                  </a:lnTo>
                  <a:lnTo>
                    <a:pt x="0" y="249566"/>
                  </a:lnTo>
                  <a:lnTo>
                    <a:pt x="445" y="244743"/>
                  </a:lnTo>
                  <a:lnTo>
                    <a:pt x="435" y="243075"/>
                  </a:lnTo>
                  <a:lnTo>
                    <a:pt x="238" y="213450"/>
                  </a:lnTo>
                  <a:lnTo>
                    <a:pt x="37514" y="194895"/>
                  </a:lnTo>
                  <a:lnTo>
                    <a:pt x="60564" y="191050"/>
                  </a:lnTo>
                  <a:lnTo>
                    <a:pt x="79457" y="184265"/>
                  </a:lnTo>
                  <a:lnTo>
                    <a:pt x="88286" y="171593"/>
                  </a:lnTo>
                  <a:lnTo>
                    <a:pt x="115274" y="161549"/>
                  </a:lnTo>
                  <a:lnTo>
                    <a:pt x="116265" y="142691"/>
                  </a:lnTo>
                  <a:lnTo>
                    <a:pt x="129619" y="140464"/>
                  </a:lnTo>
                  <a:lnTo>
                    <a:pt x="140061" y="131004"/>
                  </a:lnTo>
                  <a:lnTo>
                    <a:pt x="170270" y="126684"/>
                  </a:lnTo>
                  <a:lnTo>
                    <a:pt x="174502" y="116706"/>
                  </a:lnTo>
                  <a:lnTo>
                    <a:pt x="168420" y="111240"/>
                  </a:lnTo>
                  <a:lnTo>
                    <a:pt x="160447" y="83959"/>
                  </a:lnTo>
                  <a:lnTo>
                    <a:pt x="159073" y="68149"/>
                  </a:lnTo>
                  <a:lnTo>
                    <a:pt x="150372" y="51424"/>
                  </a:lnTo>
                  <a:lnTo>
                    <a:pt x="172562" y="37091"/>
                  </a:lnTo>
                  <a:lnTo>
                    <a:pt x="197517" y="32519"/>
                  </a:lnTo>
                  <a:lnTo>
                    <a:pt x="212090" y="21643"/>
                  </a:lnTo>
                  <a:lnTo>
                    <a:pt x="234320" y="13597"/>
                  </a:lnTo>
                  <a:lnTo>
                    <a:pt x="273440" y="8876"/>
                  </a:lnTo>
                  <a:lnTo>
                    <a:pt x="311620" y="6725"/>
                  </a:lnTo>
                  <a:lnTo>
                    <a:pt x="323262" y="10662"/>
                  </a:lnTo>
                  <a:lnTo>
                    <a:pt x="344999" y="206"/>
                  </a:lnTo>
                  <a:lnTo>
                    <a:pt x="369664" y="0"/>
                  </a:lnTo>
                  <a:lnTo>
                    <a:pt x="379052" y="6177"/>
                  </a:lnTo>
                  <a:lnTo>
                    <a:pt x="394838" y="4567"/>
                  </a:lnTo>
                  <a:lnTo>
                    <a:pt x="390149" y="18158"/>
                  </a:lnTo>
                  <a:lnTo>
                    <a:pt x="393809" y="43261"/>
                  </a:lnTo>
                  <a:lnTo>
                    <a:pt x="388375" y="64833"/>
                  </a:lnTo>
                  <a:lnTo>
                    <a:pt x="374145" y="79348"/>
                  </a:lnTo>
                  <a:lnTo>
                    <a:pt x="376179" y="98858"/>
                  </a:lnTo>
                  <a:lnTo>
                    <a:pt x="395057" y="114217"/>
                  </a:lnTo>
                  <a:lnTo>
                    <a:pt x="395257" y="120438"/>
                  </a:lnTo>
                  <a:lnTo>
                    <a:pt x="409487" y="130790"/>
                  </a:lnTo>
                  <a:lnTo>
                    <a:pt x="419333" y="176498"/>
                  </a:lnTo>
                  <a:lnTo>
                    <a:pt x="426800" y="198789"/>
                  </a:lnTo>
                  <a:lnTo>
                    <a:pt x="428055" y="210471"/>
                  </a:lnTo>
                  <a:lnTo>
                    <a:pt x="423989" y="230905"/>
                  </a:lnTo>
                  <a:lnTo>
                    <a:pt x="425657" y="242282"/>
                  </a:lnTo>
                  <a:lnTo>
                    <a:pt x="422724" y="255901"/>
                  </a:lnTo>
                  <a:lnTo>
                    <a:pt x="424737" y="271495"/>
                  </a:lnTo>
                  <a:lnTo>
                    <a:pt x="415576" y="281830"/>
                  </a:lnTo>
                  <a:lnTo>
                    <a:pt x="429225" y="299802"/>
                  </a:lnTo>
                  <a:lnTo>
                    <a:pt x="430092" y="310336"/>
                  </a:lnTo>
                  <a:lnTo>
                    <a:pt x="438300" y="324010"/>
                  </a:lnTo>
                  <a:lnTo>
                    <a:pt x="449091" y="319522"/>
                  </a:lnTo>
                  <a:lnTo>
                    <a:pt x="467311" y="33089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1" name="Freeform 65">
              <a:extLst>
                <a:ext uri="{FF2B5EF4-FFF2-40B4-BE49-F238E27FC236}">
                  <a16:creationId xmlns:a16="http://schemas.microsoft.com/office/drawing/2014/main" id="{237A900B-E6FA-436B-AEA4-5978DBA69A50}"/>
                </a:ext>
              </a:extLst>
            </p:cNvPr>
            <p:cNvSpPr>
              <a:spLocks noChangeAspect="1"/>
            </p:cNvSpPr>
            <p:nvPr>
              <p:custDataLst>
                <p:tags r:id="rId73"/>
              </p:custDataLst>
            </p:nvPr>
          </p:nvSpPr>
          <p:spPr>
            <a:xfrm>
              <a:off x="4930830" y="3774036"/>
              <a:ext cx="280829" cy="237937"/>
            </a:xfrm>
            <a:custGeom>
              <a:avLst/>
              <a:gdLst/>
              <a:ahLst/>
              <a:cxnLst/>
              <a:rect l="0" t="0" r="0" b="0"/>
              <a:pathLst>
                <a:path w="280829" h="237937">
                  <a:moveTo>
                    <a:pt x="235964" y="52848"/>
                  </a:moveTo>
                  <a:lnTo>
                    <a:pt x="229481" y="62960"/>
                  </a:lnTo>
                  <a:lnTo>
                    <a:pt x="224513" y="81900"/>
                  </a:lnTo>
                  <a:lnTo>
                    <a:pt x="218234" y="94906"/>
                  </a:lnTo>
                  <a:lnTo>
                    <a:pt x="212852" y="99259"/>
                  </a:lnTo>
                  <a:lnTo>
                    <a:pt x="205160" y="91212"/>
                  </a:lnTo>
                  <a:lnTo>
                    <a:pt x="194742" y="80057"/>
                  </a:lnTo>
                  <a:lnTo>
                    <a:pt x="178271" y="44029"/>
                  </a:lnTo>
                  <a:lnTo>
                    <a:pt x="175899" y="46316"/>
                  </a:lnTo>
                  <a:lnTo>
                    <a:pt x="185464" y="72854"/>
                  </a:lnTo>
                  <a:lnTo>
                    <a:pt x="199635" y="97983"/>
                  </a:lnTo>
                  <a:lnTo>
                    <a:pt x="217081" y="136637"/>
                  </a:lnTo>
                  <a:lnTo>
                    <a:pt x="225606" y="150053"/>
                  </a:lnTo>
                  <a:lnTo>
                    <a:pt x="233020" y="163950"/>
                  </a:lnTo>
                  <a:lnTo>
                    <a:pt x="253733" y="191072"/>
                  </a:lnTo>
                  <a:lnTo>
                    <a:pt x="249146" y="195330"/>
                  </a:lnTo>
                  <a:lnTo>
                    <a:pt x="249891" y="211172"/>
                  </a:lnTo>
                  <a:lnTo>
                    <a:pt x="276776" y="232973"/>
                  </a:lnTo>
                  <a:lnTo>
                    <a:pt x="280828" y="237936"/>
                  </a:lnTo>
                  <a:lnTo>
                    <a:pt x="189276" y="237936"/>
                  </a:lnTo>
                  <a:lnTo>
                    <a:pt x="99716" y="237936"/>
                  </a:lnTo>
                  <a:lnTo>
                    <a:pt x="6923" y="237936"/>
                  </a:lnTo>
                  <a:lnTo>
                    <a:pt x="6923" y="147984"/>
                  </a:lnTo>
                  <a:lnTo>
                    <a:pt x="6923" y="59460"/>
                  </a:lnTo>
                  <a:lnTo>
                    <a:pt x="0" y="39151"/>
                  </a:lnTo>
                  <a:lnTo>
                    <a:pt x="5945" y="23516"/>
                  </a:lnTo>
                  <a:lnTo>
                    <a:pt x="2373" y="12650"/>
                  </a:lnTo>
                  <a:lnTo>
                    <a:pt x="10728" y="422"/>
                  </a:lnTo>
                  <a:lnTo>
                    <a:pt x="41440" y="0"/>
                  </a:lnTo>
                  <a:lnTo>
                    <a:pt x="63652" y="6743"/>
                  </a:lnTo>
                  <a:lnTo>
                    <a:pt x="86570" y="14266"/>
                  </a:lnTo>
                  <a:lnTo>
                    <a:pt x="97258" y="18224"/>
                  </a:lnTo>
                  <a:lnTo>
                    <a:pt x="115029" y="10167"/>
                  </a:lnTo>
                  <a:lnTo>
                    <a:pt x="124530" y="2865"/>
                  </a:lnTo>
                  <a:lnTo>
                    <a:pt x="144887" y="761"/>
                  </a:lnTo>
                  <a:lnTo>
                    <a:pt x="161299" y="3982"/>
                  </a:lnTo>
                  <a:lnTo>
                    <a:pt x="167588" y="16609"/>
                  </a:lnTo>
                  <a:lnTo>
                    <a:pt x="172945" y="8296"/>
                  </a:lnTo>
                  <a:lnTo>
                    <a:pt x="191445" y="14309"/>
                  </a:lnTo>
                  <a:lnTo>
                    <a:pt x="209437" y="15748"/>
                  </a:lnTo>
                  <a:lnTo>
                    <a:pt x="220795" y="93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2" name="Freeform 66">
              <a:extLst>
                <a:ext uri="{FF2B5EF4-FFF2-40B4-BE49-F238E27FC236}">
                  <a16:creationId xmlns:a16="http://schemas.microsoft.com/office/drawing/2014/main" id="{8D94F4EB-75FF-4044-8120-030782682C1A}"/>
                </a:ext>
              </a:extLst>
            </p:cNvPr>
            <p:cNvSpPr>
              <a:spLocks noChangeAspect="1"/>
            </p:cNvSpPr>
            <p:nvPr>
              <p:custDataLst>
                <p:tags r:id="rId74"/>
              </p:custDataLst>
            </p:nvPr>
          </p:nvSpPr>
          <p:spPr>
            <a:xfrm>
              <a:off x="5199123" y="4108078"/>
              <a:ext cx="155995" cy="130929"/>
            </a:xfrm>
            <a:custGeom>
              <a:avLst/>
              <a:gdLst/>
              <a:ahLst/>
              <a:cxnLst/>
              <a:rect l="0" t="0" r="0" b="0"/>
              <a:pathLst>
                <a:path w="155995" h="130929">
                  <a:moveTo>
                    <a:pt x="139151" y="128893"/>
                  </a:moveTo>
                  <a:lnTo>
                    <a:pt x="131261" y="121305"/>
                  </a:lnTo>
                  <a:lnTo>
                    <a:pt x="121770" y="107540"/>
                  </a:lnTo>
                  <a:lnTo>
                    <a:pt x="111535" y="99990"/>
                  </a:lnTo>
                  <a:lnTo>
                    <a:pt x="105566" y="91865"/>
                  </a:lnTo>
                  <a:lnTo>
                    <a:pt x="85476" y="82422"/>
                  </a:lnTo>
                  <a:lnTo>
                    <a:pt x="69650" y="82140"/>
                  </a:lnTo>
                  <a:lnTo>
                    <a:pt x="64082" y="77211"/>
                  </a:lnTo>
                  <a:lnTo>
                    <a:pt x="50545" y="82755"/>
                  </a:lnTo>
                  <a:lnTo>
                    <a:pt x="36537" y="72050"/>
                  </a:lnTo>
                  <a:lnTo>
                    <a:pt x="29328" y="89641"/>
                  </a:lnTo>
                  <a:lnTo>
                    <a:pt x="2454" y="84719"/>
                  </a:lnTo>
                  <a:lnTo>
                    <a:pt x="0" y="75281"/>
                  </a:lnTo>
                  <a:lnTo>
                    <a:pt x="9941" y="40547"/>
                  </a:lnTo>
                  <a:lnTo>
                    <a:pt x="12219" y="24781"/>
                  </a:lnTo>
                  <a:lnTo>
                    <a:pt x="19488" y="17498"/>
                  </a:lnTo>
                  <a:lnTo>
                    <a:pt x="36489" y="13589"/>
                  </a:lnTo>
                  <a:lnTo>
                    <a:pt x="48171" y="0"/>
                  </a:lnTo>
                  <a:lnTo>
                    <a:pt x="61571" y="27534"/>
                  </a:lnTo>
                  <a:lnTo>
                    <a:pt x="67930" y="49288"/>
                  </a:lnTo>
                  <a:lnTo>
                    <a:pt x="80584" y="60806"/>
                  </a:lnTo>
                  <a:lnTo>
                    <a:pt x="112091" y="83094"/>
                  </a:lnTo>
                  <a:lnTo>
                    <a:pt x="124918" y="96515"/>
                  </a:lnTo>
                  <a:lnTo>
                    <a:pt x="137426" y="110080"/>
                  </a:lnTo>
                  <a:lnTo>
                    <a:pt x="144645" y="118147"/>
                  </a:lnTo>
                  <a:lnTo>
                    <a:pt x="155994" y="125203"/>
                  </a:lnTo>
                  <a:lnTo>
                    <a:pt x="149032" y="13092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3" name="Freeform 67">
              <a:extLst>
                <a:ext uri="{FF2B5EF4-FFF2-40B4-BE49-F238E27FC236}">
                  <a16:creationId xmlns:a16="http://schemas.microsoft.com/office/drawing/2014/main" id="{CEDB804C-D74E-4155-8557-1492CE3EF96A}"/>
                </a:ext>
              </a:extLst>
            </p:cNvPr>
            <p:cNvSpPr>
              <a:spLocks noChangeAspect="1"/>
            </p:cNvSpPr>
            <p:nvPr>
              <p:custDataLst>
                <p:tags r:id="rId75"/>
              </p:custDataLst>
            </p:nvPr>
          </p:nvSpPr>
          <p:spPr>
            <a:xfrm>
              <a:off x="4143873" y="3448764"/>
              <a:ext cx="286974" cy="212252"/>
            </a:xfrm>
            <a:custGeom>
              <a:avLst/>
              <a:gdLst/>
              <a:ahLst/>
              <a:cxnLst/>
              <a:rect l="0" t="0" r="0" b="0"/>
              <a:pathLst>
                <a:path w="286974" h="212252">
                  <a:moveTo>
                    <a:pt x="8266" y="52162"/>
                  </a:moveTo>
                  <a:lnTo>
                    <a:pt x="9429" y="32381"/>
                  </a:lnTo>
                  <a:lnTo>
                    <a:pt x="0" y="20266"/>
                  </a:lnTo>
                  <a:lnTo>
                    <a:pt x="32655" y="0"/>
                  </a:lnTo>
                  <a:lnTo>
                    <a:pt x="60902" y="5080"/>
                  </a:lnTo>
                  <a:lnTo>
                    <a:pt x="91892" y="4902"/>
                  </a:lnTo>
                  <a:lnTo>
                    <a:pt x="116454" y="9702"/>
                  </a:lnTo>
                  <a:lnTo>
                    <a:pt x="135619" y="8229"/>
                  </a:lnTo>
                  <a:lnTo>
                    <a:pt x="172925" y="9159"/>
                  </a:lnTo>
                  <a:lnTo>
                    <a:pt x="182125" y="20059"/>
                  </a:lnTo>
                  <a:lnTo>
                    <a:pt x="224617" y="32749"/>
                  </a:lnTo>
                  <a:lnTo>
                    <a:pt x="233008" y="26720"/>
                  </a:lnTo>
                  <a:lnTo>
                    <a:pt x="258981" y="39323"/>
                  </a:lnTo>
                  <a:lnTo>
                    <a:pt x="285738" y="35716"/>
                  </a:lnTo>
                  <a:lnTo>
                    <a:pt x="286973" y="51842"/>
                  </a:lnTo>
                  <a:lnTo>
                    <a:pt x="265099" y="70225"/>
                  </a:lnTo>
                  <a:lnTo>
                    <a:pt x="235522" y="76036"/>
                  </a:lnTo>
                  <a:lnTo>
                    <a:pt x="233464" y="85261"/>
                  </a:lnTo>
                  <a:lnTo>
                    <a:pt x="219276" y="100404"/>
                  </a:lnTo>
                  <a:lnTo>
                    <a:pt x="210380" y="122504"/>
                  </a:lnTo>
                  <a:lnTo>
                    <a:pt x="219382" y="137929"/>
                  </a:lnTo>
                  <a:lnTo>
                    <a:pt x="206031" y="149920"/>
                  </a:lnTo>
                  <a:lnTo>
                    <a:pt x="201039" y="167311"/>
                  </a:lnTo>
                  <a:lnTo>
                    <a:pt x="183612" y="172625"/>
                  </a:lnTo>
                  <a:lnTo>
                    <a:pt x="167268" y="193047"/>
                  </a:lnTo>
                  <a:lnTo>
                    <a:pt x="137968" y="193451"/>
                  </a:lnTo>
                  <a:lnTo>
                    <a:pt x="115967" y="192949"/>
                  </a:lnTo>
                  <a:lnTo>
                    <a:pt x="101511" y="202287"/>
                  </a:lnTo>
                  <a:lnTo>
                    <a:pt x="92694" y="212251"/>
                  </a:lnTo>
                  <a:lnTo>
                    <a:pt x="81400" y="210065"/>
                  </a:lnTo>
                  <a:lnTo>
                    <a:pt x="72854" y="201152"/>
                  </a:lnTo>
                  <a:lnTo>
                    <a:pt x="66310" y="185923"/>
                  </a:lnTo>
                  <a:lnTo>
                    <a:pt x="44762" y="181811"/>
                  </a:lnTo>
                  <a:lnTo>
                    <a:pt x="42837" y="173002"/>
                  </a:lnTo>
                  <a:lnTo>
                    <a:pt x="51391" y="162998"/>
                  </a:lnTo>
                  <a:lnTo>
                    <a:pt x="54559" y="155725"/>
                  </a:lnTo>
                  <a:lnTo>
                    <a:pt x="46600" y="147754"/>
                  </a:lnTo>
                  <a:lnTo>
                    <a:pt x="52972" y="130069"/>
                  </a:lnTo>
                  <a:lnTo>
                    <a:pt x="43725" y="113845"/>
                  </a:lnTo>
                  <a:lnTo>
                    <a:pt x="53698" y="111611"/>
                  </a:lnTo>
                  <a:lnTo>
                    <a:pt x="54625" y="98752"/>
                  </a:lnTo>
                  <a:lnTo>
                    <a:pt x="58374" y="94760"/>
                  </a:lnTo>
                  <a:lnTo>
                    <a:pt x="58671" y="73388"/>
                  </a:lnTo>
                  <a:lnTo>
                    <a:pt x="69336" y="65937"/>
                  </a:lnTo>
                  <a:lnTo>
                    <a:pt x="62884" y="52084"/>
                  </a:lnTo>
                  <a:lnTo>
                    <a:pt x="49434" y="51116"/>
                  </a:lnTo>
                  <a:lnTo>
                    <a:pt x="45482" y="54611"/>
                  </a:lnTo>
                  <a:lnTo>
                    <a:pt x="31848" y="54643"/>
                  </a:lnTo>
                  <a:lnTo>
                    <a:pt x="26062" y="41071"/>
                  </a:lnTo>
                  <a:lnTo>
                    <a:pt x="16642" y="4511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4" name="Freeform 68">
              <a:extLst>
                <a:ext uri="{FF2B5EF4-FFF2-40B4-BE49-F238E27FC236}">
                  <a16:creationId xmlns:a16="http://schemas.microsoft.com/office/drawing/2014/main" id="{5EF4BB47-BF7C-44A0-8C22-3FA1632E6C96}"/>
                </a:ext>
              </a:extLst>
            </p:cNvPr>
            <p:cNvSpPr>
              <a:spLocks noChangeAspect="1"/>
            </p:cNvSpPr>
            <p:nvPr>
              <p:custDataLst>
                <p:tags r:id="rId76"/>
              </p:custDataLst>
            </p:nvPr>
          </p:nvSpPr>
          <p:spPr>
            <a:xfrm>
              <a:off x="4899432" y="2958486"/>
              <a:ext cx="110610" cy="72100"/>
            </a:xfrm>
            <a:custGeom>
              <a:avLst/>
              <a:gdLst/>
              <a:ahLst/>
              <a:cxnLst/>
              <a:rect l="0" t="0" r="0" b="0"/>
              <a:pathLst>
                <a:path w="110610" h="72100">
                  <a:moveTo>
                    <a:pt x="22460" y="61482"/>
                  </a:moveTo>
                  <a:lnTo>
                    <a:pt x="25140" y="41708"/>
                  </a:lnTo>
                  <a:lnTo>
                    <a:pt x="16651" y="45947"/>
                  </a:lnTo>
                  <a:lnTo>
                    <a:pt x="2002" y="33975"/>
                  </a:lnTo>
                  <a:lnTo>
                    <a:pt x="0" y="14487"/>
                  </a:lnTo>
                  <a:lnTo>
                    <a:pt x="29185" y="4975"/>
                  </a:lnTo>
                  <a:lnTo>
                    <a:pt x="58269" y="0"/>
                  </a:lnTo>
                  <a:lnTo>
                    <a:pt x="83313" y="5661"/>
                  </a:lnTo>
                  <a:lnTo>
                    <a:pt x="107133" y="4649"/>
                  </a:lnTo>
                  <a:lnTo>
                    <a:pt x="110609" y="10614"/>
                  </a:lnTo>
                  <a:lnTo>
                    <a:pt x="94185" y="30195"/>
                  </a:lnTo>
                  <a:lnTo>
                    <a:pt x="101030" y="61533"/>
                  </a:lnTo>
                  <a:lnTo>
                    <a:pt x="91139" y="72099"/>
                  </a:lnTo>
                  <a:lnTo>
                    <a:pt x="72104" y="72037"/>
                  </a:lnTo>
                  <a:lnTo>
                    <a:pt x="52236" y="59676"/>
                  </a:lnTo>
                  <a:lnTo>
                    <a:pt x="42121" y="555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5" name="Freeform 69">
              <a:extLst>
                <a:ext uri="{FF2B5EF4-FFF2-40B4-BE49-F238E27FC236}">
                  <a16:creationId xmlns:a16="http://schemas.microsoft.com/office/drawing/2014/main" id="{C256398F-E4BD-4736-B685-B0F346F1633C}"/>
                </a:ext>
              </a:extLst>
            </p:cNvPr>
            <p:cNvSpPr>
              <a:spLocks noChangeAspect="1"/>
            </p:cNvSpPr>
            <p:nvPr>
              <p:custDataLst>
                <p:tags r:id="rId77"/>
              </p:custDataLst>
            </p:nvPr>
          </p:nvSpPr>
          <p:spPr>
            <a:xfrm>
              <a:off x="5121357" y="4180128"/>
              <a:ext cx="342438" cy="268823"/>
            </a:xfrm>
            <a:custGeom>
              <a:avLst/>
              <a:gdLst/>
              <a:ahLst/>
              <a:cxnLst/>
              <a:rect l="0" t="0" r="0" b="0"/>
              <a:pathLst>
                <a:path w="342438" h="268823">
                  <a:moveTo>
                    <a:pt x="114303" y="0"/>
                  </a:moveTo>
                  <a:lnTo>
                    <a:pt x="128311" y="10705"/>
                  </a:lnTo>
                  <a:lnTo>
                    <a:pt x="141848" y="5161"/>
                  </a:lnTo>
                  <a:lnTo>
                    <a:pt x="147416" y="10090"/>
                  </a:lnTo>
                  <a:lnTo>
                    <a:pt x="163243" y="10372"/>
                  </a:lnTo>
                  <a:lnTo>
                    <a:pt x="183332" y="19815"/>
                  </a:lnTo>
                  <a:lnTo>
                    <a:pt x="189302" y="27939"/>
                  </a:lnTo>
                  <a:lnTo>
                    <a:pt x="199536" y="35490"/>
                  </a:lnTo>
                  <a:lnTo>
                    <a:pt x="209027" y="49255"/>
                  </a:lnTo>
                  <a:lnTo>
                    <a:pt x="216917" y="56843"/>
                  </a:lnTo>
                  <a:lnTo>
                    <a:pt x="208802" y="67204"/>
                  </a:lnTo>
                  <a:lnTo>
                    <a:pt x="200994" y="78175"/>
                  </a:lnTo>
                  <a:lnTo>
                    <a:pt x="202791" y="84631"/>
                  </a:lnTo>
                  <a:lnTo>
                    <a:pt x="203160" y="91740"/>
                  </a:lnTo>
                  <a:lnTo>
                    <a:pt x="216053" y="92130"/>
                  </a:lnTo>
                  <a:lnTo>
                    <a:pt x="221611" y="90474"/>
                  </a:lnTo>
                  <a:lnTo>
                    <a:pt x="226734" y="94637"/>
                  </a:lnTo>
                  <a:lnTo>
                    <a:pt x="221699" y="102908"/>
                  </a:lnTo>
                  <a:lnTo>
                    <a:pt x="230225" y="115751"/>
                  </a:lnTo>
                  <a:lnTo>
                    <a:pt x="238740" y="126968"/>
                  </a:lnTo>
                  <a:lnTo>
                    <a:pt x="247552" y="135278"/>
                  </a:lnTo>
                  <a:lnTo>
                    <a:pt x="323023" y="162869"/>
                  </a:lnTo>
                  <a:lnTo>
                    <a:pt x="342437" y="162726"/>
                  </a:lnTo>
                  <a:lnTo>
                    <a:pt x="277210" y="232298"/>
                  </a:lnTo>
                  <a:lnTo>
                    <a:pt x="247139" y="233318"/>
                  </a:lnTo>
                  <a:lnTo>
                    <a:pt x="226568" y="249624"/>
                  </a:lnTo>
                  <a:lnTo>
                    <a:pt x="211771" y="250050"/>
                  </a:lnTo>
                  <a:lnTo>
                    <a:pt x="205457" y="257338"/>
                  </a:lnTo>
                  <a:lnTo>
                    <a:pt x="189685" y="257334"/>
                  </a:lnTo>
                  <a:lnTo>
                    <a:pt x="180375" y="249521"/>
                  </a:lnTo>
                  <a:lnTo>
                    <a:pt x="159288" y="259191"/>
                  </a:lnTo>
                  <a:lnTo>
                    <a:pt x="152466" y="268822"/>
                  </a:lnTo>
                  <a:lnTo>
                    <a:pt x="137073" y="267004"/>
                  </a:lnTo>
                  <a:lnTo>
                    <a:pt x="131963" y="264339"/>
                  </a:lnTo>
                  <a:lnTo>
                    <a:pt x="126558" y="264975"/>
                  </a:lnTo>
                  <a:lnTo>
                    <a:pt x="119262" y="264742"/>
                  </a:lnTo>
                  <a:lnTo>
                    <a:pt x="90044" y="245108"/>
                  </a:lnTo>
                  <a:lnTo>
                    <a:pt x="73978" y="245108"/>
                  </a:lnTo>
                  <a:lnTo>
                    <a:pt x="66092" y="237496"/>
                  </a:lnTo>
                  <a:lnTo>
                    <a:pt x="66092" y="224508"/>
                  </a:lnTo>
                  <a:lnTo>
                    <a:pt x="54102" y="220624"/>
                  </a:lnTo>
                  <a:lnTo>
                    <a:pt x="40460" y="195415"/>
                  </a:lnTo>
                  <a:lnTo>
                    <a:pt x="29918" y="190039"/>
                  </a:lnTo>
                  <a:lnTo>
                    <a:pt x="25874" y="180765"/>
                  </a:lnTo>
                  <a:lnTo>
                    <a:pt x="14175" y="169453"/>
                  </a:lnTo>
                  <a:lnTo>
                    <a:pt x="0" y="167790"/>
                  </a:lnTo>
                  <a:lnTo>
                    <a:pt x="7862" y="154558"/>
                  </a:lnTo>
                  <a:lnTo>
                    <a:pt x="20113" y="153987"/>
                  </a:lnTo>
                  <a:lnTo>
                    <a:pt x="23563" y="146887"/>
                  </a:lnTo>
                  <a:lnTo>
                    <a:pt x="23255" y="125965"/>
                  </a:lnTo>
                  <a:lnTo>
                    <a:pt x="30083" y="101566"/>
                  </a:lnTo>
                  <a:lnTo>
                    <a:pt x="41017" y="95027"/>
                  </a:lnTo>
                  <a:lnTo>
                    <a:pt x="43337" y="85476"/>
                  </a:lnTo>
                  <a:lnTo>
                    <a:pt x="53236" y="67605"/>
                  </a:lnTo>
                  <a:lnTo>
                    <a:pt x="67158" y="55998"/>
                  </a:lnTo>
                  <a:lnTo>
                    <a:pt x="76543" y="32876"/>
                  </a:lnTo>
                  <a:lnTo>
                    <a:pt x="80220" y="12669"/>
                  </a:lnTo>
                  <a:lnTo>
                    <a:pt x="107094" y="175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6" name="Freeform 70">
              <a:extLst>
                <a:ext uri="{FF2B5EF4-FFF2-40B4-BE49-F238E27FC236}">
                  <a16:creationId xmlns:a16="http://schemas.microsoft.com/office/drawing/2014/main" id="{8C45EAC1-1BD4-4354-8CD0-C93E3012FC85}"/>
                </a:ext>
              </a:extLst>
            </p:cNvPr>
            <p:cNvSpPr>
              <a:spLocks noChangeAspect="1"/>
            </p:cNvSpPr>
            <p:nvPr>
              <p:custDataLst>
                <p:tags r:id="rId78"/>
              </p:custDataLst>
            </p:nvPr>
          </p:nvSpPr>
          <p:spPr>
            <a:xfrm>
              <a:off x="4837242" y="2562085"/>
              <a:ext cx="250921" cy="388320"/>
            </a:xfrm>
            <a:custGeom>
              <a:avLst/>
              <a:gdLst/>
              <a:ahLst/>
              <a:cxnLst/>
              <a:rect l="0" t="0" r="0" b="0"/>
              <a:pathLst>
                <a:path w="250921" h="388320">
                  <a:moveTo>
                    <a:pt x="183423" y="45026"/>
                  </a:moveTo>
                  <a:lnTo>
                    <a:pt x="180053" y="73184"/>
                  </a:lnTo>
                  <a:lnTo>
                    <a:pt x="215404" y="99622"/>
                  </a:lnTo>
                  <a:lnTo>
                    <a:pt x="194102" y="129132"/>
                  </a:lnTo>
                  <a:lnTo>
                    <a:pt x="220948" y="172895"/>
                  </a:lnTo>
                  <a:lnTo>
                    <a:pt x="205409" y="205257"/>
                  </a:lnTo>
                  <a:lnTo>
                    <a:pt x="226189" y="232951"/>
                  </a:lnTo>
                  <a:lnTo>
                    <a:pt x="216753" y="256906"/>
                  </a:lnTo>
                  <a:lnTo>
                    <a:pt x="250920" y="281805"/>
                  </a:lnTo>
                  <a:lnTo>
                    <a:pt x="242239" y="300154"/>
                  </a:lnTo>
                  <a:lnTo>
                    <a:pt x="220798" y="320751"/>
                  </a:lnTo>
                  <a:lnTo>
                    <a:pt x="171375" y="365587"/>
                  </a:lnTo>
                  <a:lnTo>
                    <a:pt x="129484" y="368352"/>
                  </a:lnTo>
                  <a:lnTo>
                    <a:pt x="88892" y="381047"/>
                  </a:lnTo>
                  <a:lnTo>
                    <a:pt x="51338" y="388319"/>
                  </a:lnTo>
                  <a:lnTo>
                    <a:pt x="37975" y="369464"/>
                  </a:lnTo>
                  <a:lnTo>
                    <a:pt x="15619" y="358042"/>
                  </a:lnTo>
                  <a:lnTo>
                    <a:pt x="20758" y="323400"/>
                  </a:lnTo>
                  <a:lnTo>
                    <a:pt x="9547" y="291189"/>
                  </a:lnTo>
                  <a:lnTo>
                    <a:pt x="20554" y="270137"/>
                  </a:lnTo>
                  <a:lnTo>
                    <a:pt x="41483" y="247197"/>
                  </a:lnTo>
                  <a:lnTo>
                    <a:pt x="94291" y="206992"/>
                  </a:lnTo>
                  <a:lnTo>
                    <a:pt x="109700" y="199152"/>
                  </a:lnTo>
                  <a:lnTo>
                    <a:pt x="107299" y="183203"/>
                  </a:lnTo>
                  <a:lnTo>
                    <a:pt x="75198" y="165237"/>
                  </a:lnTo>
                  <a:lnTo>
                    <a:pt x="67408" y="150325"/>
                  </a:lnTo>
                  <a:lnTo>
                    <a:pt x="66799" y="90229"/>
                  </a:lnTo>
                  <a:lnTo>
                    <a:pt x="30768" y="63086"/>
                  </a:lnTo>
                  <a:lnTo>
                    <a:pt x="0" y="43346"/>
                  </a:lnTo>
                  <a:lnTo>
                    <a:pt x="13834" y="32609"/>
                  </a:lnTo>
                  <a:lnTo>
                    <a:pt x="39486" y="54039"/>
                  </a:lnTo>
                  <a:lnTo>
                    <a:pt x="69628" y="52042"/>
                  </a:lnTo>
                  <a:lnTo>
                    <a:pt x="94410" y="61772"/>
                  </a:lnTo>
                  <a:lnTo>
                    <a:pt x="116420" y="43919"/>
                  </a:lnTo>
                  <a:lnTo>
                    <a:pt x="127740" y="13988"/>
                  </a:lnTo>
                  <a:lnTo>
                    <a:pt x="163580" y="0"/>
                  </a:lnTo>
                  <a:lnTo>
                    <a:pt x="193201" y="1640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7" name="Freeform 71">
              <a:extLst>
                <a:ext uri="{FF2B5EF4-FFF2-40B4-BE49-F238E27FC236}">
                  <a16:creationId xmlns:a16="http://schemas.microsoft.com/office/drawing/2014/main" id="{77EF7EA9-85F8-43F0-B909-5B5883748EC9}"/>
                </a:ext>
              </a:extLst>
            </p:cNvPr>
            <p:cNvSpPr>
              <a:spLocks noChangeAspect="1"/>
            </p:cNvSpPr>
            <p:nvPr>
              <p:custDataLst>
                <p:tags r:id="rId79"/>
              </p:custDataLst>
            </p:nvPr>
          </p:nvSpPr>
          <p:spPr>
            <a:xfrm>
              <a:off x="4254682" y="3231904"/>
              <a:ext cx="3963580" cy="2550519"/>
            </a:xfrm>
            <a:custGeom>
              <a:avLst/>
              <a:gdLst>
                <a:gd name="connsiteX0" fmla="*/ 1697208 w 3963580"/>
                <a:gd name="connsiteY0" fmla="*/ 2516185 h 2550519"/>
                <a:gd name="connsiteX1" fmla="*/ 1712096 w 3963580"/>
                <a:gd name="connsiteY1" fmla="*/ 2525545 h 2550519"/>
                <a:gd name="connsiteX2" fmla="*/ 1733909 w 3963580"/>
                <a:gd name="connsiteY2" fmla="*/ 2529268 h 2550519"/>
                <a:gd name="connsiteX3" fmla="*/ 1734717 w 3963580"/>
                <a:gd name="connsiteY3" fmla="*/ 2534938 h 2550519"/>
                <a:gd name="connsiteX4" fmla="*/ 1728254 w 3963580"/>
                <a:gd name="connsiteY4" fmla="*/ 2548566 h 2550519"/>
                <a:gd name="connsiteX5" fmla="*/ 1692822 w 3963580"/>
                <a:gd name="connsiteY5" fmla="*/ 2550519 h 2550519"/>
                <a:gd name="connsiteX6" fmla="*/ 1692245 w 3963580"/>
                <a:gd name="connsiteY6" fmla="*/ 2534565 h 2550519"/>
                <a:gd name="connsiteX7" fmla="*/ 1695650 w 3963580"/>
                <a:gd name="connsiteY7" fmla="*/ 2522273 h 2550519"/>
                <a:gd name="connsiteX8" fmla="*/ 3892245 w 3963580"/>
                <a:gd name="connsiteY8" fmla="*/ 1766377 h 2550519"/>
                <a:gd name="connsiteX9" fmla="*/ 3902180 w 3963580"/>
                <a:gd name="connsiteY9" fmla="*/ 1766722 h 2550519"/>
                <a:gd name="connsiteX10" fmla="*/ 3915107 w 3963580"/>
                <a:gd name="connsiteY10" fmla="*/ 1774896 h 2550519"/>
                <a:gd name="connsiteX11" fmla="*/ 3925263 w 3963580"/>
                <a:gd name="connsiteY11" fmla="*/ 1783082 h 2550519"/>
                <a:gd name="connsiteX12" fmla="*/ 3932649 w 3963580"/>
                <a:gd name="connsiteY12" fmla="*/ 1789831 h 2550519"/>
                <a:gd name="connsiteX13" fmla="*/ 3951577 w 3963580"/>
                <a:gd name="connsiteY13" fmla="*/ 1804806 h 2550519"/>
                <a:gd name="connsiteX14" fmla="*/ 3963580 w 3963580"/>
                <a:gd name="connsiteY14" fmla="*/ 1815941 h 2550519"/>
                <a:gd name="connsiteX15" fmla="*/ 3954810 w 3963580"/>
                <a:gd name="connsiteY15" fmla="*/ 1821760 h 2550519"/>
                <a:gd name="connsiteX16" fmla="*/ 3942107 w 3963580"/>
                <a:gd name="connsiteY16" fmla="*/ 1815207 h 2550519"/>
                <a:gd name="connsiteX17" fmla="*/ 3925595 w 3963580"/>
                <a:gd name="connsiteY17" fmla="*/ 1804312 h 2550519"/>
                <a:gd name="connsiteX18" fmla="*/ 3910716 w 3963580"/>
                <a:gd name="connsiteY18" fmla="*/ 1791515 h 2550519"/>
                <a:gd name="connsiteX19" fmla="*/ 3895440 w 3963580"/>
                <a:gd name="connsiteY19" fmla="*/ 1774529 h 2550519"/>
                <a:gd name="connsiteX20" fmla="*/ 322750 w 3963580"/>
                <a:gd name="connsiteY20" fmla="*/ 237592 h 2550519"/>
                <a:gd name="connsiteX21" fmla="*/ 326674 w 3963580"/>
                <a:gd name="connsiteY21" fmla="*/ 261485 h 2550519"/>
                <a:gd name="connsiteX22" fmla="*/ 319051 w 3963580"/>
                <a:gd name="connsiteY22" fmla="*/ 282847 h 2550519"/>
                <a:gd name="connsiteX23" fmla="*/ 308571 w 3963580"/>
                <a:gd name="connsiteY23" fmla="*/ 277231 h 2550519"/>
                <a:gd name="connsiteX24" fmla="*/ 303227 w 3963580"/>
                <a:gd name="connsiteY24" fmla="*/ 258597 h 2550519"/>
                <a:gd name="connsiteX25" fmla="*/ 307885 w 3963580"/>
                <a:gd name="connsiteY25" fmla="*/ 248256 h 2550519"/>
                <a:gd name="connsiteX26" fmla="*/ 164024 w 3963580"/>
                <a:gd name="connsiteY26" fmla="*/ 0 h 2550519"/>
                <a:gd name="connsiteX27" fmla="*/ 167367 w 3963580"/>
                <a:gd name="connsiteY27" fmla="*/ 10719 h 2550519"/>
                <a:gd name="connsiteX28" fmla="*/ 178096 w 3963580"/>
                <a:gd name="connsiteY28" fmla="*/ 11221 h 2550519"/>
                <a:gd name="connsiteX29" fmla="*/ 188828 w 3963580"/>
                <a:gd name="connsiteY29" fmla="*/ 23398 h 2550519"/>
                <a:gd name="connsiteX30" fmla="*/ 204936 w 3963580"/>
                <a:gd name="connsiteY30" fmla="*/ 37629 h 2550519"/>
                <a:gd name="connsiteX31" fmla="*/ 216782 w 3963580"/>
                <a:gd name="connsiteY31" fmla="*/ 35284 h 2550519"/>
                <a:gd name="connsiteX32" fmla="*/ 236976 w 3963580"/>
                <a:gd name="connsiteY32" fmla="*/ 48983 h 2550519"/>
                <a:gd name="connsiteX33" fmla="*/ 242139 w 3963580"/>
                <a:gd name="connsiteY33" fmla="*/ 51583 h 2550519"/>
                <a:gd name="connsiteX34" fmla="*/ 248800 w 3963580"/>
                <a:gd name="connsiteY34" fmla="*/ 50950 h 2550519"/>
                <a:gd name="connsiteX35" fmla="*/ 259693 w 3963580"/>
                <a:gd name="connsiteY35" fmla="*/ 58779 h 2550519"/>
                <a:gd name="connsiteX36" fmla="*/ 292956 w 3963580"/>
                <a:gd name="connsiteY36" fmla="*/ 64272 h 2550519"/>
                <a:gd name="connsiteX37" fmla="*/ 281286 w 3963580"/>
                <a:gd name="connsiteY37" fmla="*/ 84594 h 2550519"/>
                <a:gd name="connsiteX38" fmla="*/ 278356 w 3963580"/>
                <a:gd name="connsiteY38" fmla="*/ 105573 h 2550519"/>
                <a:gd name="connsiteX39" fmla="*/ 272019 w 3963580"/>
                <a:gd name="connsiteY39" fmla="*/ 110578 h 2550519"/>
                <a:gd name="connsiteX40" fmla="*/ 261501 w 3963580"/>
                <a:gd name="connsiteY40" fmla="*/ 107882 h 2550519"/>
                <a:gd name="connsiteX41" fmla="*/ 262244 w 3963580"/>
                <a:gd name="connsiteY41" fmla="*/ 115318 h 2550519"/>
                <a:gd name="connsiteX42" fmla="*/ 245362 w 3963580"/>
                <a:gd name="connsiteY42" fmla="*/ 131691 h 2550519"/>
                <a:gd name="connsiteX43" fmla="*/ 245021 w 3963580"/>
                <a:gd name="connsiteY43" fmla="*/ 144812 h 2550519"/>
                <a:gd name="connsiteX44" fmla="*/ 256043 w 3963580"/>
                <a:gd name="connsiteY44" fmla="*/ 140279 h 2550519"/>
                <a:gd name="connsiteX45" fmla="*/ 263972 w 3963580"/>
                <a:gd name="connsiteY45" fmla="*/ 152948 h 2550519"/>
                <a:gd name="connsiteX46" fmla="*/ 263020 w 3963580"/>
                <a:gd name="connsiteY46" fmla="*/ 161081 h 2550519"/>
                <a:gd name="connsiteX47" fmla="*/ 269813 w 3963580"/>
                <a:gd name="connsiteY47" fmla="*/ 171851 h 2550519"/>
                <a:gd name="connsiteX48" fmla="*/ 261810 w 3963580"/>
                <a:gd name="connsiteY48" fmla="*/ 180557 h 2550519"/>
                <a:gd name="connsiteX49" fmla="*/ 267757 w 3963580"/>
                <a:gd name="connsiteY49" fmla="*/ 202555 h 2550519"/>
                <a:gd name="connsiteX50" fmla="*/ 280268 w 3963580"/>
                <a:gd name="connsiteY50" fmla="*/ 206145 h 2550519"/>
                <a:gd name="connsiteX51" fmla="*/ 277628 w 3963580"/>
                <a:gd name="connsiteY51" fmla="*/ 218395 h 2550519"/>
                <a:gd name="connsiteX52" fmla="*/ 256716 w 3963580"/>
                <a:gd name="connsiteY52" fmla="*/ 234263 h 2550519"/>
                <a:gd name="connsiteX53" fmla="*/ 211191 w 3963580"/>
                <a:gd name="connsiteY53" fmla="*/ 226669 h 2550519"/>
                <a:gd name="connsiteX54" fmla="*/ 177569 w 3963580"/>
                <a:gd name="connsiteY54" fmla="*/ 235767 h 2550519"/>
                <a:gd name="connsiteX55" fmla="*/ 174928 w 3963580"/>
                <a:gd name="connsiteY55" fmla="*/ 252576 h 2550519"/>
                <a:gd name="connsiteX56" fmla="*/ 148171 w 3963580"/>
                <a:gd name="connsiteY56" fmla="*/ 256183 h 2550519"/>
                <a:gd name="connsiteX57" fmla="*/ 122198 w 3963580"/>
                <a:gd name="connsiteY57" fmla="*/ 243580 h 2550519"/>
                <a:gd name="connsiteX58" fmla="*/ 113807 w 3963580"/>
                <a:gd name="connsiteY58" fmla="*/ 249609 h 2550519"/>
                <a:gd name="connsiteX59" fmla="*/ 71315 w 3963580"/>
                <a:gd name="connsiteY59" fmla="*/ 236919 h 2550519"/>
                <a:gd name="connsiteX60" fmla="*/ 62115 w 3963580"/>
                <a:gd name="connsiteY60" fmla="*/ 226019 h 2550519"/>
                <a:gd name="connsiteX61" fmla="*/ 74052 w 3963580"/>
                <a:gd name="connsiteY61" fmla="*/ 209122 h 2550519"/>
                <a:gd name="connsiteX62" fmla="*/ 78447 w 3963580"/>
                <a:gd name="connsiteY62" fmla="*/ 152263 h 2550519"/>
                <a:gd name="connsiteX63" fmla="*/ 54628 w 3963580"/>
                <a:gd name="connsiteY63" fmla="*/ 121837 h 2550519"/>
                <a:gd name="connsiteX64" fmla="*/ 37603 w 3963580"/>
                <a:gd name="connsiteY64" fmla="*/ 107046 h 2550519"/>
                <a:gd name="connsiteX65" fmla="*/ 2327 w 3963580"/>
                <a:gd name="connsiteY65" fmla="*/ 95747 h 2550519"/>
                <a:gd name="connsiteX66" fmla="*/ 0 w 3963580"/>
                <a:gd name="connsiteY66" fmla="*/ 74192 h 2550519"/>
                <a:gd name="connsiteX67" fmla="*/ 29927 w 3963580"/>
                <a:gd name="connsiteY67" fmla="*/ 67728 h 2550519"/>
                <a:gd name="connsiteX68" fmla="*/ 68690 w 3963580"/>
                <a:gd name="connsiteY68" fmla="*/ 75372 h 2550519"/>
                <a:gd name="connsiteX69" fmla="*/ 61373 w 3963580"/>
                <a:gd name="connsiteY69" fmla="*/ 41574 h 2550519"/>
                <a:gd name="connsiteX70" fmla="*/ 83164 w 3963580"/>
                <a:gd name="connsiteY70" fmla="*/ 54434 h 2550519"/>
                <a:gd name="connsiteX71" fmla="*/ 136906 w 3963580"/>
                <a:gd name="connsiteY71" fmla="*/ 31008 h 2550519"/>
                <a:gd name="connsiteX72" fmla="*/ 143836 w 3963580"/>
                <a:gd name="connsiteY72" fmla="*/ 6160 h 255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63580" h="2550519">
                  <a:moveTo>
                    <a:pt x="1697208" y="2516185"/>
                  </a:moveTo>
                  <a:lnTo>
                    <a:pt x="1712096" y="2525545"/>
                  </a:lnTo>
                  <a:lnTo>
                    <a:pt x="1733909" y="2529268"/>
                  </a:lnTo>
                  <a:lnTo>
                    <a:pt x="1734717" y="2534938"/>
                  </a:lnTo>
                  <a:lnTo>
                    <a:pt x="1728254" y="2548566"/>
                  </a:lnTo>
                  <a:lnTo>
                    <a:pt x="1692822" y="2550519"/>
                  </a:lnTo>
                  <a:lnTo>
                    <a:pt x="1692245" y="2534565"/>
                  </a:lnTo>
                  <a:lnTo>
                    <a:pt x="1695650" y="2522273"/>
                  </a:lnTo>
                  <a:close/>
                  <a:moveTo>
                    <a:pt x="3892245" y="1766377"/>
                  </a:moveTo>
                  <a:lnTo>
                    <a:pt x="3902180" y="1766722"/>
                  </a:lnTo>
                  <a:lnTo>
                    <a:pt x="3915107" y="1774896"/>
                  </a:lnTo>
                  <a:lnTo>
                    <a:pt x="3925263" y="1783082"/>
                  </a:lnTo>
                  <a:lnTo>
                    <a:pt x="3932649" y="1789831"/>
                  </a:lnTo>
                  <a:lnTo>
                    <a:pt x="3951577" y="1804806"/>
                  </a:lnTo>
                  <a:lnTo>
                    <a:pt x="3963580" y="1815941"/>
                  </a:lnTo>
                  <a:lnTo>
                    <a:pt x="3954810" y="1821760"/>
                  </a:lnTo>
                  <a:lnTo>
                    <a:pt x="3942107" y="1815207"/>
                  </a:lnTo>
                  <a:lnTo>
                    <a:pt x="3925595" y="1804312"/>
                  </a:lnTo>
                  <a:lnTo>
                    <a:pt x="3910716" y="1791515"/>
                  </a:lnTo>
                  <a:lnTo>
                    <a:pt x="3895440" y="1774529"/>
                  </a:lnTo>
                  <a:close/>
                  <a:moveTo>
                    <a:pt x="322750" y="237592"/>
                  </a:moveTo>
                  <a:lnTo>
                    <a:pt x="326674" y="261485"/>
                  </a:lnTo>
                  <a:lnTo>
                    <a:pt x="319051" y="282847"/>
                  </a:lnTo>
                  <a:lnTo>
                    <a:pt x="308571" y="277231"/>
                  </a:lnTo>
                  <a:lnTo>
                    <a:pt x="303227" y="258597"/>
                  </a:lnTo>
                  <a:lnTo>
                    <a:pt x="307885" y="248256"/>
                  </a:lnTo>
                  <a:close/>
                  <a:moveTo>
                    <a:pt x="164024" y="0"/>
                  </a:moveTo>
                  <a:lnTo>
                    <a:pt x="167367" y="10719"/>
                  </a:lnTo>
                  <a:lnTo>
                    <a:pt x="178096" y="11221"/>
                  </a:lnTo>
                  <a:lnTo>
                    <a:pt x="188828" y="23398"/>
                  </a:lnTo>
                  <a:lnTo>
                    <a:pt x="204936" y="37629"/>
                  </a:lnTo>
                  <a:lnTo>
                    <a:pt x="216782" y="35284"/>
                  </a:lnTo>
                  <a:lnTo>
                    <a:pt x="236976" y="48983"/>
                  </a:lnTo>
                  <a:lnTo>
                    <a:pt x="242139" y="51583"/>
                  </a:lnTo>
                  <a:lnTo>
                    <a:pt x="248800" y="50950"/>
                  </a:lnTo>
                  <a:lnTo>
                    <a:pt x="259693" y="58779"/>
                  </a:lnTo>
                  <a:lnTo>
                    <a:pt x="292956" y="64272"/>
                  </a:lnTo>
                  <a:lnTo>
                    <a:pt x="281286" y="84594"/>
                  </a:lnTo>
                  <a:lnTo>
                    <a:pt x="278356" y="105573"/>
                  </a:lnTo>
                  <a:lnTo>
                    <a:pt x="272019" y="110578"/>
                  </a:lnTo>
                  <a:lnTo>
                    <a:pt x="261501" y="107882"/>
                  </a:lnTo>
                  <a:lnTo>
                    <a:pt x="262244" y="115318"/>
                  </a:lnTo>
                  <a:lnTo>
                    <a:pt x="245362" y="131691"/>
                  </a:lnTo>
                  <a:lnTo>
                    <a:pt x="245021" y="144812"/>
                  </a:lnTo>
                  <a:lnTo>
                    <a:pt x="256043" y="140279"/>
                  </a:lnTo>
                  <a:lnTo>
                    <a:pt x="263972" y="152948"/>
                  </a:lnTo>
                  <a:lnTo>
                    <a:pt x="263020" y="161081"/>
                  </a:lnTo>
                  <a:lnTo>
                    <a:pt x="269813" y="171851"/>
                  </a:lnTo>
                  <a:lnTo>
                    <a:pt x="261810" y="180557"/>
                  </a:lnTo>
                  <a:lnTo>
                    <a:pt x="267757" y="202555"/>
                  </a:lnTo>
                  <a:lnTo>
                    <a:pt x="280268" y="206145"/>
                  </a:lnTo>
                  <a:lnTo>
                    <a:pt x="277628" y="218395"/>
                  </a:lnTo>
                  <a:lnTo>
                    <a:pt x="256716" y="234263"/>
                  </a:lnTo>
                  <a:lnTo>
                    <a:pt x="211191" y="226669"/>
                  </a:lnTo>
                  <a:lnTo>
                    <a:pt x="177569" y="235767"/>
                  </a:lnTo>
                  <a:lnTo>
                    <a:pt x="174928" y="252576"/>
                  </a:lnTo>
                  <a:lnTo>
                    <a:pt x="148171" y="256183"/>
                  </a:lnTo>
                  <a:lnTo>
                    <a:pt x="122198" y="243580"/>
                  </a:lnTo>
                  <a:lnTo>
                    <a:pt x="113807" y="249609"/>
                  </a:lnTo>
                  <a:lnTo>
                    <a:pt x="71315" y="236919"/>
                  </a:lnTo>
                  <a:lnTo>
                    <a:pt x="62115" y="226019"/>
                  </a:lnTo>
                  <a:lnTo>
                    <a:pt x="74052" y="209122"/>
                  </a:lnTo>
                  <a:lnTo>
                    <a:pt x="78447" y="152263"/>
                  </a:lnTo>
                  <a:lnTo>
                    <a:pt x="54628" y="121837"/>
                  </a:lnTo>
                  <a:lnTo>
                    <a:pt x="37603" y="107046"/>
                  </a:lnTo>
                  <a:lnTo>
                    <a:pt x="2327" y="95747"/>
                  </a:lnTo>
                  <a:lnTo>
                    <a:pt x="0" y="74192"/>
                  </a:lnTo>
                  <a:lnTo>
                    <a:pt x="29927" y="67728"/>
                  </a:lnTo>
                  <a:lnTo>
                    <a:pt x="68690" y="75372"/>
                  </a:lnTo>
                  <a:lnTo>
                    <a:pt x="61373" y="41574"/>
                  </a:lnTo>
                  <a:lnTo>
                    <a:pt x="83164" y="54434"/>
                  </a:lnTo>
                  <a:lnTo>
                    <a:pt x="136906" y="31008"/>
                  </a:lnTo>
                  <a:lnTo>
                    <a:pt x="143836" y="616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8" name="Freeform 72">
              <a:extLst>
                <a:ext uri="{FF2B5EF4-FFF2-40B4-BE49-F238E27FC236}">
                  <a16:creationId xmlns:a16="http://schemas.microsoft.com/office/drawing/2014/main" id="{E3D51829-2BF3-446F-B11C-C8DDDD049D31}"/>
                </a:ext>
              </a:extLst>
            </p:cNvPr>
            <p:cNvSpPr>
              <a:spLocks noChangeAspect="1"/>
            </p:cNvSpPr>
            <p:nvPr>
              <p:custDataLst>
                <p:tags r:id="rId80"/>
              </p:custDataLst>
            </p:nvPr>
          </p:nvSpPr>
          <p:spPr>
            <a:xfrm>
              <a:off x="4563768" y="4474253"/>
              <a:ext cx="129898" cy="145608"/>
            </a:xfrm>
            <a:custGeom>
              <a:avLst/>
              <a:gdLst/>
              <a:ahLst/>
              <a:cxnLst/>
              <a:rect l="0" t="0" r="0" b="0"/>
              <a:pathLst>
                <a:path w="129898" h="145608">
                  <a:moveTo>
                    <a:pt x="52992" y="145607"/>
                  </a:moveTo>
                  <a:lnTo>
                    <a:pt x="29272" y="122281"/>
                  </a:lnTo>
                  <a:lnTo>
                    <a:pt x="14017" y="103221"/>
                  </a:lnTo>
                  <a:lnTo>
                    <a:pt x="0" y="79371"/>
                  </a:lnTo>
                  <a:lnTo>
                    <a:pt x="741" y="71701"/>
                  </a:lnTo>
                  <a:lnTo>
                    <a:pt x="5780" y="64321"/>
                  </a:lnTo>
                  <a:lnTo>
                    <a:pt x="11388" y="47516"/>
                  </a:lnTo>
                  <a:lnTo>
                    <a:pt x="16040" y="30401"/>
                  </a:lnTo>
                  <a:lnTo>
                    <a:pt x="23828" y="29067"/>
                  </a:lnTo>
                  <a:lnTo>
                    <a:pt x="57408" y="29303"/>
                  </a:lnTo>
                  <a:lnTo>
                    <a:pt x="57209" y="1518"/>
                  </a:lnTo>
                  <a:lnTo>
                    <a:pt x="68178" y="0"/>
                  </a:lnTo>
                  <a:lnTo>
                    <a:pt x="82206" y="3094"/>
                  </a:lnTo>
                  <a:lnTo>
                    <a:pt x="95870" y="119"/>
                  </a:lnTo>
                  <a:lnTo>
                    <a:pt x="98744" y="1378"/>
                  </a:lnTo>
                  <a:lnTo>
                    <a:pt x="97065" y="11451"/>
                  </a:lnTo>
                  <a:lnTo>
                    <a:pt x="103517" y="23381"/>
                  </a:lnTo>
                  <a:lnTo>
                    <a:pt x="120691" y="21500"/>
                  </a:lnTo>
                  <a:lnTo>
                    <a:pt x="126453" y="26088"/>
                  </a:lnTo>
                  <a:lnTo>
                    <a:pt x="116460" y="52823"/>
                  </a:lnTo>
                  <a:lnTo>
                    <a:pt x="127380" y="66474"/>
                  </a:lnTo>
                  <a:lnTo>
                    <a:pt x="129897" y="84498"/>
                  </a:lnTo>
                  <a:lnTo>
                    <a:pt x="126983" y="99849"/>
                  </a:lnTo>
                  <a:lnTo>
                    <a:pt x="119901" y="110762"/>
                  </a:lnTo>
                  <a:lnTo>
                    <a:pt x="99524" y="109790"/>
                  </a:lnTo>
                  <a:lnTo>
                    <a:pt x="87190" y="98700"/>
                  </a:lnTo>
                  <a:lnTo>
                    <a:pt x="85353" y="108934"/>
                  </a:lnTo>
                  <a:lnTo>
                    <a:pt x="69778" y="111763"/>
                  </a:lnTo>
                  <a:lnTo>
                    <a:pt x="61862" y="117571"/>
                  </a:lnTo>
                  <a:lnTo>
                    <a:pt x="70567" y="13284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9" name="Freeform 73">
              <a:extLst>
                <a:ext uri="{FF2B5EF4-FFF2-40B4-BE49-F238E27FC236}">
                  <a16:creationId xmlns:a16="http://schemas.microsoft.com/office/drawing/2014/main" id="{8AB189EB-7F71-4AB5-91D4-CDFDC43492C9}"/>
                </a:ext>
              </a:extLst>
            </p:cNvPr>
            <p:cNvSpPr>
              <a:spLocks noChangeAspect="1"/>
            </p:cNvSpPr>
            <p:nvPr>
              <p:custDataLst>
                <p:tags r:id="rId81"/>
              </p:custDataLst>
            </p:nvPr>
          </p:nvSpPr>
          <p:spPr>
            <a:xfrm>
              <a:off x="5282955" y="3454260"/>
              <a:ext cx="154260" cy="69175"/>
            </a:xfrm>
            <a:custGeom>
              <a:avLst/>
              <a:gdLst/>
              <a:ahLst/>
              <a:cxnLst/>
              <a:rect l="0" t="0" r="0" b="0"/>
              <a:pathLst>
                <a:path w="154260" h="69175">
                  <a:moveTo>
                    <a:pt x="36911" y="56199"/>
                  </a:moveTo>
                  <a:lnTo>
                    <a:pt x="40352" y="44385"/>
                  </a:lnTo>
                  <a:lnTo>
                    <a:pt x="34589" y="25426"/>
                  </a:lnTo>
                  <a:lnTo>
                    <a:pt x="21247" y="15134"/>
                  </a:lnTo>
                  <a:lnTo>
                    <a:pt x="8457" y="11914"/>
                  </a:lnTo>
                  <a:lnTo>
                    <a:pt x="0" y="3320"/>
                  </a:lnTo>
                  <a:lnTo>
                    <a:pt x="2815" y="0"/>
                  </a:lnTo>
                  <a:lnTo>
                    <a:pt x="22325" y="4804"/>
                  </a:lnTo>
                  <a:lnTo>
                    <a:pt x="56307" y="9345"/>
                  </a:lnTo>
                  <a:lnTo>
                    <a:pt x="87737" y="22756"/>
                  </a:lnTo>
                  <a:lnTo>
                    <a:pt x="91781" y="27938"/>
                  </a:lnTo>
                  <a:lnTo>
                    <a:pt x="105779" y="23561"/>
                  </a:lnTo>
                  <a:lnTo>
                    <a:pt x="127307" y="29392"/>
                  </a:lnTo>
                  <a:lnTo>
                    <a:pt x="134374" y="40795"/>
                  </a:lnTo>
                  <a:lnTo>
                    <a:pt x="148882" y="47217"/>
                  </a:lnTo>
                  <a:lnTo>
                    <a:pt x="142891" y="51030"/>
                  </a:lnTo>
                  <a:lnTo>
                    <a:pt x="154259" y="65951"/>
                  </a:lnTo>
                  <a:lnTo>
                    <a:pt x="151114" y="69174"/>
                  </a:lnTo>
                  <a:lnTo>
                    <a:pt x="138671" y="67541"/>
                  </a:lnTo>
                  <a:lnTo>
                    <a:pt x="121471" y="59624"/>
                  </a:lnTo>
                  <a:lnTo>
                    <a:pt x="115817" y="64123"/>
                  </a:lnTo>
                  <a:lnTo>
                    <a:pt x="83738" y="68413"/>
                  </a:lnTo>
                  <a:lnTo>
                    <a:pt x="61505" y="5488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0" name="Freeform 74">
              <a:extLst>
                <a:ext uri="{FF2B5EF4-FFF2-40B4-BE49-F238E27FC236}">
                  <a16:creationId xmlns:a16="http://schemas.microsoft.com/office/drawing/2014/main" id="{92486339-37FA-4E01-B9B6-D72558B8848B}"/>
                </a:ext>
              </a:extLst>
            </p:cNvPr>
            <p:cNvSpPr>
              <a:spLocks noChangeAspect="1"/>
            </p:cNvSpPr>
            <p:nvPr>
              <p:custDataLst>
                <p:tags r:id="rId82"/>
              </p:custDataLst>
            </p:nvPr>
          </p:nvSpPr>
          <p:spPr>
            <a:xfrm>
              <a:off x="4285798" y="4270760"/>
              <a:ext cx="99360" cy="148403"/>
            </a:xfrm>
            <a:custGeom>
              <a:avLst/>
              <a:gdLst/>
              <a:ahLst/>
              <a:cxnLst/>
              <a:rect l="0" t="0" r="0" b="0"/>
              <a:pathLst>
                <a:path w="99360" h="148403">
                  <a:moveTo>
                    <a:pt x="99359" y="120201"/>
                  </a:moveTo>
                  <a:lnTo>
                    <a:pt x="63171" y="133754"/>
                  </a:lnTo>
                  <a:lnTo>
                    <a:pt x="50337" y="141691"/>
                  </a:lnTo>
                  <a:lnTo>
                    <a:pt x="29538" y="148402"/>
                  </a:lnTo>
                  <a:lnTo>
                    <a:pt x="8962" y="141831"/>
                  </a:lnTo>
                  <a:lnTo>
                    <a:pt x="10010" y="132699"/>
                  </a:lnTo>
                  <a:lnTo>
                    <a:pt x="0" y="112750"/>
                  </a:lnTo>
                  <a:lnTo>
                    <a:pt x="6019" y="86565"/>
                  </a:lnTo>
                  <a:lnTo>
                    <a:pt x="15746" y="67062"/>
                  </a:lnTo>
                  <a:lnTo>
                    <a:pt x="9622" y="33961"/>
                  </a:lnTo>
                  <a:lnTo>
                    <a:pt x="6474" y="16411"/>
                  </a:lnTo>
                  <a:lnTo>
                    <a:pt x="7016" y="3168"/>
                  </a:lnTo>
                  <a:lnTo>
                    <a:pt x="47112" y="2068"/>
                  </a:lnTo>
                  <a:lnTo>
                    <a:pt x="57309" y="3770"/>
                  </a:lnTo>
                  <a:lnTo>
                    <a:pt x="64762" y="0"/>
                  </a:lnTo>
                  <a:lnTo>
                    <a:pt x="75438" y="1861"/>
                  </a:lnTo>
                  <a:lnTo>
                    <a:pt x="73739" y="9140"/>
                  </a:lnTo>
                  <a:lnTo>
                    <a:pt x="83373" y="21172"/>
                  </a:lnTo>
                  <a:lnTo>
                    <a:pt x="83335" y="38094"/>
                  </a:lnTo>
                  <a:lnTo>
                    <a:pt x="85534" y="56425"/>
                  </a:lnTo>
                  <a:lnTo>
                    <a:pt x="91324" y="64904"/>
                  </a:lnTo>
                  <a:lnTo>
                    <a:pt x="86221" y="85821"/>
                  </a:lnTo>
                  <a:lnTo>
                    <a:pt x="88054" y="97360"/>
                  </a:lnTo>
                  <a:lnTo>
                    <a:pt x="94207" y="11206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1" name="Freeform 75">
              <a:extLst>
                <a:ext uri="{FF2B5EF4-FFF2-40B4-BE49-F238E27FC236}">
                  <a16:creationId xmlns:a16="http://schemas.microsoft.com/office/drawing/2014/main" id="{7D9CA9A0-3092-4110-9A33-F1251E65068B}"/>
                </a:ext>
              </a:extLst>
            </p:cNvPr>
            <p:cNvSpPr>
              <a:spLocks noChangeAspect="1"/>
            </p:cNvSpPr>
            <p:nvPr>
              <p:custDataLst>
                <p:tags r:id="rId83"/>
              </p:custDataLst>
            </p:nvPr>
          </p:nvSpPr>
          <p:spPr>
            <a:xfrm>
              <a:off x="4011438" y="4235941"/>
              <a:ext cx="168464" cy="123025"/>
            </a:xfrm>
            <a:custGeom>
              <a:avLst/>
              <a:gdLst/>
              <a:ahLst/>
              <a:cxnLst/>
              <a:rect l="0" t="0" r="0" b="0"/>
              <a:pathLst>
                <a:path w="168464" h="123025">
                  <a:moveTo>
                    <a:pt x="154447" y="114274"/>
                  </a:moveTo>
                  <a:lnTo>
                    <a:pt x="147919" y="113678"/>
                  </a:lnTo>
                  <a:lnTo>
                    <a:pt x="143211" y="123024"/>
                  </a:lnTo>
                  <a:lnTo>
                    <a:pt x="136685" y="122910"/>
                  </a:lnTo>
                  <a:lnTo>
                    <a:pt x="132194" y="117968"/>
                  </a:lnTo>
                  <a:lnTo>
                    <a:pt x="133719" y="108643"/>
                  </a:lnTo>
                  <a:lnTo>
                    <a:pt x="124069" y="94410"/>
                  </a:lnTo>
                  <a:lnTo>
                    <a:pt x="118039" y="97027"/>
                  </a:lnTo>
                  <a:lnTo>
                    <a:pt x="113111" y="97545"/>
                  </a:lnTo>
                  <a:lnTo>
                    <a:pt x="106754" y="98877"/>
                  </a:lnTo>
                  <a:lnTo>
                    <a:pt x="107012" y="90353"/>
                  </a:lnTo>
                  <a:lnTo>
                    <a:pt x="103308" y="84267"/>
                  </a:lnTo>
                  <a:lnTo>
                    <a:pt x="104055" y="77502"/>
                  </a:lnTo>
                  <a:lnTo>
                    <a:pt x="99052" y="67714"/>
                  </a:lnTo>
                  <a:lnTo>
                    <a:pt x="92627" y="59380"/>
                  </a:lnTo>
                  <a:lnTo>
                    <a:pt x="74166" y="59354"/>
                  </a:lnTo>
                  <a:lnTo>
                    <a:pt x="68786" y="63745"/>
                  </a:lnTo>
                  <a:lnTo>
                    <a:pt x="62425" y="64275"/>
                  </a:lnTo>
                  <a:lnTo>
                    <a:pt x="58483" y="69299"/>
                  </a:lnTo>
                  <a:lnTo>
                    <a:pt x="55823" y="75761"/>
                  </a:lnTo>
                  <a:lnTo>
                    <a:pt x="43483" y="85992"/>
                  </a:lnTo>
                  <a:lnTo>
                    <a:pt x="33359" y="72221"/>
                  </a:lnTo>
                  <a:lnTo>
                    <a:pt x="24382" y="63102"/>
                  </a:lnTo>
                  <a:lnTo>
                    <a:pt x="18472" y="60083"/>
                  </a:lnTo>
                  <a:lnTo>
                    <a:pt x="12710" y="55449"/>
                  </a:lnTo>
                  <a:lnTo>
                    <a:pt x="10089" y="45141"/>
                  </a:lnTo>
                  <a:lnTo>
                    <a:pt x="6712" y="39998"/>
                  </a:lnTo>
                  <a:lnTo>
                    <a:pt x="0" y="36172"/>
                  </a:lnTo>
                  <a:lnTo>
                    <a:pt x="10263" y="24780"/>
                  </a:lnTo>
                  <a:lnTo>
                    <a:pt x="17269" y="25214"/>
                  </a:lnTo>
                  <a:lnTo>
                    <a:pt x="23289" y="21288"/>
                  </a:lnTo>
                  <a:lnTo>
                    <a:pt x="28381" y="21251"/>
                  </a:lnTo>
                  <a:lnTo>
                    <a:pt x="32019" y="18150"/>
                  </a:lnTo>
                  <a:lnTo>
                    <a:pt x="30055" y="10392"/>
                  </a:lnTo>
                  <a:lnTo>
                    <a:pt x="32583" y="7944"/>
                  </a:lnTo>
                  <a:lnTo>
                    <a:pt x="33005" y="0"/>
                  </a:lnTo>
                  <a:lnTo>
                    <a:pt x="44146" y="242"/>
                  </a:lnTo>
                  <a:lnTo>
                    <a:pt x="60737" y="5955"/>
                  </a:lnTo>
                  <a:lnTo>
                    <a:pt x="65826" y="5431"/>
                  </a:lnTo>
                  <a:lnTo>
                    <a:pt x="67558" y="2825"/>
                  </a:lnTo>
                  <a:lnTo>
                    <a:pt x="80144" y="4678"/>
                  </a:lnTo>
                  <a:lnTo>
                    <a:pt x="83476" y="3356"/>
                  </a:lnTo>
                  <a:lnTo>
                    <a:pt x="84810" y="11933"/>
                  </a:lnTo>
                  <a:lnTo>
                    <a:pt x="88470" y="11907"/>
                  </a:lnTo>
                  <a:lnTo>
                    <a:pt x="94495" y="8786"/>
                  </a:lnTo>
                  <a:lnTo>
                    <a:pt x="98320" y="9567"/>
                  </a:lnTo>
                  <a:lnTo>
                    <a:pt x="104729" y="15512"/>
                  </a:lnTo>
                  <a:lnTo>
                    <a:pt x="114608" y="17382"/>
                  </a:lnTo>
                  <a:lnTo>
                    <a:pt x="120938" y="12316"/>
                  </a:lnTo>
                  <a:lnTo>
                    <a:pt x="128395" y="9184"/>
                  </a:lnTo>
                  <a:lnTo>
                    <a:pt x="133942" y="5903"/>
                  </a:lnTo>
                  <a:lnTo>
                    <a:pt x="138562" y="6518"/>
                  </a:lnTo>
                  <a:lnTo>
                    <a:pt x="143691" y="11664"/>
                  </a:lnTo>
                  <a:lnTo>
                    <a:pt x="146442" y="18119"/>
                  </a:lnTo>
                  <a:lnTo>
                    <a:pt x="155901" y="27917"/>
                  </a:lnTo>
                  <a:lnTo>
                    <a:pt x="151169" y="33933"/>
                  </a:lnTo>
                  <a:lnTo>
                    <a:pt x="150268" y="41532"/>
                  </a:lnTo>
                  <a:lnTo>
                    <a:pt x="155185" y="39235"/>
                  </a:lnTo>
                  <a:lnTo>
                    <a:pt x="158070" y="41959"/>
                  </a:lnTo>
                  <a:lnTo>
                    <a:pt x="156846" y="48909"/>
                  </a:lnTo>
                  <a:lnTo>
                    <a:pt x="163896" y="55634"/>
                  </a:lnTo>
                  <a:lnTo>
                    <a:pt x="159293" y="57442"/>
                  </a:lnTo>
                  <a:lnTo>
                    <a:pt x="157440" y="65354"/>
                  </a:lnTo>
                  <a:lnTo>
                    <a:pt x="162761" y="74980"/>
                  </a:lnTo>
                  <a:lnTo>
                    <a:pt x="168463" y="93605"/>
                  </a:lnTo>
                  <a:lnTo>
                    <a:pt x="159890" y="96400"/>
                  </a:lnTo>
                  <a:lnTo>
                    <a:pt x="157684" y="99631"/>
                  </a:lnTo>
                  <a:lnTo>
                    <a:pt x="159467" y="104118"/>
                  </a:lnTo>
                  <a:lnTo>
                    <a:pt x="158107" y="11424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2" name="Freeform 76">
              <a:extLst>
                <a:ext uri="{FF2B5EF4-FFF2-40B4-BE49-F238E27FC236}">
                  <a16:creationId xmlns:a16="http://schemas.microsoft.com/office/drawing/2014/main" id="{239FCB2A-27B8-4DB6-93BA-E66E893AE718}"/>
                </a:ext>
              </a:extLst>
            </p:cNvPr>
            <p:cNvSpPr>
              <a:spLocks noChangeAspect="1"/>
            </p:cNvSpPr>
            <p:nvPr>
              <p:custDataLst>
                <p:tags r:id="rId84"/>
              </p:custDataLst>
            </p:nvPr>
          </p:nvSpPr>
          <p:spPr>
            <a:xfrm>
              <a:off x="3971939" y="4205641"/>
              <a:ext cx="69170" cy="17536"/>
            </a:xfrm>
            <a:custGeom>
              <a:avLst/>
              <a:gdLst/>
              <a:ahLst/>
              <a:cxnLst/>
              <a:rect l="0" t="0" r="0" b="0"/>
              <a:pathLst>
                <a:path w="69170" h="17536">
                  <a:moveTo>
                    <a:pt x="0" y="17040"/>
                  </a:moveTo>
                  <a:lnTo>
                    <a:pt x="2950" y="6620"/>
                  </a:lnTo>
                  <a:lnTo>
                    <a:pt x="28090" y="5947"/>
                  </a:lnTo>
                  <a:lnTo>
                    <a:pt x="33303" y="379"/>
                  </a:lnTo>
                  <a:lnTo>
                    <a:pt x="40621" y="0"/>
                  </a:lnTo>
                  <a:lnTo>
                    <a:pt x="49731" y="5788"/>
                  </a:lnTo>
                  <a:lnTo>
                    <a:pt x="56895" y="5898"/>
                  </a:lnTo>
                  <a:lnTo>
                    <a:pt x="64505" y="1939"/>
                  </a:lnTo>
                  <a:lnTo>
                    <a:pt x="69169" y="8733"/>
                  </a:lnTo>
                  <a:lnTo>
                    <a:pt x="59180" y="14006"/>
                  </a:lnTo>
                  <a:lnTo>
                    <a:pt x="49150" y="13592"/>
                  </a:lnTo>
                  <a:lnTo>
                    <a:pt x="39249" y="8628"/>
                  </a:lnTo>
                  <a:lnTo>
                    <a:pt x="30693" y="14053"/>
                  </a:lnTo>
                  <a:lnTo>
                    <a:pt x="26557" y="14246"/>
                  </a:lnTo>
                  <a:lnTo>
                    <a:pt x="21011" y="1753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3" name="Freeform 77">
              <a:extLst>
                <a:ext uri="{FF2B5EF4-FFF2-40B4-BE49-F238E27FC236}">
                  <a16:creationId xmlns:a16="http://schemas.microsoft.com/office/drawing/2014/main" id="{DE6CC1B7-DB5C-470C-872D-58228C36D1DF}"/>
                </a:ext>
              </a:extLst>
            </p:cNvPr>
            <p:cNvSpPr>
              <a:spLocks noChangeAspect="1"/>
            </p:cNvSpPr>
            <p:nvPr>
              <p:custDataLst>
                <p:tags r:id="rId85"/>
              </p:custDataLst>
            </p:nvPr>
          </p:nvSpPr>
          <p:spPr>
            <a:xfrm>
              <a:off x="3975726" y="4234956"/>
              <a:ext cx="68718" cy="37158"/>
            </a:xfrm>
            <a:custGeom>
              <a:avLst/>
              <a:gdLst/>
              <a:ahLst/>
              <a:cxnLst/>
              <a:rect l="0" t="0" r="0" b="0"/>
              <a:pathLst>
                <a:path w="68718" h="37158">
                  <a:moveTo>
                    <a:pt x="35712" y="37157"/>
                  </a:moveTo>
                  <a:lnTo>
                    <a:pt x="23389" y="27387"/>
                  </a:lnTo>
                  <a:lnTo>
                    <a:pt x="13671" y="25841"/>
                  </a:lnTo>
                  <a:lnTo>
                    <a:pt x="8372" y="19246"/>
                  </a:lnTo>
                  <a:lnTo>
                    <a:pt x="8506" y="15684"/>
                  </a:lnTo>
                  <a:lnTo>
                    <a:pt x="1468" y="10715"/>
                  </a:lnTo>
                  <a:lnTo>
                    <a:pt x="0" y="5704"/>
                  </a:lnTo>
                  <a:lnTo>
                    <a:pt x="12228" y="1885"/>
                  </a:lnTo>
                  <a:lnTo>
                    <a:pt x="19872" y="2640"/>
                  </a:lnTo>
                  <a:lnTo>
                    <a:pt x="26060" y="0"/>
                  </a:lnTo>
                  <a:lnTo>
                    <a:pt x="68717" y="985"/>
                  </a:lnTo>
                  <a:lnTo>
                    <a:pt x="68295" y="8929"/>
                  </a:lnTo>
                  <a:lnTo>
                    <a:pt x="65767" y="11377"/>
                  </a:lnTo>
                  <a:lnTo>
                    <a:pt x="67731" y="19135"/>
                  </a:lnTo>
                  <a:lnTo>
                    <a:pt x="64093" y="22236"/>
                  </a:lnTo>
                  <a:lnTo>
                    <a:pt x="59001" y="22273"/>
                  </a:lnTo>
                  <a:lnTo>
                    <a:pt x="52981" y="26199"/>
                  </a:lnTo>
                  <a:lnTo>
                    <a:pt x="45975" y="2576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4" name="Freeform 78">
              <a:extLst>
                <a:ext uri="{FF2B5EF4-FFF2-40B4-BE49-F238E27FC236}">
                  <a16:creationId xmlns:a16="http://schemas.microsoft.com/office/drawing/2014/main" id="{302CE259-D9A6-479C-BE5B-493C054A800D}"/>
                </a:ext>
              </a:extLst>
            </p:cNvPr>
            <p:cNvSpPr>
              <a:spLocks noChangeAspect="1"/>
            </p:cNvSpPr>
            <p:nvPr>
              <p:custDataLst>
                <p:tags r:id="rId86"/>
              </p:custDataLst>
            </p:nvPr>
          </p:nvSpPr>
          <p:spPr>
            <a:xfrm>
              <a:off x="4575485" y="4475244"/>
              <a:ext cx="45692" cy="29411"/>
            </a:xfrm>
            <a:custGeom>
              <a:avLst/>
              <a:gdLst/>
              <a:ahLst/>
              <a:cxnLst/>
              <a:rect l="0" t="0" r="0" b="0"/>
              <a:pathLst>
                <a:path w="45692" h="29411">
                  <a:moveTo>
                    <a:pt x="4323" y="29410"/>
                  </a:moveTo>
                  <a:lnTo>
                    <a:pt x="0" y="25929"/>
                  </a:lnTo>
                  <a:lnTo>
                    <a:pt x="7930" y="0"/>
                  </a:lnTo>
                  <a:lnTo>
                    <a:pt x="45492" y="527"/>
                  </a:lnTo>
                  <a:lnTo>
                    <a:pt x="45691" y="28312"/>
                  </a:lnTo>
                  <a:lnTo>
                    <a:pt x="12111" y="280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5" name="Freeform 79">
              <a:extLst>
                <a:ext uri="{FF2B5EF4-FFF2-40B4-BE49-F238E27FC236}">
                  <a16:creationId xmlns:a16="http://schemas.microsoft.com/office/drawing/2014/main" id="{FDFE4BA6-FC49-4881-8518-9DE16AA640EF}"/>
                </a:ext>
              </a:extLst>
            </p:cNvPr>
            <p:cNvSpPr>
              <a:spLocks noChangeAspect="1"/>
            </p:cNvSpPr>
            <p:nvPr>
              <p:custDataLst>
                <p:tags r:id="rId87"/>
              </p:custDataLst>
            </p:nvPr>
          </p:nvSpPr>
          <p:spPr>
            <a:xfrm>
              <a:off x="4825803" y="3502410"/>
              <a:ext cx="148979" cy="185536"/>
            </a:xfrm>
            <a:custGeom>
              <a:avLst/>
              <a:gdLst/>
              <a:ahLst/>
              <a:cxnLst/>
              <a:rect l="l" t="t" r="r" b="b"/>
              <a:pathLst>
                <a:path w="148979" h="185536">
                  <a:moveTo>
                    <a:pt x="81942" y="164966"/>
                  </a:moveTo>
                  <a:lnTo>
                    <a:pt x="94561" y="173811"/>
                  </a:lnTo>
                  <a:lnTo>
                    <a:pt x="112528" y="172317"/>
                  </a:lnTo>
                  <a:lnTo>
                    <a:pt x="129706" y="174178"/>
                  </a:lnTo>
                  <a:lnTo>
                    <a:pt x="129148" y="178736"/>
                  </a:lnTo>
                  <a:lnTo>
                    <a:pt x="141727" y="175594"/>
                  </a:lnTo>
                  <a:lnTo>
                    <a:pt x="138842" y="183314"/>
                  </a:lnTo>
                  <a:lnTo>
                    <a:pt x="105602" y="185536"/>
                  </a:lnTo>
                  <a:lnTo>
                    <a:pt x="105834" y="181222"/>
                  </a:lnTo>
                  <a:lnTo>
                    <a:pt x="77672" y="176118"/>
                  </a:lnTo>
                  <a:close/>
                  <a:moveTo>
                    <a:pt x="137735" y="0"/>
                  </a:moveTo>
                  <a:lnTo>
                    <a:pt x="148979" y="7318"/>
                  </a:lnTo>
                  <a:lnTo>
                    <a:pt x="141833" y="24543"/>
                  </a:lnTo>
                  <a:lnTo>
                    <a:pt x="136347" y="27619"/>
                  </a:lnTo>
                  <a:lnTo>
                    <a:pt x="122284" y="26839"/>
                  </a:lnTo>
                  <a:lnTo>
                    <a:pt x="110239" y="24247"/>
                  </a:lnTo>
                  <a:lnTo>
                    <a:pt x="82285" y="31373"/>
                  </a:lnTo>
                  <a:lnTo>
                    <a:pt x="98285" y="46728"/>
                  </a:lnTo>
                  <a:lnTo>
                    <a:pt x="86559" y="51166"/>
                  </a:lnTo>
                  <a:lnTo>
                    <a:pt x="73702" y="51193"/>
                  </a:lnTo>
                  <a:lnTo>
                    <a:pt x="61491" y="37149"/>
                  </a:lnTo>
                  <a:lnTo>
                    <a:pt x="57159" y="43141"/>
                  </a:lnTo>
                  <a:lnTo>
                    <a:pt x="62317" y="59391"/>
                  </a:lnTo>
                  <a:lnTo>
                    <a:pt x="73865" y="72102"/>
                  </a:lnTo>
                  <a:lnTo>
                    <a:pt x="65164" y="78019"/>
                  </a:lnTo>
                  <a:lnTo>
                    <a:pt x="78019" y="90429"/>
                  </a:lnTo>
                  <a:lnTo>
                    <a:pt x="89445" y="98214"/>
                  </a:lnTo>
                  <a:lnTo>
                    <a:pt x="89791" y="113326"/>
                  </a:lnTo>
                  <a:lnTo>
                    <a:pt x="68440" y="106247"/>
                  </a:lnTo>
                  <a:lnTo>
                    <a:pt x="75248" y="119859"/>
                  </a:lnTo>
                  <a:lnTo>
                    <a:pt x="60591" y="122653"/>
                  </a:lnTo>
                  <a:lnTo>
                    <a:pt x="69345" y="146057"/>
                  </a:lnTo>
                  <a:lnTo>
                    <a:pt x="54013" y="146387"/>
                  </a:lnTo>
                  <a:lnTo>
                    <a:pt x="35086" y="134873"/>
                  </a:lnTo>
                  <a:lnTo>
                    <a:pt x="26430" y="113594"/>
                  </a:lnTo>
                  <a:lnTo>
                    <a:pt x="22390" y="95791"/>
                  </a:lnTo>
                  <a:lnTo>
                    <a:pt x="13388" y="83434"/>
                  </a:lnTo>
                  <a:lnTo>
                    <a:pt x="1562" y="68039"/>
                  </a:lnTo>
                  <a:lnTo>
                    <a:pt x="0" y="60323"/>
                  </a:lnTo>
                  <a:lnTo>
                    <a:pt x="10733" y="47136"/>
                  </a:lnTo>
                  <a:lnTo>
                    <a:pt x="12118" y="38269"/>
                  </a:lnTo>
                  <a:lnTo>
                    <a:pt x="19619" y="34305"/>
                  </a:lnTo>
                  <a:lnTo>
                    <a:pt x="20082" y="27109"/>
                  </a:lnTo>
                  <a:lnTo>
                    <a:pt x="35181" y="24680"/>
                  </a:lnTo>
                  <a:lnTo>
                    <a:pt x="43981" y="18675"/>
                  </a:lnTo>
                  <a:lnTo>
                    <a:pt x="56490" y="19208"/>
                  </a:lnTo>
                  <a:lnTo>
                    <a:pt x="60286" y="14412"/>
                  </a:lnTo>
                  <a:lnTo>
                    <a:pt x="64686" y="13497"/>
                  </a:lnTo>
                  <a:lnTo>
                    <a:pt x="81760" y="14294"/>
                  </a:lnTo>
                  <a:lnTo>
                    <a:pt x="100239" y="6716"/>
                  </a:lnTo>
                  <a:lnTo>
                    <a:pt x="116502" y="16347"/>
                  </a:lnTo>
                  <a:lnTo>
                    <a:pt x="137483" y="1374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6" name="Freeform 80">
              <a:extLst>
                <a:ext uri="{FF2B5EF4-FFF2-40B4-BE49-F238E27FC236}">
                  <a16:creationId xmlns:a16="http://schemas.microsoft.com/office/drawing/2014/main" id="{D62064C9-C25E-43E6-9045-BD69764D37B8}"/>
                </a:ext>
              </a:extLst>
            </p:cNvPr>
            <p:cNvSpPr>
              <a:spLocks noChangeAspect="1"/>
            </p:cNvSpPr>
            <p:nvPr>
              <p:custDataLst>
                <p:tags r:id="rId88"/>
              </p:custDataLst>
            </p:nvPr>
          </p:nvSpPr>
          <p:spPr>
            <a:xfrm>
              <a:off x="4675926" y="3370037"/>
              <a:ext cx="132345" cy="114250"/>
            </a:xfrm>
            <a:custGeom>
              <a:avLst/>
              <a:gdLst/>
              <a:ahLst/>
              <a:cxnLst/>
              <a:rect l="0" t="0" r="0" b="0"/>
              <a:pathLst>
                <a:path w="132345" h="114250">
                  <a:moveTo>
                    <a:pt x="119403" y="17185"/>
                  </a:moveTo>
                  <a:lnTo>
                    <a:pt x="125011" y="28319"/>
                  </a:lnTo>
                  <a:lnTo>
                    <a:pt x="132344" y="36482"/>
                  </a:lnTo>
                  <a:lnTo>
                    <a:pt x="123458" y="47223"/>
                  </a:lnTo>
                  <a:lnTo>
                    <a:pt x="113019" y="40909"/>
                  </a:lnTo>
                  <a:lnTo>
                    <a:pt x="97058" y="41305"/>
                  </a:lnTo>
                  <a:lnTo>
                    <a:pt x="77216" y="36560"/>
                  </a:lnTo>
                  <a:lnTo>
                    <a:pt x="66431" y="37194"/>
                  </a:lnTo>
                  <a:lnTo>
                    <a:pt x="61427" y="43121"/>
                  </a:lnTo>
                  <a:lnTo>
                    <a:pt x="53145" y="36560"/>
                  </a:lnTo>
                  <a:lnTo>
                    <a:pt x="48313" y="48406"/>
                  </a:lnTo>
                  <a:lnTo>
                    <a:pt x="59615" y="61691"/>
                  </a:lnTo>
                  <a:lnTo>
                    <a:pt x="64619" y="70462"/>
                  </a:lnTo>
                  <a:lnTo>
                    <a:pt x="75231" y="80998"/>
                  </a:lnTo>
                  <a:lnTo>
                    <a:pt x="84030" y="87224"/>
                  </a:lnTo>
                  <a:lnTo>
                    <a:pt x="92745" y="98939"/>
                  </a:lnTo>
                  <a:lnTo>
                    <a:pt x="113175" y="109513"/>
                  </a:lnTo>
                  <a:lnTo>
                    <a:pt x="110636" y="114249"/>
                  </a:lnTo>
                  <a:lnTo>
                    <a:pt x="88937" y="103931"/>
                  </a:lnTo>
                  <a:lnTo>
                    <a:pt x="75550" y="93857"/>
                  </a:lnTo>
                  <a:lnTo>
                    <a:pt x="54438" y="85514"/>
                  </a:lnTo>
                  <a:lnTo>
                    <a:pt x="35028" y="64749"/>
                  </a:lnTo>
                  <a:lnTo>
                    <a:pt x="39685" y="62633"/>
                  </a:lnTo>
                  <a:lnTo>
                    <a:pt x="29161" y="50690"/>
                  </a:lnTo>
                  <a:lnTo>
                    <a:pt x="28729" y="41067"/>
                  </a:lnTo>
                  <a:lnTo>
                    <a:pt x="13890" y="36560"/>
                  </a:lnTo>
                  <a:lnTo>
                    <a:pt x="6816" y="48878"/>
                  </a:lnTo>
                  <a:lnTo>
                    <a:pt x="0" y="39329"/>
                  </a:lnTo>
                  <a:lnTo>
                    <a:pt x="518" y="29390"/>
                  </a:lnTo>
                  <a:lnTo>
                    <a:pt x="1341" y="28927"/>
                  </a:lnTo>
                  <a:lnTo>
                    <a:pt x="17427" y="29906"/>
                  </a:lnTo>
                  <a:lnTo>
                    <a:pt x="21655" y="25064"/>
                  </a:lnTo>
                  <a:lnTo>
                    <a:pt x="29506" y="29748"/>
                  </a:lnTo>
                  <a:lnTo>
                    <a:pt x="38564" y="30303"/>
                  </a:lnTo>
                  <a:lnTo>
                    <a:pt x="38478" y="22281"/>
                  </a:lnTo>
                  <a:lnTo>
                    <a:pt x="46501" y="19337"/>
                  </a:lnTo>
                  <a:lnTo>
                    <a:pt x="48745" y="7687"/>
                  </a:lnTo>
                  <a:lnTo>
                    <a:pt x="67121" y="0"/>
                  </a:lnTo>
                  <a:lnTo>
                    <a:pt x="74454" y="3566"/>
                  </a:lnTo>
                  <a:lnTo>
                    <a:pt x="91710" y="15950"/>
                  </a:lnTo>
                  <a:lnTo>
                    <a:pt x="110776" y="2148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7" name="Freeform 81">
              <a:extLst>
                <a:ext uri="{FF2B5EF4-FFF2-40B4-BE49-F238E27FC236}">
                  <a16:creationId xmlns:a16="http://schemas.microsoft.com/office/drawing/2014/main" id="{C749362B-35FC-41FD-ABC6-2DFE5E8B829E}"/>
                </a:ext>
              </a:extLst>
            </p:cNvPr>
            <p:cNvSpPr>
              <a:spLocks noChangeAspect="1"/>
            </p:cNvSpPr>
            <p:nvPr>
              <p:custDataLst>
                <p:tags r:id="rId89"/>
              </p:custDataLst>
            </p:nvPr>
          </p:nvSpPr>
          <p:spPr>
            <a:xfrm>
              <a:off x="4734679" y="3307886"/>
              <a:ext cx="150228" cy="83637"/>
            </a:xfrm>
            <a:custGeom>
              <a:avLst/>
              <a:gdLst/>
              <a:ahLst/>
              <a:cxnLst/>
              <a:rect l="0" t="0" r="0" b="0"/>
              <a:pathLst>
                <a:path w="150228" h="83637">
                  <a:moveTo>
                    <a:pt x="0" y="52029"/>
                  </a:moveTo>
                  <a:lnTo>
                    <a:pt x="7663" y="33237"/>
                  </a:lnTo>
                  <a:lnTo>
                    <a:pt x="3192" y="26881"/>
                  </a:lnTo>
                  <a:lnTo>
                    <a:pt x="16191" y="26824"/>
                  </a:lnTo>
                  <a:lnTo>
                    <a:pt x="17944" y="14798"/>
                  </a:lnTo>
                  <a:lnTo>
                    <a:pt x="29688" y="22339"/>
                  </a:lnTo>
                  <a:lnTo>
                    <a:pt x="38198" y="25544"/>
                  </a:lnTo>
                  <a:lnTo>
                    <a:pt x="57573" y="21943"/>
                  </a:lnTo>
                  <a:lnTo>
                    <a:pt x="59431" y="16029"/>
                  </a:lnTo>
                  <a:lnTo>
                    <a:pt x="68603" y="15156"/>
                  </a:lnTo>
                  <a:lnTo>
                    <a:pt x="79844" y="10574"/>
                  </a:lnTo>
                  <a:lnTo>
                    <a:pt x="82340" y="12462"/>
                  </a:lnTo>
                  <a:lnTo>
                    <a:pt x="93179" y="8773"/>
                  </a:lnTo>
                  <a:lnTo>
                    <a:pt x="98592" y="1808"/>
                  </a:lnTo>
                  <a:lnTo>
                    <a:pt x="106157" y="0"/>
                  </a:lnTo>
                  <a:lnTo>
                    <a:pt x="130877" y="8998"/>
                  </a:lnTo>
                  <a:lnTo>
                    <a:pt x="135802" y="5972"/>
                  </a:lnTo>
                  <a:lnTo>
                    <a:pt x="148618" y="14010"/>
                  </a:lnTo>
                  <a:lnTo>
                    <a:pt x="150227" y="21906"/>
                  </a:lnTo>
                  <a:lnTo>
                    <a:pt x="136129" y="28069"/>
                  </a:lnTo>
                  <a:lnTo>
                    <a:pt x="125205" y="47899"/>
                  </a:lnTo>
                  <a:lnTo>
                    <a:pt x="111250" y="67584"/>
                  </a:lnTo>
                  <a:lnTo>
                    <a:pt x="92744" y="73034"/>
                  </a:lnTo>
                  <a:lnTo>
                    <a:pt x="78337" y="71756"/>
                  </a:lnTo>
                  <a:lnTo>
                    <a:pt x="60650" y="79336"/>
                  </a:lnTo>
                  <a:lnTo>
                    <a:pt x="52023" y="83636"/>
                  </a:lnTo>
                  <a:lnTo>
                    <a:pt x="32957" y="78101"/>
                  </a:lnTo>
                  <a:lnTo>
                    <a:pt x="15701" y="65717"/>
                  </a:lnTo>
                  <a:lnTo>
                    <a:pt x="8368" y="62151"/>
                  </a:lnTo>
                  <a:lnTo>
                    <a:pt x="3883" y="5235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8" name="Freeform 82">
              <a:extLst>
                <a:ext uri="{FF2B5EF4-FFF2-40B4-BE49-F238E27FC236}">
                  <a16:creationId xmlns:a16="http://schemas.microsoft.com/office/drawing/2014/main" id="{7859D991-ED0D-492D-930E-2CE5379FF287}"/>
                </a:ext>
              </a:extLst>
            </p:cNvPr>
            <p:cNvSpPr>
              <a:spLocks noChangeAspect="1"/>
            </p:cNvSpPr>
            <p:nvPr>
              <p:custDataLst>
                <p:tags r:id="rId90"/>
              </p:custDataLst>
            </p:nvPr>
          </p:nvSpPr>
          <p:spPr>
            <a:xfrm>
              <a:off x="6560305" y="4401358"/>
              <a:ext cx="1055820" cy="366587"/>
            </a:xfrm>
            <a:custGeom>
              <a:avLst/>
              <a:gdLst/>
              <a:ahLst/>
              <a:cxnLst/>
              <a:rect l="l" t="t" r="r" b="b"/>
              <a:pathLst>
                <a:path w="1055820" h="366587">
                  <a:moveTo>
                    <a:pt x="568002" y="343315"/>
                  </a:moveTo>
                  <a:lnTo>
                    <a:pt x="580130" y="350408"/>
                  </a:lnTo>
                  <a:lnTo>
                    <a:pt x="588204" y="357486"/>
                  </a:lnTo>
                  <a:lnTo>
                    <a:pt x="586821" y="363779"/>
                  </a:lnTo>
                  <a:lnTo>
                    <a:pt x="577112" y="364224"/>
                  </a:lnTo>
                  <a:lnTo>
                    <a:pt x="546477" y="347894"/>
                  </a:lnTo>
                  <a:close/>
                  <a:moveTo>
                    <a:pt x="684993" y="332412"/>
                  </a:moveTo>
                  <a:lnTo>
                    <a:pt x="687332" y="336999"/>
                  </a:lnTo>
                  <a:lnTo>
                    <a:pt x="687760" y="344057"/>
                  </a:lnTo>
                  <a:lnTo>
                    <a:pt x="672696" y="361457"/>
                  </a:lnTo>
                  <a:lnTo>
                    <a:pt x="652938" y="366587"/>
                  </a:lnTo>
                  <a:lnTo>
                    <a:pt x="650168" y="363788"/>
                  </a:lnTo>
                  <a:lnTo>
                    <a:pt x="652246" y="355863"/>
                  </a:lnTo>
                  <a:lnTo>
                    <a:pt x="662172" y="341655"/>
                  </a:lnTo>
                  <a:close/>
                  <a:moveTo>
                    <a:pt x="521829" y="313882"/>
                  </a:moveTo>
                  <a:lnTo>
                    <a:pt x="530153" y="320079"/>
                  </a:lnTo>
                  <a:lnTo>
                    <a:pt x="544414" y="318180"/>
                  </a:lnTo>
                  <a:lnTo>
                    <a:pt x="550140" y="328063"/>
                  </a:lnTo>
                  <a:lnTo>
                    <a:pt x="523454" y="332734"/>
                  </a:lnTo>
                  <a:lnTo>
                    <a:pt x="507465" y="335857"/>
                  </a:lnTo>
                  <a:lnTo>
                    <a:pt x="495057" y="335672"/>
                  </a:lnTo>
                  <a:lnTo>
                    <a:pt x="502988" y="322282"/>
                  </a:lnTo>
                  <a:lnTo>
                    <a:pt x="515644" y="322099"/>
                  </a:lnTo>
                  <a:close/>
                  <a:moveTo>
                    <a:pt x="637324" y="313848"/>
                  </a:moveTo>
                  <a:lnTo>
                    <a:pt x="633941" y="326760"/>
                  </a:lnTo>
                  <a:lnTo>
                    <a:pt x="599260" y="333362"/>
                  </a:lnTo>
                  <a:lnTo>
                    <a:pt x="568558" y="330495"/>
                  </a:lnTo>
                  <a:lnTo>
                    <a:pt x="568477" y="321996"/>
                  </a:lnTo>
                  <a:lnTo>
                    <a:pt x="586809" y="317164"/>
                  </a:lnTo>
                  <a:lnTo>
                    <a:pt x="601272" y="324131"/>
                  </a:lnTo>
                  <a:lnTo>
                    <a:pt x="616638" y="322362"/>
                  </a:lnTo>
                  <a:close/>
                  <a:moveTo>
                    <a:pt x="248338" y="262860"/>
                  </a:moveTo>
                  <a:lnTo>
                    <a:pt x="276345" y="264228"/>
                  </a:lnTo>
                  <a:lnTo>
                    <a:pt x="294974" y="273282"/>
                  </a:lnTo>
                  <a:lnTo>
                    <a:pt x="304548" y="275048"/>
                  </a:lnTo>
                  <a:lnTo>
                    <a:pt x="307702" y="283294"/>
                  </a:lnTo>
                  <a:lnTo>
                    <a:pt x="351923" y="285605"/>
                  </a:lnTo>
                  <a:lnTo>
                    <a:pt x="357009" y="276050"/>
                  </a:lnTo>
                  <a:lnTo>
                    <a:pt x="399833" y="287198"/>
                  </a:lnTo>
                  <a:lnTo>
                    <a:pt x="408234" y="302237"/>
                  </a:lnTo>
                  <a:lnTo>
                    <a:pt x="442861" y="306469"/>
                  </a:lnTo>
                  <a:lnTo>
                    <a:pt x="471174" y="320275"/>
                  </a:lnTo>
                  <a:lnTo>
                    <a:pt x="444837" y="329133"/>
                  </a:lnTo>
                  <a:lnTo>
                    <a:pt x="419451" y="319767"/>
                  </a:lnTo>
                  <a:lnTo>
                    <a:pt x="398560" y="320400"/>
                  </a:lnTo>
                  <a:lnTo>
                    <a:pt x="374609" y="318679"/>
                  </a:lnTo>
                  <a:lnTo>
                    <a:pt x="353006" y="314507"/>
                  </a:lnTo>
                  <a:lnTo>
                    <a:pt x="326265" y="305637"/>
                  </a:lnTo>
                  <a:lnTo>
                    <a:pt x="309322" y="303337"/>
                  </a:lnTo>
                  <a:lnTo>
                    <a:pt x="299722" y="306240"/>
                  </a:lnTo>
                  <a:lnTo>
                    <a:pt x="257627" y="296682"/>
                  </a:lnTo>
                  <a:lnTo>
                    <a:pt x="253622" y="286707"/>
                  </a:lnTo>
                  <a:lnTo>
                    <a:pt x="232499" y="285003"/>
                  </a:lnTo>
                  <a:close/>
                  <a:moveTo>
                    <a:pt x="904993" y="252420"/>
                  </a:moveTo>
                  <a:lnTo>
                    <a:pt x="910241" y="259193"/>
                  </a:lnTo>
                  <a:lnTo>
                    <a:pt x="910186" y="270238"/>
                  </a:lnTo>
                  <a:lnTo>
                    <a:pt x="898310" y="286019"/>
                  </a:lnTo>
                  <a:lnTo>
                    <a:pt x="896063" y="268571"/>
                  </a:lnTo>
                  <a:lnTo>
                    <a:pt x="900161" y="260246"/>
                  </a:lnTo>
                  <a:close/>
                  <a:moveTo>
                    <a:pt x="731896" y="198869"/>
                  </a:moveTo>
                  <a:lnTo>
                    <a:pt x="737634" y="206488"/>
                  </a:lnTo>
                  <a:lnTo>
                    <a:pt x="728994" y="214159"/>
                  </a:lnTo>
                  <a:lnTo>
                    <a:pt x="713041" y="209916"/>
                  </a:lnTo>
                  <a:lnTo>
                    <a:pt x="708546" y="199977"/>
                  </a:lnTo>
                  <a:close/>
                  <a:moveTo>
                    <a:pt x="786610" y="191311"/>
                  </a:moveTo>
                  <a:lnTo>
                    <a:pt x="812009" y="198047"/>
                  </a:lnTo>
                  <a:lnTo>
                    <a:pt x="820400" y="215719"/>
                  </a:lnTo>
                  <a:lnTo>
                    <a:pt x="800911" y="206193"/>
                  </a:lnTo>
                  <a:lnTo>
                    <a:pt x="781630" y="204260"/>
                  </a:lnTo>
                  <a:lnTo>
                    <a:pt x="768599" y="205786"/>
                  </a:lnTo>
                  <a:lnTo>
                    <a:pt x="752630" y="204972"/>
                  </a:lnTo>
                  <a:lnTo>
                    <a:pt x="758100" y="192269"/>
                  </a:lnTo>
                  <a:close/>
                  <a:moveTo>
                    <a:pt x="856069" y="135143"/>
                  </a:moveTo>
                  <a:lnTo>
                    <a:pt x="893127" y="144622"/>
                  </a:lnTo>
                  <a:lnTo>
                    <a:pt x="896769" y="153202"/>
                  </a:lnTo>
                  <a:lnTo>
                    <a:pt x="903215" y="190549"/>
                  </a:lnTo>
                  <a:lnTo>
                    <a:pt x="927105" y="204378"/>
                  </a:lnTo>
                  <a:lnTo>
                    <a:pt x="946396" y="179874"/>
                  </a:lnTo>
                  <a:lnTo>
                    <a:pt x="972882" y="165938"/>
                  </a:lnTo>
                  <a:lnTo>
                    <a:pt x="993402" y="165919"/>
                  </a:lnTo>
                  <a:lnTo>
                    <a:pt x="1013142" y="173969"/>
                  </a:lnTo>
                  <a:lnTo>
                    <a:pt x="1030263" y="182230"/>
                  </a:lnTo>
                  <a:lnTo>
                    <a:pt x="1055043" y="186644"/>
                  </a:lnTo>
                  <a:lnTo>
                    <a:pt x="1055432" y="262005"/>
                  </a:lnTo>
                  <a:lnTo>
                    <a:pt x="1055820" y="337649"/>
                  </a:lnTo>
                  <a:lnTo>
                    <a:pt x="1035266" y="318563"/>
                  </a:lnTo>
                  <a:lnTo>
                    <a:pt x="1011823" y="313890"/>
                  </a:lnTo>
                  <a:lnTo>
                    <a:pt x="1006138" y="320510"/>
                  </a:lnTo>
                  <a:lnTo>
                    <a:pt x="976892" y="321225"/>
                  </a:lnTo>
                  <a:lnTo>
                    <a:pt x="986693" y="302322"/>
                  </a:lnTo>
                  <a:lnTo>
                    <a:pt x="1001225" y="295878"/>
                  </a:lnTo>
                  <a:lnTo>
                    <a:pt x="995207" y="270665"/>
                  </a:lnTo>
                  <a:lnTo>
                    <a:pt x="984125" y="251224"/>
                  </a:lnTo>
                  <a:lnTo>
                    <a:pt x="939377" y="231629"/>
                  </a:lnTo>
                  <a:lnTo>
                    <a:pt x="920342" y="229696"/>
                  </a:lnTo>
                  <a:lnTo>
                    <a:pt x="885678" y="208332"/>
                  </a:lnTo>
                  <a:lnTo>
                    <a:pt x="878865" y="219565"/>
                  </a:lnTo>
                  <a:lnTo>
                    <a:pt x="870007" y="221603"/>
                  </a:lnTo>
                  <a:lnTo>
                    <a:pt x="864767" y="213126"/>
                  </a:lnTo>
                  <a:lnTo>
                    <a:pt x="864694" y="203085"/>
                  </a:lnTo>
                  <a:lnTo>
                    <a:pt x="847060" y="191735"/>
                  </a:lnTo>
                  <a:lnTo>
                    <a:pt x="871920" y="183417"/>
                  </a:lnTo>
                  <a:lnTo>
                    <a:pt x="888383" y="183866"/>
                  </a:lnTo>
                  <a:lnTo>
                    <a:pt x="886448" y="177738"/>
                  </a:lnTo>
                  <a:lnTo>
                    <a:pt x="852659" y="177692"/>
                  </a:lnTo>
                  <a:lnTo>
                    <a:pt x="843514" y="163944"/>
                  </a:lnTo>
                  <a:lnTo>
                    <a:pt x="822892" y="159681"/>
                  </a:lnTo>
                  <a:lnTo>
                    <a:pt x="813122" y="148258"/>
                  </a:lnTo>
                  <a:lnTo>
                    <a:pt x="844237" y="142666"/>
                  </a:lnTo>
                  <a:close/>
                  <a:moveTo>
                    <a:pt x="687239" y="88678"/>
                  </a:moveTo>
                  <a:lnTo>
                    <a:pt x="691268" y="93837"/>
                  </a:lnTo>
                  <a:lnTo>
                    <a:pt x="672721" y="116736"/>
                  </a:lnTo>
                  <a:lnTo>
                    <a:pt x="655374" y="121174"/>
                  </a:lnTo>
                  <a:lnTo>
                    <a:pt x="633158" y="116661"/>
                  </a:lnTo>
                  <a:lnTo>
                    <a:pt x="594695" y="117813"/>
                  </a:lnTo>
                  <a:lnTo>
                    <a:pt x="574528" y="121136"/>
                  </a:lnTo>
                  <a:lnTo>
                    <a:pt x="571246" y="138608"/>
                  </a:lnTo>
                  <a:lnTo>
                    <a:pt x="591906" y="159136"/>
                  </a:lnTo>
                  <a:lnTo>
                    <a:pt x="604369" y="148679"/>
                  </a:lnTo>
                  <a:lnTo>
                    <a:pt x="647412" y="140824"/>
                  </a:lnTo>
                  <a:lnTo>
                    <a:pt x="645515" y="151456"/>
                  </a:lnTo>
                  <a:lnTo>
                    <a:pt x="635458" y="148102"/>
                  </a:lnTo>
                  <a:lnTo>
                    <a:pt x="625436" y="161628"/>
                  </a:lnTo>
                  <a:lnTo>
                    <a:pt x="605117" y="170578"/>
                  </a:lnTo>
                  <a:lnTo>
                    <a:pt x="626961" y="200180"/>
                  </a:lnTo>
                  <a:lnTo>
                    <a:pt x="622744" y="208116"/>
                  </a:lnTo>
                  <a:lnTo>
                    <a:pt x="643497" y="234802"/>
                  </a:lnTo>
                  <a:lnTo>
                    <a:pt x="643297" y="250002"/>
                  </a:lnTo>
                  <a:lnTo>
                    <a:pt x="630976" y="256808"/>
                  </a:lnTo>
                  <a:lnTo>
                    <a:pt x="621925" y="248667"/>
                  </a:lnTo>
                  <a:lnTo>
                    <a:pt x="633078" y="229724"/>
                  </a:lnTo>
                  <a:lnTo>
                    <a:pt x="610426" y="238680"/>
                  </a:lnTo>
                  <a:lnTo>
                    <a:pt x="604683" y="232277"/>
                  </a:lnTo>
                  <a:lnTo>
                    <a:pt x="607678" y="223349"/>
                  </a:lnTo>
                  <a:lnTo>
                    <a:pt x="591034" y="209794"/>
                  </a:lnTo>
                  <a:lnTo>
                    <a:pt x="592748" y="187279"/>
                  </a:lnTo>
                  <a:lnTo>
                    <a:pt x="577353" y="194301"/>
                  </a:lnTo>
                  <a:lnTo>
                    <a:pt x="579306" y="221247"/>
                  </a:lnTo>
                  <a:lnTo>
                    <a:pt x="580244" y="254346"/>
                  </a:lnTo>
                  <a:lnTo>
                    <a:pt x="565607" y="257707"/>
                  </a:lnTo>
                  <a:lnTo>
                    <a:pt x="555689" y="250912"/>
                  </a:lnTo>
                  <a:lnTo>
                    <a:pt x="562307" y="229614"/>
                  </a:lnTo>
                  <a:lnTo>
                    <a:pt x="558734" y="207305"/>
                  </a:lnTo>
                  <a:lnTo>
                    <a:pt x="549028" y="207134"/>
                  </a:lnTo>
                  <a:lnTo>
                    <a:pt x="541859" y="191307"/>
                  </a:lnTo>
                  <a:lnTo>
                    <a:pt x="551397" y="176181"/>
                  </a:lnTo>
                  <a:lnTo>
                    <a:pt x="554685" y="157849"/>
                  </a:lnTo>
                  <a:lnTo>
                    <a:pt x="566286" y="123052"/>
                  </a:lnTo>
                  <a:lnTo>
                    <a:pt x="571127" y="113537"/>
                  </a:lnTo>
                  <a:lnTo>
                    <a:pt x="590749" y="96391"/>
                  </a:lnTo>
                  <a:lnTo>
                    <a:pt x="608777" y="103207"/>
                  </a:lnTo>
                  <a:lnTo>
                    <a:pt x="637879" y="106410"/>
                  </a:lnTo>
                  <a:lnTo>
                    <a:pt x="664422" y="105443"/>
                  </a:lnTo>
                  <a:close/>
                  <a:moveTo>
                    <a:pt x="753403" y="76409"/>
                  </a:moveTo>
                  <a:lnTo>
                    <a:pt x="755060" y="89018"/>
                  </a:lnTo>
                  <a:lnTo>
                    <a:pt x="768688" y="91044"/>
                  </a:lnTo>
                  <a:lnTo>
                    <a:pt x="770851" y="100473"/>
                  </a:lnTo>
                  <a:lnTo>
                    <a:pt x="769644" y="120646"/>
                  </a:lnTo>
                  <a:lnTo>
                    <a:pt x="757737" y="118385"/>
                  </a:lnTo>
                  <a:lnTo>
                    <a:pt x="754226" y="132431"/>
                  </a:lnTo>
                  <a:lnTo>
                    <a:pt x="763736" y="144618"/>
                  </a:lnTo>
                  <a:lnTo>
                    <a:pt x="757272" y="147388"/>
                  </a:lnTo>
                  <a:lnTo>
                    <a:pt x="747957" y="132766"/>
                  </a:lnTo>
                  <a:lnTo>
                    <a:pt x="741103" y="103259"/>
                  </a:lnTo>
                  <a:lnTo>
                    <a:pt x="745743" y="84812"/>
                  </a:lnTo>
                  <a:close/>
                  <a:moveTo>
                    <a:pt x="474868" y="27146"/>
                  </a:moveTo>
                  <a:lnTo>
                    <a:pt x="501406" y="27157"/>
                  </a:lnTo>
                  <a:lnTo>
                    <a:pt x="521414" y="31054"/>
                  </a:lnTo>
                  <a:lnTo>
                    <a:pt x="508285" y="51928"/>
                  </a:lnTo>
                  <a:lnTo>
                    <a:pt x="525253" y="73798"/>
                  </a:lnTo>
                  <a:lnTo>
                    <a:pt x="521267" y="84421"/>
                  </a:lnTo>
                  <a:lnTo>
                    <a:pt x="547145" y="105786"/>
                  </a:lnTo>
                  <a:lnTo>
                    <a:pt x="519795" y="108510"/>
                  </a:lnTo>
                  <a:lnTo>
                    <a:pt x="512096" y="124247"/>
                  </a:lnTo>
                  <a:lnTo>
                    <a:pt x="513096" y="145165"/>
                  </a:lnTo>
                  <a:lnTo>
                    <a:pt x="490899" y="160954"/>
                  </a:lnTo>
                  <a:lnTo>
                    <a:pt x="490293" y="183950"/>
                  </a:lnTo>
                  <a:lnTo>
                    <a:pt x="481390" y="219286"/>
                  </a:lnTo>
                  <a:lnTo>
                    <a:pt x="477992" y="211064"/>
                  </a:lnTo>
                  <a:lnTo>
                    <a:pt x="451769" y="221465"/>
                  </a:lnTo>
                  <a:lnTo>
                    <a:pt x="442624" y="207335"/>
                  </a:lnTo>
                  <a:lnTo>
                    <a:pt x="426167" y="206028"/>
                  </a:lnTo>
                  <a:lnTo>
                    <a:pt x="414656" y="198625"/>
                  </a:lnTo>
                  <a:lnTo>
                    <a:pt x="387214" y="206935"/>
                  </a:lnTo>
                  <a:lnTo>
                    <a:pt x="378792" y="195752"/>
                  </a:lnTo>
                  <a:lnTo>
                    <a:pt x="363672" y="197023"/>
                  </a:lnTo>
                  <a:lnTo>
                    <a:pt x="344643" y="194357"/>
                  </a:lnTo>
                  <a:lnTo>
                    <a:pt x="341113" y="163384"/>
                  </a:lnTo>
                  <a:lnTo>
                    <a:pt x="329595" y="156966"/>
                  </a:lnTo>
                  <a:lnTo>
                    <a:pt x="318514" y="137219"/>
                  </a:lnTo>
                  <a:lnTo>
                    <a:pt x="315300" y="117025"/>
                  </a:lnTo>
                  <a:lnTo>
                    <a:pt x="317989" y="95635"/>
                  </a:lnTo>
                  <a:lnTo>
                    <a:pt x="331703" y="80292"/>
                  </a:lnTo>
                  <a:lnTo>
                    <a:pt x="335557" y="95723"/>
                  </a:lnTo>
                  <a:lnTo>
                    <a:pt x="351341" y="108766"/>
                  </a:lnTo>
                  <a:lnTo>
                    <a:pt x="366232" y="104072"/>
                  </a:lnTo>
                  <a:lnTo>
                    <a:pt x="380968" y="105735"/>
                  </a:lnTo>
                  <a:lnTo>
                    <a:pt x="394419" y="94061"/>
                  </a:lnTo>
                  <a:lnTo>
                    <a:pt x="405488" y="92037"/>
                  </a:lnTo>
                  <a:lnTo>
                    <a:pt x="427325" y="98507"/>
                  </a:lnTo>
                  <a:lnTo>
                    <a:pt x="446149" y="93586"/>
                  </a:lnTo>
                  <a:lnTo>
                    <a:pt x="457983" y="61468"/>
                  </a:lnTo>
                  <a:lnTo>
                    <a:pt x="466871" y="53434"/>
                  </a:lnTo>
                  <a:close/>
                  <a:moveTo>
                    <a:pt x="0" y="0"/>
                  </a:moveTo>
                  <a:lnTo>
                    <a:pt x="14861" y="933"/>
                  </a:lnTo>
                  <a:lnTo>
                    <a:pt x="50593" y="5405"/>
                  </a:lnTo>
                  <a:lnTo>
                    <a:pt x="71005" y="28029"/>
                  </a:lnTo>
                  <a:lnTo>
                    <a:pt x="88857" y="43703"/>
                  </a:lnTo>
                  <a:lnTo>
                    <a:pt x="101586" y="53317"/>
                  </a:lnTo>
                  <a:lnTo>
                    <a:pt x="123455" y="78146"/>
                  </a:lnTo>
                  <a:lnTo>
                    <a:pt x="146920" y="78508"/>
                  </a:lnTo>
                  <a:lnTo>
                    <a:pt x="166315" y="94325"/>
                  </a:lnTo>
                  <a:lnTo>
                    <a:pt x="179671" y="113655"/>
                  </a:lnTo>
                  <a:lnTo>
                    <a:pt x="197249" y="124199"/>
                  </a:lnTo>
                  <a:lnTo>
                    <a:pt x="187999" y="143046"/>
                  </a:lnTo>
                  <a:lnTo>
                    <a:pt x="201229" y="151063"/>
                  </a:lnTo>
                  <a:lnTo>
                    <a:pt x="209521" y="151655"/>
                  </a:lnTo>
                  <a:lnTo>
                    <a:pt x="213433" y="167759"/>
                  </a:lnTo>
                  <a:lnTo>
                    <a:pt x="221475" y="180646"/>
                  </a:lnTo>
                  <a:lnTo>
                    <a:pt x="238423" y="182687"/>
                  </a:lnTo>
                  <a:lnTo>
                    <a:pt x="249651" y="197308"/>
                  </a:lnTo>
                  <a:lnTo>
                    <a:pt x="243855" y="226056"/>
                  </a:lnTo>
                  <a:lnTo>
                    <a:pt x="242936" y="261851"/>
                  </a:lnTo>
                  <a:lnTo>
                    <a:pt x="217377" y="262336"/>
                  </a:lnTo>
                  <a:lnTo>
                    <a:pt x="197938" y="242983"/>
                  </a:lnTo>
                  <a:lnTo>
                    <a:pt x="168301" y="224084"/>
                  </a:lnTo>
                  <a:lnTo>
                    <a:pt x="158419" y="210072"/>
                  </a:lnTo>
                  <a:lnTo>
                    <a:pt x="140944" y="191255"/>
                  </a:lnTo>
                  <a:lnTo>
                    <a:pt x="129481" y="173945"/>
                  </a:lnTo>
                  <a:lnTo>
                    <a:pt x="111926" y="141624"/>
                  </a:lnTo>
                  <a:lnTo>
                    <a:pt x="91654" y="122385"/>
                  </a:lnTo>
                  <a:lnTo>
                    <a:pt x="84874" y="102539"/>
                  </a:lnTo>
                  <a:lnTo>
                    <a:pt x="76364" y="84517"/>
                  </a:lnTo>
                  <a:lnTo>
                    <a:pt x="55549" y="69975"/>
                  </a:lnTo>
                  <a:lnTo>
                    <a:pt x="43485" y="50210"/>
                  </a:lnTo>
                  <a:lnTo>
                    <a:pt x="26106" y="37266"/>
                  </a:lnTo>
                  <a:lnTo>
                    <a:pt x="2027" y="1178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9" name="Freeform 83">
              <a:extLst>
                <a:ext uri="{FF2B5EF4-FFF2-40B4-BE49-F238E27FC236}">
                  <a16:creationId xmlns:a16="http://schemas.microsoft.com/office/drawing/2014/main" id="{042B3A76-33B2-4C56-A338-F0F4A7327B2C}"/>
                </a:ext>
              </a:extLst>
            </p:cNvPr>
            <p:cNvSpPr>
              <a:spLocks noChangeAspect="1"/>
            </p:cNvSpPr>
            <p:nvPr>
              <p:custDataLst>
                <p:tags r:id="rId91"/>
              </p:custDataLst>
            </p:nvPr>
          </p:nvSpPr>
          <p:spPr>
            <a:xfrm>
              <a:off x="5934386" y="3672917"/>
              <a:ext cx="674613" cy="670808"/>
            </a:xfrm>
            <a:custGeom>
              <a:avLst/>
              <a:gdLst/>
              <a:ahLst/>
              <a:cxnLst/>
              <a:rect l="0" t="0" r="0" b="0"/>
              <a:pathLst>
                <a:path w="674613" h="670808">
                  <a:moveTo>
                    <a:pt x="222997" y="0"/>
                  </a:moveTo>
                  <a:lnTo>
                    <a:pt x="247807" y="30621"/>
                  </a:lnTo>
                  <a:lnTo>
                    <a:pt x="245471" y="51779"/>
                  </a:lnTo>
                  <a:lnTo>
                    <a:pt x="254654" y="64991"/>
                  </a:lnTo>
                  <a:lnTo>
                    <a:pt x="253898" y="78126"/>
                  </a:lnTo>
                  <a:lnTo>
                    <a:pt x="237331" y="74674"/>
                  </a:lnTo>
                  <a:lnTo>
                    <a:pt x="243805" y="102899"/>
                  </a:lnTo>
                  <a:lnTo>
                    <a:pt x="266483" y="119021"/>
                  </a:lnTo>
                  <a:lnTo>
                    <a:pt x="298565" y="136748"/>
                  </a:lnTo>
                  <a:lnTo>
                    <a:pt x="283919" y="148206"/>
                  </a:lnTo>
                  <a:lnTo>
                    <a:pt x="274956" y="171735"/>
                  </a:lnTo>
                  <a:lnTo>
                    <a:pt x="297318" y="181215"/>
                  </a:lnTo>
                  <a:lnTo>
                    <a:pt x="319080" y="193476"/>
                  </a:lnTo>
                  <a:lnTo>
                    <a:pt x="349185" y="207453"/>
                  </a:lnTo>
                  <a:lnTo>
                    <a:pt x="380827" y="210676"/>
                  </a:lnTo>
                  <a:lnTo>
                    <a:pt x="394140" y="223304"/>
                  </a:lnTo>
                  <a:lnTo>
                    <a:pt x="411974" y="225664"/>
                  </a:lnTo>
                  <a:lnTo>
                    <a:pt x="439744" y="231435"/>
                  </a:lnTo>
                  <a:lnTo>
                    <a:pt x="458966" y="231021"/>
                  </a:lnTo>
                  <a:lnTo>
                    <a:pt x="461611" y="221216"/>
                  </a:lnTo>
                  <a:lnTo>
                    <a:pt x="458571" y="205430"/>
                  </a:lnTo>
                  <a:lnTo>
                    <a:pt x="460356" y="194697"/>
                  </a:lnTo>
                  <a:lnTo>
                    <a:pt x="474434" y="189447"/>
                  </a:lnTo>
                  <a:lnTo>
                    <a:pt x="476371" y="209075"/>
                  </a:lnTo>
                  <a:lnTo>
                    <a:pt x="476865" y="214054"/>
                  </a:lnTo>
                  <a:lnTo>
                    <a:pt x="497844" y="223472"/>
                  </a:lnTo>
                  <a:lnTo>
                    <a:pt x="512357" y="219596"/>
                  </a:lnTo>
                  <a:lnTo>
                    <a:pt x="531845" y="221260"/>
                  </a:lnTo>
                  <a:lnTo>
                    <a:pt x="550680" y="220524"/>
                  </a:lnTo>
                  <a:lnTo>
                    <a:pt x="552301" y="205261"/>
                  </a:lnTo>
                  <a:lnTo>
                    <a:pt x="542905" y="197311"/>
                  </a:lnTo>
                  <a:lnTo>
                    <a:pt x="561520" y="194190"/>
                  </a:lnTo>
                  <a:lnTo>
                    <a:pt x="582530" y="175592"/>
                  </a:lnTo>
                  <a:lnTo>
                    <a:pt x="609136" y="159603"/>
                  </a:lnTo>
                  <a:lnTo>
                    <a:pt x="628499" y="165780"/>
                  </a:lnTo>
                  <a:lnTo>
                    <a:pt x="644953" y="155190"/>
                  </a:lnTo>
                  <a:lnTo>
                    <a:pt x="655778" y="170819"/>
                  </a:lnTo>
                  <a:lnTo>
                    <a:pt x="647981" y="181342"/>
                  </a:lnTo>
                  <a:lnTo>
                    <a:pt x="672870" y="185080"/>
                  </a:lnTo>
                  <a:lnTo>
                    <a:pt x="674612" y="194548"/>
                  </a:lnTo>
                  <a:lnTo>
                    <a:pt x="666520" y="199123"/>
                  </a:lnTo>
                  <a:lnTo>
                    <a:pt x="668413" y="214431"/>
                  </a:lnTo>
                  <a:lnTo>
                    <a:pt x="651917" y="209938"/>
                  </a:lnTo>
                  <a:lnTo>
                    <a:pt x="622035" y="227086"/>
                  </a:lnTo>
                  <a:lnTo>
                    <a:pt x="622736" y="241238"/>
                  </a:lnTo>
                  <a:lnTo>
                    <a:pt x="609997" y="261904"/>
                  </a:lnTo>
                  <a:lnTo>
                    <a:pt x="608829" y="273868"/>
                  </a:lnTo>
                  <a:lnTo>
                    <a:pt x="598536" y="294047"/>
                  </a:lnTo>
                  <a:lnTo>
                    <a:pt x="580495" y="288480"/>
                  </a:lnTo>
                  <a:lnTo>
                    <a:pt x="579599" y="313722"/>
                  </a:lnTo>
                  <a:lnTo>
                    <a:pt x="574381" y="322001"/>
                  </a:lnTo>
                  <a:lnTo>
                    <a:pt x="576824" y="332308"/>
                  </a:lnTo>
                  <a:lnTo>
                    <a:pt x="565435" y="338056"/>
                  </a:lnTo>
                  <a:lnTo>
                    <a:pt x="553278" y="299497"/>
                  </a:lnTo>
                  <a:lnTo>
                    <a:pt x="546904" y="299574"/>
                  </a:lnTo>
                  <a:lnTo>
                    <a:pt x="543131" y="315143"/>
                  </a:lnTo>
                  <a:lnTo>
                    <a:pt x="530493" y="302521"/>
                  </a:lnTo>
                  <a:lnTo>
                    <a:pt x="537621" y="288625"/>
                  </a:lnTo>
                  <a:lnTo>
                    <a:pt x="547947" y="287212"/>
                  </a:lnTo>
                  <a:lnTo>
                    <a:pt x="558590" y="266470"/>
                  </a:lnTo>
                  <a:lnTo>
                    <a:pt x="545281" y="262275"/>
                  </a:lnTo>
                  <a:lnTo>
                    <a:pt x="523874" y="262639"/>
                  </a:lnTo>
                  <a:lnTo>
                    <a:pt x="501911" y="259267"/>
                  </a:lnTo>
                  <a:lnTo>
                    <a:pt x="499874" y="242132"/>
                  </a:lnTo>
                  <a:lnTo>
                    <a:pt x="488855" y="240914"/>
                  </a:lnTo>
                  <a:lnTo>
                    <a:pt x="470573" y="230231"/>
                  </a:lnTo>
                  <a:lnTo>
                    <a:pt x="462418" y="246993"/>
                  </a:lnTo>
                  <a:lnTo>
                    <a:pt x="479079" y="260031"/>
                  </a:lnTo>
                  <a:lnTo>
                    <a:pt x="464648" y="269186"/>
                  </a:lnTo>
                  <a:lnTo>
                    <a:pt x="459524" y="278124"/>
                  </a:lnTo>
                  <a:lnTo>
                    <a:pt x="473733" y="284684"/>
                  </a:lnTo>
                  <a:lnTo>
                    <a:pt x="469804" y="299408"/>
                  </a:lnTo>
                  <a:lnTo>
                    <a:pt x="477804" y="317723"/>
                  </a:lnTo>
                  <a:lnTo>
                    <a:pt x="481396" y="337706"/>
                  </a:lnTo>
                  <a:lnTo>
                    <a:pt x="478091" y="346543"/>
                  </a:lnTo>
                  <a:lnTo>
                    <a:pt x="462389" y="346238"/>
                  </a:lnTo>
                  <a:lnTo>
                    <a:pt x="433933" y="351257"/>
                  </a:lnTo>
                  <a:lnTo>
                    <a:pt x="435259" y="369404"/>
                  </a:lnTo>
                  <a:lnTo>
                    <a:pt x="422937" y="383638"/>
                  </a:lnTo>
                  <a:lnTo>
                    <a:pt x="389719" y="399788"/>
                  </a:lnTo>
                  <a:lnTo>
                    <a:pt x="363883" y="427920"/>
                  </a:lnTo>
                  <a:lnTo>
                    <a:pt x="346530" y="442952"/>
                  </a:lnTo>
                  <a:lnTo>
                    <a:pt x="323530" y="458515"/>
                  </a:lnTo>
                  <a:lnTo>
                    <a:pt x="323494" y="469431"/>
                  </a:lnTo>
                  <a:lnTo>
                    <a:pt x="311987" y="475273"/>
                  </a:lnTo>
                  <a:lnTo>
                    <a:pt x="291196" y="483757"/>
                  </a:lnTo>
                  <a:lnTo>
                    <a:pt x="280414" y="485006"/>
                  </a:lnTo>
                  <a:lnTo>
                    <a:pt x="273493" y="503034"/>
                  </a:lnTo>
                  <a:lnTo>
                    <a:pt x="278299" y="533682"/>
                  </a:lnTo>
                  <a:lnTo>
                    <a:pt x="279523" y="553170"/>
                  </a:lnTo>
                  <a:lnTo>
                    <a:pt x="269742" y="575440"/>
                  </a:lnTo>
                  <a:lnTo>
                    <a:pt x="269637" y="615142"/>
                  </a:lnTo>
                  <a:lnTo>
                    <a:pt x="257692" y="616272"/>
                  </a:lnTo>
                  <a:lnTo>
                    <a:pt x="247185" y="634048"/>
                  </a:lnTo>
                  <a:lnTo>
                    <a:pt x="254211" y="641722"/>
                  </a:lnTo>
                  <a:lnTo>
                    <a:pt x="233165" y="648318"/>
                  </a:lnTo>
                  <a:lnTo>
                    <a:pt x="225391" y="664130"/>
                  </a:lnTo>
                  <a:lnTo>
                    <a:pt x="216129" y="670807"/>
                  </a:lnTo>
                  <a:lnTo>
                    <a:pt x="194271" y="649104"/>
                  </a:lnTo>
                  <a:lnTo>
                    <a:pt x="183586" y="616487"/>
                  </a:lnTo>
                  <a:lnTo>
                    <a:pt x="174732" y="592937"/>
                  </a:lnTo>
                  <a:lnTo>
                    <a:pt x="166644" y="581876"/>
                  </a:lnTo>
                  <a:lnTo>
                    <a:pt x="154381" y="559372"/>
                  </a:lnTo>
                  <a:lnTo>
                    <a:pt x="148654" y="529993"/>
                  </a:lnTo>
                  <a:lnTo>
                    <a:pt x="144664" y="515282"/>
                  </a:lnTo>
                  <a:lnTo>
                    <a:pt x="123667" y="482841"/>
                  </a:lnTo>
                  <a:lnTo>
                    <a:pt x="114104" y="436823"/>
                  </a:lnTo>
                  <a:lnTo>
                    <a:pt x="107202" y="406263"/>
                  </a:lnTo>
                  <a:lnTo>
                    <a:pt x="107284" y="377198"/>
                  </a:lnTo>
                  <a:lnTo>
                    <a:pt x="102808" y="354628"/>
                  </a:lnTo>
                  <a:lnTo>
                    <a:pt x="69216" y="369064"/>
                  </a:lnTo>
                  <a:lnTo>
                    <a:pt x="52947" y="366175"/>
                  </a:lnTo>
                  <a:lnTo>
                    <a:pt x="22794" y="336892"/>
                  </a:lnTo>
                  <a:lnTo>
                    <a:pt x="33892" y="328128"/>
                  </a:lnTo>
                  <a:lnTo>
                    <a:pt x="27075" y="318598"/>
                  </a:lnTo>
                  <a:lnTo>
                    <a:pt x="0" y="297924"/>
                  </a:lnTo>
                  <a:lnTo>
                    <a:pt x="15372" y="281614"/>
                  </a:lnTo>
                  <a:lnTo>
                    <a:pt x="66169" y="281678"/>
                  </a:lnTo>
                  <a:lnTo>
                    <a:pt x="61586" y="260611"/>
                  </a:lnTo>
                  <a:lnTo>
                    <a:pt x="48617" y="248124"/>
                  </a:lnTo>
                  <a:lnTo>
                    <a:pt x="45987" y="229109"/>
                  </a:lnTo>
                  <a:lnTo>
                    <a:pt x="30879" y="217977"/>
                  </a:lnTo>
                  <a:lnTo>
                    <a:pt x="56318" y="191885"/>
                  </a:lnTo>
                  <a:lnTo>
                    <a:pt x="83121" y="193783"/>
                  </a:lnTo>
                  <a:lnTo>
                    <a:pt x="107267" y="167541"/>
                  </a:lnTo>
                  <a:lnTo>
                    <a:pt x="121738" y="141983"/>
                  </a:lnTo>
                  <a:lnTo>
                    <a:pt x="144145" y="116553"/>
                  </a:lnTo>
                  <a:lnTo>
                    <a:pt x="143788" y="98388"/>
                  </a:lnTo>
                  <a:lnTo>
                    <a:pt x="163471" y="83584"/>
                  </a:lnTo>
                  <a:lnTo>
                    <a:pt x="144842" y="70901"/>
                  </a:lnTo>
                  <a:lnTo>
                    <a:pt x="136826" y="53452"/>
                  </a:lnTo>
                  <a:lnTo>
                    <a:pt x="128647" y="30731"/>
                  </a:lnTo>
                  <a:lnTo>
                    <a:pt x="139963" y="19498"/>
                  </a:lnTo>
                  <a:lnTo>
                    <a:pt x="174976" y="25858"/>
                  </a:lnTo>
                  <a:lnTo>
                    <a:pt x="200705" y="21985"/>
                  </a:lnTo>
                  <a:close/>
                </a:path>
              </a:pathLst>
            </a:custGeom>
            <a:solidFill>
              <a:schemeClr val="bg2"/>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0" name="Freeform 84">
              <a:extLst>
                <a:ext uri="{FF2B5EF4-FFF2-40B4-BE49-F238E27FC236}">
                  <a16:creationId xmlns:a16="http://schemas.microsoft.com/office/drawing/2014/main" id="{4824F064-A0BB-45F8-AE36-1428073DE191}"/>
                </a:ext>
              </a:extLst>
            </p:cNvPr>
            <p:cNvSpPr>
              <a:spLocks noChangeAspect="1"/>
            </p:cNvSpPr>
            <p:nvPr>
              <p:custDataLst>
                <p:tags r:id="rId92"/>
              </p:custDataLst>
            </p:nvPr>
          </p:nvSpPr>
          <p:spPr>
            <a:xfrm>
              <a:off x="4130389" y="3107133"/>
              <a:ext cx="91041" cy="108813"/>
            </a:xfrm>
            <a:custGeom>
              <a:avLst/>
              <a:gdLst/>
              <a:ahLst/>
              <a:cxnLst/>
              <a:rect l="0" t="0" r="0" b="0"/>
              <a:pathLst>
                <a:path w="91041" h="108813">
                  <a:moveTo>
                    <a:pt x="87234" y="40293"/>
                  </a:moveTo>
                  <a:lnTo>
                    <a:pt x="91040" y="62771"/>
                  </a:lnTo>
                  <a:lnTo>
                    <a:pt x="73592" y="90582"/>
                  </a:lnTo>
                  <a:lnTo>
                    <a:pt x="32672" y="108812"/>
                  </a:lnTo>
                  <a:lnTo>
                    <a:pt x="0" y="104161"/>
                  </a:lnTo>
                  <a:lnTo>
                    <a:pt x="18715" y="71791"/>
                  </a:lnTo>
                  <a:lnTo>
                    <a:pt x="6660" y="39857"/>
                  </a:lnTo>
                  <a:lnTo>
                    <a:pt x="38065" y="14968"/>
                  </a:lnTo>
                  <a:lnTo>
                    <a:pt x="55512" y="0"/>
                  </a:lnTo>
                  <a:lnTo>
                    <a:pt x="60270" y="17162"/>
                  </a:lnTo>
                  <a:lnTo>
                    <a:pt x="55512" y="34204"/>
                  </a:lnTo>
                  <a:lnTo>
                    <a:pt x="69787" y="3376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1" name="Freeform 85">
              <a:extLst>
                <a:ext uri="{FF2B5EF4-FFF2-40B4-BE49-F238E27FC236}">
                  <a16:creationId xmlns:a16="http://schemas.microsoft.com/office/drawing/2014/main" id="{87BD1848-543F-437A-8F52-60F06B06FF81}"/>
                </a:ext>
              </a:extLst>
            </p:cNvPr>
            <p:cNvSpPr>
              <a:spLocks noChangeAspect="1"/>
            </p:cNvSpPr>
            <p:nvPr>
              <p:custDataLst>
                <p:tags r:id="rId93"/>
              </p:custDataLst>
            </p:nvPr>
          </p:nvSpPr>
          <p:spPr>
            <a:xfrm>
              <a:off x="5378845" y="3560345"/>
              <a:ext cx="443360" cy="376548"/>
            </a:xfrm>
            <a:custGeom>
              <a:avLst/>
              <a:gdLst/>
              <a:ahLst/>
              <a:cxnLst/>
              <a:rect l="0" t="0" r="0" b="0"/>
              <a:pathLst>
                <a:path w="443360" h="376548">
                  <a:moveTo>
                    <a:pt x="226496" y="67542"/>
                  </a:moveTo>
                  <a:lnTo>
                    <a:pt x="246779" y="62392"/>
                  </a:lnTo>
                  <a:lnTo>
                    <a:pt x="263197" y="47133"/>
                  </a:lnTo>
                  <a:lnTo>
                    <a:pt x="278635" y="47908"/>
                  </a:lnTo>
                  <a:lnTo>
                    <a:pt x="288768" y="42922"/>
                  </a:lnTo>
                  <a:lnTo>
                    <a:pt x="305181" y="45390"/>
                  </a:lnTo>
                  <a:lnTo>
                    <a:pt x="330704" y="58932"/>
                  </a:lnTo>
                  <a:lnTo>
                    <a:pt x="349138" y="61845"/>
                  </a:lnTo>
                  <a:lnTo>
                    <a:pt x="375519" y="85350"/>
                  </a:lnTo>
                  <a:lnTo>
                    <a:pt x="392726" y="86296"/>
                  </a:lnTo>
                  <a:lnTo>
                    <a:pt x="394751" y="108475"/>
                  </a:lnTo>
                  <a:lnTo>
                    <a:pt x="385342" y="141055"/>
                  </a:lnTo>
                  <a:lnTo>
                    <a:pt x="379000" y="159945"/>
                  </a:lnTo>
                  <a:lnTo>
                    <a:pt x="389047" y="163766"/>
                  </a:lnTo>
                  <a:lnTo>
                    <a:pt x="379176" y="177902"/>
                  </a:lnTo>
                  <a:lnTo>
                    <a:pt x="386738" y="198416"/>
                  </a:lnTo>
                  <a:lnTo>
                    <a:pt x="388545" y="214651"/>
                  </a:lnTo>
                  <a:lnTo>
                    <a:pt x="406027" y="218950"/>
                  </a:lnTo>
                  <a:lnTo>
                    <a:pt x="407918" y="235323"/>
                  </a:lnTo>
                  <a:lnTo>
                    <a:pt x="386982" y="258271"/>
                  </a:lnTo>
                  <a:lnTo>
                    <a:pt x="398409" y="271525"/>
                  </a:lnTo>
                  <a:lnTo>
                    <a:pt x="407701" y="286693"/>
                  </a:lnTo>
                  <a:lnTo>
                    <a:pt x="429768" y="297701"/>
                  </a:lnTo>
                  <a:lnTo>
                    <a:pt x="430405" y="319667"/>
                  </a:lnTo>
                  <a:lnTo>
                    <a:pt x="441449" y="323692"/>
                  </a:lnTo>
                  <a:lnTo>
                    <a:pt x="443359" y="335124"/>
                  </a:lnTo>
                  <a:lnTo>
                    <a:pt x="410063" y="347913"/>
                  </a:lnTo>
                  <a:lnTo>
                    <a:pt x="401365" y="376547"/>
                  </a:lnTo>
                  <a:lnTo>
                    <a:pt x="357941" y="369122"/>
                  </a:lnTo>
                  <a:lnTo>
                    <a:pt x="332773" y="363463"/>
                  </a:lnTo>
                  <a:lnTo>
                    <a:pt x="306723" y="360260"/>
                  </a:lnTo>
                  <a:lnTo>
                    <a:pt x="296879" y="329925"/>
                  </a:lnTo>
                  <a:lnTo>
                    <a:pt x="285831" y="325524"/>
                  </a:lnTo>
                  <a:lnTo>
                    <a:pt x="268094" y="329961"/>
                  </a:lnTo>
                  <a:lnTo>
                    <a:pt x="244812" y="341959"/>
                  </a:lnTo>
                  <a:lnTo>
                    <a:pt x="216605" y="333739"/>
                  </a:lnTo>
                  <a:lnTo>
                    <a:pt x="193303" y="314640"/>
                  </a:lnTo>
                  <a:lnTo>
                    <a:pt x="171079" y="307540"/>
                  </a:lnTo>
                  <a:lnTo>
                    <a:pt x="155664" y="283804"/>
                  </a:lnTo>
                  <a:lnTo>
                    <a:pt x="138630" y="250223"/>
                  </a:lnTo>
                  <a:lnTo>
                    <a:pt x="126208" y="254319"/>
                  </a:lnTo>
                  <a:lnTo>
                    <a:pt x="111538" y="245939"/>
                  </a:lnTo>
                  <a:lnTo>
                    <a:pt x="102920" y="255809"/>
                  </a:lnTo>
                  <a:lnTo>
                    <a:pt x="90146" y="242510"/>
                  </a:lnTo>
                  <a:lnTo>
                    <a:pt x="89918" y="228990"/>
                  </a:lnTo>
                  <a:lnTo>
                    <a:pt x="82546" y="228997"/>
                  </a:lnTo>
                  <a:lnTo>
                    <a:pt x="86329" y="210538"/>
                  </a:lnTo>
                  <a:lnTo>
                    <a:pt x="74452" y="191074"/>
                  </a:lnTo>
                  <a:lnTo>
                    <a:pt x="46169" y="176973"/>
                  </a:lnTo>
                  <a:lnTo>
                    <a:pt x="30180" y="152394"/>
                  </a:lnTo>
                  <a:lnTo>
                    <a:pt x="35530" y="132089"/>
                  </a:lnTo>
                  <a:lnTo>
                    <a:pt x="47148" y="123072"/>
                  </a:lnTo>
                  <a:lnTo>
                    <a:pt x="45407" y="107757"/>
                  </a:lnTo>
                  <a:lnTo>
                    <a:pt x="30271" y="99861"/>
                  </a:lnTo>
                  <a:lnTo>
                    <a:pt x="15315" y="68299"/>
                  </a:lnTo>
                  <a:lnTo>
                    <a:pt x="2690" y="46933"/>
                  </a:lnTo>
                  <a:lnTo>
                    <a:pt x="7206" y="38636"/>
                  </a:lnTo>
                  <a:lnTo>
                    <a:pt x="0" y="7725"/>
                  </a:lnTo>
                  <a:lnTo>
                    <a:pt x="15807" y="0"/>
                  </a:lnTo>
                  <a:lnTo>
                    <a:pt x="19470" y="10225"/>
                  </a:lnTo>
                  <a:lnTo>
                    <a:pt x="31127" y="22694"/>
                  </a:lnTo>
                  <a:lnTo>
                    <a:pt x="46960" y="26276"/>
                  </a:lnTo>
                  <a:lnTo>
                    <a:pt x="55318" y="25484"/>
                  </a:lnTo>
                  <a:lnTo>
                    <a:pt x="82541" y="5551"/>
                  </a:lnTo>
                  <a:lnTo>
                    <a:pt x="91197" y="3548"/>
                  </a:lnTo>
                  <a:lnTo>
                    <a:pt x="98016" y="11497"/>
                  </a:lnTo>
                  <a:lnTo>
                    <a:pt x="90058" y="24853"/>
                  </a:lnTo>
                  <a:lnTo>
                    <a:pt x="104453" y="38929"/>
                  </a:lnTo>
                  <a:lnTo>
                    <a:pt x="110197" y="37591"/>
                  </a:lnTo>
                  <a:lnTo>
                    <a:pt x="117500" y="57317"/>
                  </a:lnTo>
                  <a:lnTo>
                    <a:pt x="139386" y="62868"/>
                  </a:lnTo>
                  <a:lnTo>
                    <a:pt x="155419" y="76201"/>
                  </a:lnTo>
                  <a:lnTo>
                    <a:pt x="188235" y="80770"/>
                  </a:lnTo>
                  <a:lnTo>
                    <a:pt x="224285" y="7375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2" name="Freeform 86">
              <a:extLst>
                <a:ext uri="{FF2B5EF4-FFF2-40B4-BE49-F238E27FC236}">
                  <a16:creationId xmlns:a16="http://schemas.microsoft.com/office/drawing/2014/main" id="{D2B7101E-DC5C-4019-BEE6-E4AFCF23BD39}"/>
                </a:ext>
              </a:extLst>
            </p:cNvPr>
            <p:cNvSpPr>
              <a:spLocks noChangeAspect="1"/>
            </p:cNvSpPr>
            <p:nvPr>
              <p:custDataLst>
                <p:tags r:id="rId94"/>
              </p:custDataLst>
            </p:nvPr>
          </p:nvSpPr>
          <p:spPr>
            <a:xfrm>
              <a:off x="5256118" y="3622928"/>
              <a:ext cx="225648" cy="214079"/>
            </a:xfrm>
            <a:custGeom>
              <a:avLst/>
              <a:gdLst/>
              <a:ahLst/>
              <a:cxnLst/>
              <a:rect l="0" t="0" r="0" b="0"/>
              <a:pathLst>
                <a:path w="225648" h="214079">
                  <a:moveTo>
                    <a:pt x="152998" y="37278"/>
                  </a:moveTo>
                  <a:lnTo>
                    <a:pt x="168134" y="45174"/>
                  </a:lnTo>
                  <a:lnTo>
                    <a:pt x="169875" y="60489"/>
                  </a:lnTo>
                  <a:lnTo>
                    <a:pt x="158257" y="69506"/>
                  </a:lnTo>
                  <a:lnTo>
                    <a:pt x="152907" y="89811"/>
                  </a:lnTo>
                  <a:lnTo>
                    <a:pt x="168896" y="114390"/>
                  </a:lnTo>
                  <a:lnTo>
                    <a:pt x="197179" y="128491"/>
                  </a:lnTo>
                  <a:lnTo>
                    <a:pt x="209056" y="147955"/>
                  </a:lnTo>
                  <a:lnTo>
                    <a:pt x="205273" y="166414"/>
                  </a:lnTo>
                  <a:lnTo>
                    <a:pt x="212645" y="166407"/>
                  </a:lnTo>
                  <a:lnTo>
                    <a:pt x="212873" y="179927"/>
                  </a:lnTo>
                  <a:lnTo>
                    <a:pt x="225647" y="193226"/>
                  </a:lnTo>
                  <a:lnTo>
                    <a:pt x="211949" y="191987"/>
                  </a:lnTo>
                  <a:lnTo>
                    <a:pt x="196439" y="189883"/>
                  </a:lnTo>
                  <a:lnTo>
                    <a:pt x="179499" y="214078"/>
                  </a:lnTo>
                  <a:lnTo>
                    <a:pt x="136583" y="212070"/>
                  </a:lnTo>
                  <a:lnTo>
                    <a:pt x="71501" y="161195"/>
                  </a:lnTo>
                  <a:lnTo>
                    <a:pt x="37109" y="143333"/>
                  </a:lnTo>
                  <a:lnTo>
                    <a:pt x="9305" y="136395"/>
                  </a:lnTo>
                  <a:lnTo>
                    <a:pt x="0" y="105064"/>
                  </a:lnTo>
                  <a:lnTo>
                    <a:pt x="51100" y="78075"/>
                  </a:lnTo>
                  <a:lnTo>
                    <a:pt x="59821" y="46464"/>
                  </a:lnTo>
                  <a:lnTo>
                    <a:pt x="57645" y="27222"/>
                  </a:lnTo>
                  <a:lnTo>
                    <a:pt x="70280" y="20691"/>
                  </a:lnTo>
                  <a:lnTo>
                    <a:pt x="82110" y="4135"/>
                  </a:lnTo>
                  <a:lnTo>
                    <a:pt x="92025" y="0"/>
                  </a:lnTo>
                  <a:lnTo>
                    <a:pt x="118873" y="3434"/>
                  </a:lnTo>
                  <a:lnTo>
                    <a:pt x="126980" y="10203"/>
                  </a:lnTo>
                  <a:lnTo>
                    <a:pt x="138042" y="571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3" name="Freeform 87">
              <a:extLst>
                <a:ext uri="{FF2B5EF4-FFF2-40B4-BE49-F238E27FC236}">
                  <a16:creationId xmlns:a16="http://schemas.microsoft.com/office/drawing/2014/main" id="{7DDAC36D-F45E-424F-B55D-DCEE45DAEDD4}"/>
                </a:ext>
              </a:extLst>
            </p:cNvPr>
            <p:cNvSpPr>
              <a:spLocks noChangeAspect="1"/>
            </p:cNvSpPr>
            <p:nvPr>
              <p:custDataLst>
                <p:tags r:id="rId95"/>
              </p:custDataLst>
            </p:nvPr>
          </p:nvSpPr>
          <p:spPr>
            <a:xfrm>
              <a:off x="3799173" y="2707375"/>
              <a:ext cx="247366" cy="113679"/>
            </a:xfrm>
            <a:custGeom>
              <a:avLst/>
              <a:gdLst/>
              <a:ahLst/>
              <a:cxnLst/>
              <a:rect l="0" t="0" r="0" b="0"/>
              <a:pathLst>
                <a:path w="247366" h="113679">
                  <a:moveTo>
                    <a:pt x="226614" y="2732"/>
                  </a:moveTo>
                  <a:lnTo>
                    <a:pt x="221283" y="27500"/>
                  </a:lnTo>
                  <a:lnTo>
                    <a:pt x="247365" y="53289"/>
                  </a:lnTo>
                  <a:lnTo>
                    <a:pt x="217355" y="81752"/>
                  </a:lnTo>
                  <a:lnTo>
                    <a:pt x="150770" y="107008"/>
                  </a:lnTo>
                  <a:lnTo>
                    <a:pt x="130877" y="113678"/>
                  </a:lnTo>
                  <a:lnTo>
                    <a:pt x="100489" y="108294"/>
                  </a:lnTo>
                  <a:lnTo>
                    <a:pt x="36083" y="96673"/>
                  </a:lnTo>
                  <a:lnTo>
                    <a:pt x="58808" y="80341"/>
                  </a:lnTo>
                  <a:lnTo>
                    <a:pt x="8567" y="62122"/>
                  </a:lnTo>
                  <a:lnTo>
                    <a:pt x="49438" y="54856"/>
                  </a:lnTo>
                  <a:lnTo>
                    <a:pt x="48445" y="43801"/>
                  </a:lnTo>
                  <a:lnTo>
                    <a:pt x="0" y="35002"/>
                  </a:lnTo>
                  <a:lnTo>
                    <a:pt x="15596" y="10164"/>
                  </a:lnTo>
                  <a:lnTo>
                    <a:pt x="50580" y="4480"/>
                  </a:lnTo>
                  <a:lnTo>
                    <a:pt x="86558" y="30414"/>
                  </a:lnTo>
                  <a:lnTo>
                    <a:pt x="121631" y="9624"/>
                  </a:lnTo>
                  <a:lnTo>
                    <a:pt x="150674" y="20446"/>
                  </a:lnTo>
                  <a:lnTo>
                    <a:pt x="188317"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4" name="Freeform 88">
              <a:extLst>
                <a:ext uri="{FF2B5EF4-FFF2-40B4-BE49-F238E27FC236}">
                  <a16:creationId xmlns:a16="http://schemas.microsoft.com/office/drawing/2014/main" id="{164D573A-C50F-43C1-B094-589D5DB5635E}"/>
                </a:ext>
              </a:extLst>
            </p:cNvPr>
            <p:cNvSpPr>
              <a:spLocks noChangeAspect="1"/>
            </p:cNvSpPr>
            <p:nvPr>
              <p:custDataLst>
                <p:tags r:id="rId96"/>
              </p:custDataLst>
            </p:nvPr>
          </p:nvSpPr>
          <p:spPr>
            <a:xfrm>
              <a:off x="5151624" y="3730608"/>
              <a:ext cx="36263" cy="96277"/>
            </a:xfrm>
            <a:custGeom>
              <a:avLst/>
              <a:gdLst/>
              <a:ahLst/>
              <a:cxnLst/>
              <a:rect l="0" t="0" r="0" b="0"/>
              <a:pathLst>
                <a:path w="36263" h="96277">
                  <a:moveTo>
                    <a:pt x="35909" y="0"/>
                  </a:moveTo>
                  <a:lnTo>
                    <a:pt x="36262" y="10553"/>
                  </a:lnTo>
                  <a:lnTo>
                    <a:pt x="33132" y="14467"/>
                  </a:lnTo>
                  <a:lnTo>
                    <a:pt x="33574" y="14642"/>
                  </a:lnTo>
                  <a:lnTo>
                    <a:pt x="29552" y="22740"/>
                  </a:lnTo>
                  <a:lnTo>
                    <a:pt x="29542" y="38401"/>
                  </a:lnTo>
                  <a:lnTo>
                    <a:pt x="26133" y="45893"/>
                  </a:lnTo>
                  <a:lnTo>
                    <a:pt x="26672" y="55804"/>
                  </a:lnTo>
                  <a:lnTo>
                    <a:pt x="15170" y="96276"/>
                  </a:lnTo>
                  <a:lnTo>
                    <a:pt x="0" y="52767"/>
                  </a:lnTo>
                  <a:lnTo>
                    <a:pt x="6716" y="44369"/>
                  </a:lnTo>
                  <a:lnTo>
                    <a:pt x="5140" y="42921"/>
                  </a:lnTo>
                  <a:lnTo>
                    <a:pt x="11245" y="30971"/>
                  </a:lnTo>
                  <a:lnTo>
                    <a:pt x="15927" y="11602"/>
                  </a:lnTo>
                  <a:lnTo>
                    <a:pt x="19229" y="5080"/>
                  </a:lnTo>
                  <a:lnTo>
                    <a:pt x="19866" y="4812"/>
                  </a:lnTo>
                  <a:lnTo>
                    <a:pt x="27590" y="4861"/>
                  </a:lnTo>
                  <a:lnTo>
                    <a:pt x="29716" y="3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5" name="Freeform 89">
              <a:extLst>
                <a:ext uri="{FF2B5EF4-FFF2-40B4-BE49-F238E27FC236}">
                  <a16:creationId xmlns:a16="http://schemas.microsoft.com/office/drawing/2014/main" id="{AF4FFCDB-93A4-485C-8BA4-06644681589E}"/>
                </a:ext>
              </a:extLst>
            </p:cNvPr>
            <p:cNvSpPr>
              <a:spLocks noChangeAspect="1"/>
            </p:cNvSpPr>
            <p:nvPr>
              <p:custDataLst>
                <p:tags r:id="rId97"/>
              </p:custDataLst>
            </p:nvPr>
          </p:nvSpPr>
          <p:spPr>
            <a:xfrm>
              <a:off x="4516493" y="3352254"/>
              <a:ext cx="270767" cy="290991"/>
            </a:xfrm>
            <a:custGeom>
              <a:avLst/>
              <a:gdLst/>
              <a:ahLst/>
              <a:cxnLst/>
              <a:rect l="l" t="t" r="r" b="b"/>
              <a:pathLst>
                <a:path w="270767" h="290991">
                  <a:moveTo>
                    <a:pt x="202445" y="248072"/>
                  </a:moveTo>
                  <a:lnTo>
                    <a:pt x="194133" y="269109"/>
                  </a:lnTo>
                  <a:lnTo>
                    <a:pt x="197587" y="277352"/>
                  </a:lnTo>
                  <a:lnTo>
                    <a:pt x="192742" y="290991"/>
                  </a:lnTo>
                  <a:lnTo>
                    <a:pt x="175089" y="281007"/>
                  </a:lnTo>
                  <a:lnTo>
                    <a:pt x="163352" y="278141"/>
                  </a:lnTo>
                  <a:lnTo>
                    <a:pt x="131134" y="264605"/>
                  </a:lnTo>
                  <a:lnTo>
                    <a:pt x="134365" y="250880"/>
                  </a:lnTo>
                  <a:lnTo>
                    <a:pt x="161376" y="253328"/>
                  </a:lnTo>
                  <a:lnTo>
                    <a:pt x="184923" y="250411"/>
                  </a:lnTo>
                  <a:close/>
                  <a:moveTo>
                    <a:pt x="56785" y="167178"/>
                  </a:moveTo>
                  <a:lnTo>
                    <a:pt x="70634" y="186650"/>
                  </a:lnTo>
                  <a:lnTo>
                    <a:pt x="67392" y="222600"/>
                  </a:lnTo>
                  <a:lnTo>
                    <a:pt x="56896" y="220895"/>
                  </a:lnTo>
                  <a:lnTo>
                    <a:pt x="47481" y="229910"/>
                  </a:lnTo>
                  <a:lnTo>
                    <a:pt x="38741" y="222749"/>
                  </a:lnTo>
                  <a:lnTo>
                    <a:pt x="37817" y="189975"/>
                  </a:lnTo>
                  <a:lnTo>
                    <a:pt x="32548" y="174323"/>
                  </a:lnTo>
                  <a:lnTo>
                    <a:pt x="45243" y="175695"/>
                  </a:lnTo>
                  <a:close/>
                  <a:moveTo>
                    <a:pt x="124719" y="0"/>
                  </a:moveTo>
                  <a:lnTo>
                    <a:pt x="129876" y="10127"/>
                  </a:lnTo>
                  <a:lnTo>
                    <a:pt x="162884" y="17622"/>
                  </a:lnTo>
                  <a:lnTo>
                    <a:pt x="160382" y="31859"/>
                  </a:lnTo>
                  <a:lnTo>
                    <a:pt x="165911" y="44108"/>
                  </a:lnTo>
                  <a:lnTo>
                    <a:pt x="147537" y="39923"/>
                  </a:lnTo>
                  <a:lnTo>
                    <a:pt x="128770" y="50107"/>
                  </a:lnTo>
                  <a:lnTo>
                    <a:pt x="130046" y="64290"/>
                  </a:lnTo>
                  <a:lnTo>
                    <a:pt x="127220" y="72397"/>
                  </a:lnTo>
                  <a:lnTo>
                    <a:pt x="134787" y="86828"/>
                  </a:lnTo>
                  <a:lnTo>
                    <a:pt x="156431" y="101033"/>
                  </a:lnTo>
                  <a:lnTo>
                    <a:pt x="168039" y="124199"/>
                  </a:lnTo>
                  <a:lnTo>
                    <a:pt x="193725" y="146607"/>
                  </a:lnTo>
                  <a:lnTo>
                    <a:pt x="211813" y="146436"/>
                  </a:lnTo>
                  <a:lnTo>
                    <a:pt x="217438" y="152553"/>
                  </a:lnTo>
                  <a:lnTo>
                    <a:pt x="210962" y="158055"/>
                  </a:lnTo>
                  <a:lnTo>
                    <a:pt x="231636" y="168014"/>
                  </a:lnTo>
                  <a:lnTo>
                    <a:pt x="248583" y="176322"/>
                  </a:lnTo>
                  <a:lnTo>
                    <a:pt x="268377" y="190594"/>
                  </a:lnTo>
                  <a:lnTo>
                    <a:pt x="270767" y="195690"/>
                  </a:lnTo>
                  <a:lnTo>
                    <a:pt x="266454" y="205435"/>
                  </a:lnTo>
                  <a:lnTo>
                    <a:pt x="253643" y="192722"/>
                  </a:lnTo>
                  <a:lnTo>
                    <a:pt x="233589" y="188229"/>
                  </a:lnTo>
                  <a:lnTo>
                    <a:pt x="223875" y="205853"/>
                  </a:lnTo>
                  <a:lnTo>
                    <a:pt x="240557" y="215909"/>
                  </a:lnTo>
                  <a:lnTo>
                    <a:pt x="237819" y="230011"/>
                  </a:lnTo>
                  <a:lnTo>
                    <a:pt x="228176" y="231609"/>
                  </a:lnTo>
                  <a:lnTo>
                    <a:pt x="215847" y="254641"/>
                  </a:lnTo>
                  <a:lnTo>
                    <a:pt x="206224" y="256702"/>
                  </a:lnTo>
                  <a:lnTo>
                    <a:pt x="206314" y="248516"/>
                  </a:lnTo>
                  <a:lnTo>
                    <a:pt x="211023" y="234105"/>
                  </a:lnTo>
                  <a:lnTo>
                    <a:pt x="216040" y="228347"/>
                  </a:lnTo>
                  <a:lnTo>
                    <a:pt x="207026" y="212674"/>
                  </a:lnTo>
                  <a:lnTo>
                    <a:pt x="199981" y="198973"/>
                  </a:lnTo>
                  <a:lnTo>
                    <a:pt x="190399" y="195578"/>
                  </a:lnTo>
                  <a:lnTo>
                    <a:pt x="183584" y="183790"/>
                  </a:lnTo>
                  <a:lnTo>
                    <a:pt x="168751" y="178811"/>
                  </a:lnTo>
                  <a:lnTo>
                    <a:pt x="158764" y="167775"/>
                  </a:lnTo>
                  <a:lnTo>
                    <a:pt x="141685" y="165992"/>
                  </a:lnTo>
                  <a:lnTo>
                    <a:pt x="123648" y="153541"/>
                  </a:lnTo>
                  <a:lnTo>
                    <a:pt x="102532" y="135498"/>
                  </a:lnTo>
                  <a:lnTo>
                    <a:pt x="86837" y="119438"/>
                  </a:lnTo>
                  <a:lnTo>
                    <a:pt x="79637" y="91669"/>
                  </a:lnTo>
                  <a:lnTo>
                    <a:pt x="68153" y="88385"/>
                  </a:lnTo>
                  <a:lnTo>
                    <a:pt x="49374" y="79043"/>
                  </a:lnTo>
                  <a:lnTo>
                    <a:pt x="38747" y="82871"/>
                  </a:lnTo>
                  <a:lnTo>
                    <a:pt x="25410" y="95980"/>
                  </a:lnTo>
                  <a:lnTo>
                    <a:pt x="15818" y="98045"/>
                  </a:lnTo>
                  <a:lnTo>
                    <a:pt x="18458" y="85795"/>
                  </a:lnTo>
                  <a:lnTo>
                    <a:pt x="5947" y="82205"/>
                  </a:lnTo>
                  <a:lnTo>
                    <a:pt x="0" y="60207"/>
                  </a:lnTo>
                  <a:lnTo>
                    <a:pt x="8003" y="51501"/>
                  </a:lnTo>
                  <a:lnTo>
                    <a:pt x="1210" y="40731"/>
                  </a:lnTo>
                  <a:lnTo>
                    <a:pt x="2162" y="32598"/>
                  </a:lnTo>
                  <a:lnTo>
                    <a:pt x="12093" y="38765"/>
                  </a:lnTo>
                  <a:lnTo>
                    <a:pt x="23223" y="37398"/>
                  </a:lnTo>
                  <a:lnTo>
                    <a:pt x="36164" y="27621"/>
                  </a:lnTo>
                  <a:lnTo>
                    <a:pt x="40164" y="32194"/>
                  </a:lnTo>
                  <a:lnTo>
                    <a:pt x="51160" y="31278"/>
                  </a:lnTo>
                  <a:lnTo>
                    <a:pt x="56159" y="19624"/>
                  </a:lnTo>
                  <a:lnTo>
                    <a:pt x="73239" y="23250"/>
                  </a:lnTo>
                  <a:lnTo>
                    <a:pt x="83408" y="18367"/>
                  </a:lnTo>
                  <a:lnTo>
                    <a:pt x="85239" y="6463"/>
                  </a:lnTo>
                  <a:lnTo>
                    <a:pt x="99224" y="10598"/>
                  </a:lnTo>
                  <a:lnTo>
                    <a:pt x="101908" y="506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6" name="Freeform 90">
              <a:extLst>
                <a:ext uri="{FF2B5EF4-FFF2-40B4-BE49-F238E27FC236}">
                  <a16:creationId xmlns:a16="http://schemas.microsoft.com/office/drawing/2014/main" id="{55981A7E-BCD1-4456-A501-30757330C4A8}"/>
                </a:ext>
              </a:extLst>
            </p:cNvPr>
            <p:cNvSpPr>
              <a:spLocks noChangeAspect="1"/>
            </p:cNvSpPr>
            <p:nvPr>
              <p:custDataLst>
                <p:tags r:id="rId98"/>
              </p:custDataLst>
            </p:nvPr>
          </p:nvSpPr>
          <p:spPr>
            <a:xfrm>
              <a:off x="5166794" y="3727992"/>
              <a:ext cx="98630" cy="106540"/>
            </a:xfrm>
            <a:custGeom>
              <a:avLst/>
              <a:gdLst/>
              <a:ahLst/>
              <a:cxnLst/>
              <a:rect l="0" t="0" r="0" b="0"/>
              <a:pathLst>
                <a:path w="98630" h="106540">
                  <a:moveTo>
                    <a:pt x="14382" y="25356"/>
                  </a:moveTo>
                  <a:lnTo>
                    <a:pt x="18404" y="17258"/>
                  </a:lnTo>
                  <a:lnTo>
                    <a:pt x="44121" y="27436"/>
                  </a:lnTo>
                  <a:lnTo>
                    <a:pt x="89324" y="0"/>
                  </a:lnTo>
                  <a:lnTo>
                    <a:pt x="98629" y="31331"/>
                  </a:lnTo>
                  <a:lnTo>
                    <a:pt x="94230" y="35193"/>
                  </a:lnTo>
                  <a:lnTo>
                    <a:pt x="48002" y="48016"/>
                  </a:lnTo>
                  <a:lnTo>
                    <a:pt x="71008" y="73443"/>
                  </a:lnTo>
                  <a:lnTo>
                    <a:pt x="63374" y="77745"/>
                  </a:lnTo>
                  <a:lnTo>
                    <a:pt x="59575" y="86216"/>
                  </a:lnTo>
                  <a:lnTo>
                    <a:pt x="41962" y="89714"/>
                  </a:lnTo>
                  <a:lnTo>
                    <a:pt x="36438" y="98793"/>
                  </a:lnTo>
                  <a:lnTo>
                    <a:pt x="26460" y="106539"/>
                  </a:lnTo>
                  <a:lnTo>
                    <a:pt x="771" y="102537"/>
                  </a:lnTo>
                  <a:lnTo>
                    <a:pt x="0" y="98892"/>
                  </a:lnTo>
                  <a:lnTo>
                    <a:pt x="11502" y="58420"/>
                  </a:lnTo>
                  <a:lnTo>
                    <a:pt x="10963" y="48509"/>
                  </a:lnTo>
                  <a:lnTo>
                    <a:pt x="14372" y="410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7" name="Freeform 91">
              <a:extLst>
                <a:ext uri="{FF2B5EF4-FFF2-40B4-BE49-F238E27FC236}">
                  <a16:creationId xmlns:a16="http://schemas.microsoft.com/office/drawing/2014/main" id="{3EB62192-4B46-4F72-821B-E24C703D2514}"/>
                </a:ext>
              </a:extLst>
            </p:cNvPr>
            <p:cNvSpPr>
              <a:spLocks noChangeAspect="1"/>
            </p:cNvSpPr>
            <p:nvPr>
              <p:custDataLst>
                <p:tags r:id="rId99"/>
              </p:custDataLst>
            </p:nvPr>
          </p:nvSpPr>
          <p:spPr>
            <a:xfrm>
              <a:off x="7347779" y="3397496"/>
              <a:ext cx="372432" cy="390709"/>
            </a:xfrm>
            <a:custGeom>
              <a:avLst/>
              <a:gdLst/>
              <a:ahLst/>
              <a:cxnLst/>
              <a:rect l="l" t="t" r="r" b="b"/>
              <a:pathLst>
                <a:path w="372432" h="390709">
                  <a:moveTo>
                    <a:pt x="103771" y="304924"/>
                  </a:moveTo>
                  <a:lnTo>
                    <a:pt x="120721" y="310532"/>
                  </a:lnTo>
                  <a:lnTo>
                    <a:pt x="123675" y="319430"/>
                  </a:lnTo>
                  <a:lnTo>
                    <a:pt x="110680" y="335080"/>
                  </a:lnTo>
                  <a:lnTo>
                    <a:pt x="101206" y="326792"/>
                  </a:lnTo>
                  <a:lnTo>
                    <a:pt x="89371" y="332798"/>
                  </a:lnTo>
                  <a:lnTo>
                    <a:pt x="83245" y="347873"/>
                  </a:lnTo>
                  <a:lnTo>
                    <a:pt x="68201" y="340541"/>
                  </a:lnTo>
                  <a:lnTo>
                    <a:pt x="68387" y="328300"/>
                  </a:lnTo>
                  <a:lnTo>
                    <a:pt x="81156" y="312842"/>
                  </a:lnTo>
                  <a:lnTo>
                    <a:pt x="94281" y="315844"/>
                  </a:lnTo>
                  <a:close/>
                  <a:moveTo>
                    <a:pt x="276081" y="117295"/>
                  </a:moveTo>
                  <a:lnTo>
                    <a:pt x="288667" y="155275"/>
                  </a:lnTo>
                  <a:lnTo>
                    <a:pt x="287983" y="177264"/>
                  </a:lnTo>
                  <a:lnTo>
                    <a:pt x="266629" y="204362"/>
                  </a:lnTo>
                  <a:lnTo>
                    <a:pt x="267019" y="231902"/>
                  </a:lnTo>
                  <a:lnTo>
                    <a:pt x="258325" y="253046"/>
                  </a:lnTo>
                  <a:lnTo>
                    <a:pt x="262349" y="266255"/>
                  </a:lnTo>
                  <a:lnTo>
                    <a:pt x="250328" y="284747"/>
                  </a:lnTo>
                  <a:lnTo>
                    <a:pt x="220833" y="297039"/>
                  </a:lnTo>
                  <a:lnTo>
                    <a:pt x="180256" y="298638"/>
                  </a:lnTo>
                  <a:lnTo>
                    <a:pt x="147372" y="328270"/>
                  </a:lnTo>
                  <a:lnTo>
                    <a:pt x="131860" y="318322"/>
                  </a:lnTo>
                  <a:lnTo>
                    <a:pt x="130901" y="298892"/>
                  </a:lnTo>
                  <a:lnTo>
                    <a:pt x="90758" y="304637"/>
                  </a:lnTo>
                  <a:lnTo>
                    <a:pt x="63438" y="316873"/>
                  </a:lnTo>
                  <a:lnTo>
                    <a:pt x="36417" y="317371"/>
                  </a:lnTo>
                  <a:lnTo>
                    <a:pt x="59821" y="336401"/>
                  </a:lnTo>
                  <a:lnTo>
                    <a:pt x="44418" y="379993"/>
                  </a:lnTo>
                  <a:lnTo>
                    <a:pt x="29497" y="390709"/>
                  </a:lnTo>
                  <a:lnTo>
                    <a:pt x="18327" y="380812"/>
                  </a:lnTo>
                  <a:lnTo>
                    <a:pt x="23988" y="357764"/>
                  </a:lnTo>
                  <a:lnTo>
                    <a:pt x="9377" y="350297"/>
                  </a:lnTo>
                  <a:lnTo>
                    <a:pt x="0" y="332631"/>
                  </a:lnTo>
                  <a:lnTo>
                    <a:pt x="21824" y="324666"/>
                  </a:lnTo>
                  <a:lnTo>
                    <a:pt x="33931" y="308362"/>
                  </a:lnTo>
                  <a:lnTo>
                    <a:pt x="57147" y="294897"/>
                  </a:lnTo>
                  <a:lnTo>
                    <a:pt x="74077" y="277011"/>
                  </a:lnTo>
                  <a:lnTo>
                    <a:pt x="120026" y="269181"/>
                  </a:lnTo>
                  <a:lnTo>
                    <a:pt x="144707" y="274552"/>
                  </a:lnTo>
                  <a:lnTo>
                    <a:pt x="168858" y="227569"/>
                  </a:lnTo>
                  <a:lnTo>
                    <a:pt x="184249" y="240255"/>
                  </a:lnTo>
                  <a:lnTo>
                    <a:pt x="218112" y="213635"/>
                  </a:lnTo>
                  <a:lnTo>
                    <a:pt x="231241" y="203237"/>
                  </a:lnTo>
                  <a:lnTo>
                    <a:pt x="245746" y="170285"/>
                  </a:lnTo>
                  <a:lnTo>
                    <a:pt x="241789" y="139676"/>
                  </a:lnTo>
                  <a:lnTo>
                    <a:pt x="251540" y="122348"/>
                  </a:lnTo>
                  <a:close/>
                  <a:moveTo>
                    <a:pt x="289900" y="0"/>
                  </a:moveTo>
                  <a:lnTo>
                    <a:pt x="317027" y="29715"/>
                  </a:lnTo>
                  <a:lnTo>
                    <a:pt x="334738" y="39246"/>
                  </a:lnTo>
                  <a:lnTo>
                    <a:pt x="350972" y="45273"/>
                  </a:lnTo>
                  <a:lnTo>
                    <a:pt x="367300" y="33279"/>
                  </a:lnTo>
                  <a:lnTo>
                    <a:pt x="372432" y="64938"/>
                  </a:lnTo>
                  <a:lnTo>
                    <a:pt x="338189" y="72605"/>
                  </a:lnTo>
                  <a:lnTo>
                    <a:pt x="317973" y="100254"/>
                  </a:lnTo>
                  <a:lnTo>
                    <a:pt x="281679" y="81251"/>
                  </a:lnTo>
                  <a:lnTo>
                    <a:pt x="269117" y="111612"/>
                  </a:lnTo>
                  <a:lnTo>
                    <a:pt x="243445" y="112027"/>
                  </a:lnTo>
                  <a:lnTo>
                    <a:pt x="240270" y="84457"/>
                  </a:lnTo>
                  <a:lnTo>
                    <a:pt x="251685" y="62941"/>
                  </a:lnTo>
                  <a:lnTo>
                    <a:pt x="276348" y="61381"/>
                  </a:lnTo>
                  <a:lnTo>
                    <a:pt x="283074" y="2227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8" name="Freeform 92">
              <a:extLst>
                <a:ext uri="{FF2B5EF4-FFF2-40B4-BE49-F238E27FC236}">
                  <a16:creationId xmlns:a16="http://schemas.microsoft.com/office/drawing/2014/main" id="{9FE0BCA1-DBA5-4AD5-959B-B0B88D0C3A66}"/>
                </a:ext>
              </a:extLst>
            </p:cNvPr>
            <p:cNvSpPr>
              <a:spLocks noChangeAspect="1"/>
            </p:cNvSpPr>
            <p:nvPr>
              <p:custDataLst>
                <p:tags r:id="rId100"/>
              </p:custDataLst>
            </p:nvPr>
          </p:nvSpPr>
          <p:spPr>
            <a:xfrm>
              <a:off x="5433256" y="3098966"/>
              <a:ext cx="943933" cy="435498"/>
            </a:xfrm>
            <a:custGeom>
              <a:avLst/>
              <a:gdLst/>
              <a:ahLst/>
              <a:cxnLst/>
              <a:rect l="0" t="0" r="0" b="0"/>
              <a:pathLst>
                <a:path w="943933" h="435498">
                  <a:moveTo>
                    <a:pt x="565431" y="391267"/>
                  </a:moveTo>
                  <a:lnTo>
                    <a:pt x="552196" y="396398"/>
                  </a:lnTo>
                  <a:lnTo>
                    <a:pt x="521751" y="415668"/>
                  </a:lnTo>
                  <a:lnTo>
                    <a:pt x="511652" y="435323"/>
                  </a:lnTo>
                  <a:lnTo>
                    <a:pt x="503051" y="435497"/>
                  </a:lnTo>
                  <a:lnTo>
                    <a:pt x="496726" y="422501"/>
                  </a:lnTo>
                  <a:lnTo>
                    <a:pt x="467369" y="421609"/>
                  </a:lnTo>
                  <a:lnTo>
                    <a:pt x="462674" y="398995"/>
                  </a:lnTo>
                  <a:lnTo>
                    <a:pt x="451427" y="398800"/>
                  </a:lnTo>
                  <a:lnTo>
                    <a:pt x="453149" y="370874"/>
                  </a:lnTo>
                  <a:lnTo>
                    <a:pt x="425515" y="350369"/>
                  </a:lnTo>
                  <a:lnTo>
                    <a:pt x="385928" y="352566"/>
                  </a:lnTo>
                  <a:lnTo>
                    <a:pt x="358863" y="356662"/>
                  </a:lnTo>
                  <a:lnTo>
                    <a:pt x="336820" y="331212"/>
                  </a:lnTo>
                  <a:lnTo>
                    <a:pt x="317930" y="320464"/>
                  </a:lnTo>
                  <a:lnTo>
                    <a:pt x="282153" y="300007"/>
                  </a:lnTo>
                  <a:lnTo>
                    <a:pt x="277839" y="297517"/>
                  </a:lnTo>
                  <a:lnTo>
                    <a:pt x="218420" y="314428"/>
                  </a:lnTo>
                  <a:lnTo>
                    <a:pt x="219326" y="417751"/>
                  </a:lnTo>
                  <a:lnTo>
                    <a:pt x="207486" y="419094"/>
                  </a:lnTo>
                  <a:lnTo>
                    <a:pt x="191331" y="397433"/>
                  </a:lnTo>
                  <a:lnTo>
                    <a:pt x="175728" y="389656"/>
                  </a:lnTo>
                  <a:lnTo>
                    <a:pt x="149526" y="395435"/>
                  </a:lnTo>
                  <a:lnTo>
                    <a:pt x="139328" y="404651"/>
                  </a:lnTo>
                  <a:lnTo>
                    <a:pt x="138032" y="397900"/>
                  </a:lnTo>
                  <a:lnTo>
                    <a:pt x="143706" y="386325"/>
                  </a:lnTo>
                  <a:lnTo>
                    <a:pt x="139304" y="376614"/>
                  </a:lnTo>
                  <a:lnTo>
                    <a:pt x="112551" y="367086"/>
                  </a:lnTo>
                  <a:lnTo>
                    <a:pt x="102138" y="341822"/>
                  </a:lnTo>
                  <a:lnTo>
                    <a:pt x="89392" y="334664"/>
                  </a:lnTo>
                  <a:lnTo>
                    <a:pt x="88619" y="325420"/>
                  </a:lnTo>
                  <a:lnTo>
                    <a:pt x="111075" y="328117"/>
                  </a:lnTo>
                  <a:lnTo>
                    <a:pt x="111962" y="307282"/>
                  </a:lnTo>
                  <a:lnTo>
                    <a:pt x="131593" y="302633"/>
                  </a:lnTo>
                  <a:lnTo>
                    <a:pt x="151756" y="306909"/>
                  </a:lnTo>
                  <a:lnTo>
                    <a:pt x="155911" y="278858"/>
                  </a:lnTo>
                  <a:lnTo>
                    <a:pt x="151799" y="260930"/>
                  </a:lnTo>
                  <a:lnTo>
                    <a:pt x="128699" y="262337"/>
                  </a:lnTo>
                  <a:lnTo>
                    <a:pt x="109077" y="255232"/>
                  </a:lnTo>
                  <a:lnTo>
                    <a:pt x="82351" y="268019"/>
                  </a:lnTo>
                  <a:lnTo>
                    <a:pt x="60816" y="274095"/>
                  </a:lnTo>
                  <a:lnTo>
                    <a:pt x="49093" y="269410"/>
                  </a:lnTo>
                  <a:lnTo>
                    <a:pt x="51435" y="254447"/>
                  </a:lnTo>
                  <a:lnTo>
                    <a:pt x="36721" y="234895"/>
                  </a:lnTo>
                  <a:lnTo>
                    <a:pt x="19593" y="235715"/>
                  </a:lnTo>
                  <a:lnTo>
                    <a:pt x="0" y="215724"/>
                  </a:lnTo>
                  <a:lnTo>
                    <a:pt x="13324" y="193207"/>
                  </a:lnTo>
                  <a:lnTo>
                    <a:pt x="6583" y="187114"/>
                  </a:lnTo>
                  <a:lnTo>
                    <a:pt x="25000" y="154044"/>
                  </a:lnTo>
                  <a:lnTo>
                    <a:pt x="48737" y="171553"/>
                  </a:lnTo>
                  <a:lnTo>
                    <a:pt x="51612" y="149482"/>
                  </a:lnTo>
                  <a:lnTo>
                    <a:pt x="99261" y="116257"/>
                  </a:lnTo>
                  <a:lnTo>
                    <a:pt x="135317" y="115461"/>
                  </a:lnTo>
                  <a:lnTo>
                    <a:pt x="186195" y="136670"/>
                  </a:lnTo>
                  <a:lnTo>
                    <a:pt x="213526" y="148979"/>
                  </a:lnTo>
                  <a:lnTo>
                    <a:pt x="238018" y="136142"/>
                  </a:lnTo>
                  <a:lnTo>
                    <a:pt x="274611" y="135529"/>
                  </a:lnTo>
                  <a:lnTo>
                    <a:pt x="304134" y="151293"/>
                  </a:lnTo>
                  <a:lnTo>
                    <a:pt x="310840" y="142278"/>
                  </a:lnTo>
                  <a:lnTo>
                    <a:pt x="343262" y="143590"/>
                  </a:lnTo>
                  <a:lnTo>
                    <a:pt x="349046" y="129143"/>
                  </a:lnTo>
                  <a:lnTo>
                    <a:pt x="311641" y="108013"/>
                  </a:lnTo>
                  <a:lnTo>
                    <a:pt x="333795" y="92938"/>
                  </a:lnTo>
                  <a:lnTo>
                    <a:pt x="329472" y="84467"/>
                  </a:lnTo>
                  <a:lnTo>
                    <a:pt x="351631" y="76355"/>
                  </a:lnTo>
                  <a:lnTo>
                    <a:pt x="334967" y="54855"/>
                  </a:lnTo>
                  <a:lnTo>
                    <a:pt x="345551" y="44072"/>
                  </a:lnTo>
                  <a:lnTo>
                    <a:pt x="431926" y="33027"/>
                  </a:lnTo>
                  <a:lnTo>
                    <a:pt x="443198" y="25155"/>
                  </a:lnTo>
                  <a:lnTo>
                    <a:pt x="500956" y="13345"/>
                  </a:lnTo>
                  <a:lnTo>
                    <a:pt x="521709" y="0"/>
                  </a:lnTo>
                  <a:lnTo>
                    <a:pt x="563190" y="6942"/>
                  </a:lnTo>
                  <a:lnTo>
                    <a:pt x="570459" y="40046"/>
                  </a:lnTo>
                  <a:lnTo>
                    <a:pt x="594557" y="32314"/>
                  </a:lnTo>
                  <a:lnTo>
                    <a:pt x="624204" y="43142"/>
                  </a:lnTo>
                  <a:lnTo>
                    <a:pt x="622292" y="60371"/>
                  </a:lnTo>
                  <a:lnTo>
                    <a:pt x="644432" y="58576"/>
                  </a:lnTo>
                  <a:lnTo>
                    <a:pt x="702283" y="28687"/>
                  </a:lnTo>
                  <a:lnTo>
                    <a:pt x="693836" y="38659"/>
                  </a:lnTo>
                  <a:lnTo>
                    <a:pt x="723284" y="63056"/>
                  </a:lnTo>
                  <a:lnTo>
                    <a:pt x="774865" y="141591"/>
                  </a:lnTo>
                  <a:lnTo>
                    <a:pt x="787165" y="125601"/>
                  </a:lnTo>
                  <a:lnTo>
                    <a:pt x="818963" y="143191"/>
                  </a:lnTo>
                  <a:lnTo>
                    <a:pt x="852133" y="135360"/>
                  </a:lnTo>
                  <a:lnTo>
                    <a:pt x="864877" y="140845"/>
                  </a:lnTo>
                  <a:lnTo>
                    <a:pt x="875986" y="158381"/>
                  </a:lnTo>
                  <a:lnTo>
                    <a:pt x="892125" y="164245"/>
                  </a:lnTo>
                  <a:lnTo>
                    <a:pt x="901952" y="177020"/>
                  </a:lnTo>
                  <a:lnTo>
                    <a:pt x="931684" y="172999"/>
                  </a:lnTo>
                  <a:lnTo>
                    <a:pt x="943932" y="191328"/>
                  </a:lnTo>
                  <a:lnTo>
                    <a:pt x="926362" y="211134"/>
                  </a:lnTo>
                  <a:lnTo>
                    <a:pt x="907191" y="213901"/>
                  </a:lnTo>
                  <a:lnTo>
                    <a:pt x="906088" y="243422"/>
                  </a:lnTo>
                  <a:lnTo>
                    <a:pt x="893250" y="256623"/>
                  </a:lnTo>
                  <a:lnTo>
                    <a:pt x="847459" y="247019"/>
                  </a:lnTo>
                  <a:lnTo>
                    <a:pt x="830803" y="298870"/>
                  </a:lnTo>
                  <a:lnTo>
                    <a:pt x="818988" y="305249"/>
                  </a:lnTo>
                  <a:lnTo>
                    <a:pt x="773262" y="316662"/>
                  </a:lnTo>
                  <a:lnTo>
                    <a:pt x="794039" y="365759"/>
                  </a:lnTo>
                  <a:lnTo>
                    <a:pt x="778203" y="373044"/>
                  </a:lnTo>
                  <a:lnTo>
                    <a:pt x="780046" y="388937"/>
                  </a:lnTo>
                  <a:lnTo>
                    <a:pt x="765819" y="384855"/>
                  </a:lnTo>
                  <a:lnTo>
                    <a:pt x="754243" y="374832"/>
                  </a:lnTo>
                  <a:lnTo>
                    <a:pt x="719994" y="371909"/>
                  </a:lnTo>
                  <a:lnTo>
                    <a:pt x="681722" y="371144"/>
                  </a:lnTo>
                  <a:lnTo>
                    <a:pt x="673334" y="374223"/>
                  </a:lnTo>
                  <a:lnTo>
                    <a:pt x="640462" y="362451"/>
                  </a:lnTo>
                  <a:lnTo>
                    <a:pt x="627361" y="368255"/>
                  </a:lnTo>
                  <a:lnTo>
                    <a:pt x="623771" y="384738"/>
                  </a:lnTo>
                  <a:lnTo>
                    <a:pt x="585797" y="375131"/>
                  </a:lnTo>
                  <a:lnTo>
                    <a:pt x="570600" y="37907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9" name="Freeform 93">
              <a:extLst>
                <a:ext uri="{FF2B5EF4-FFF2-40B4-BE49-F238E27FC236}">
                  <a16:creationId xmlns:a16="http://schemas.microsoft.com/office/drawing/2014/main" id="{FD6409CC-ED34-44B4-8346-2EBF39B3D077}"/>
                </a:ext>
              </a:extLst>
            </p:cNvPr>
            <p:cNvSpPr>
              <a:spLocks noChangeAspect="1"/>
            </p:cNvSpPr>
            <p:nvPr>
              <p:custDataLst>
                <p:tags r:id="rId101"/>
              </p:custDataLst>
            </p:nvPr>
          </p:nvSpPr>
          <p:spPr>
            <a:xfrm>
              <a:off x="5143041" y="4400752"/>
              <a:ext cx="183774" cy="235249"/>
            </a:xfrm>
            <a:custGeom>
              <a:avLst/>
              <a:gdLst/>
              <a:ahLst/>
              <a:cxnLst/>
              <a:rect l="0" t="0" r="0" b="0"/>
              <a:pathLst>
                <a:path w="183774" h="235249">
                  <a:moveTo>
                    <a:pt x="163873" y="147031"/>
                  </a:moveTo>
                  <a:lnTo>
                    <a:pt x="177542" y="166076"/>
                  </a:lnTo>
                  <a:lnTo>
                    <a:pt x="161375" y="175296"/>
                  </a:lnTo>
                  <a:lnTo>
                    <a:pt x="155676" y="184932"/>
                  </a:lnTo>
                  <a:lnTo>
                    <a:pt x="147024" y="186625"/>
                  </a:lnTo>
                  <a:lnTo>
                    <a:pt x="143750" y="202903"/>
                  </a:lnTo>
                  <a:lnTo>
                    <a:pt x="136337" y="212227"/>
                  </a:lnTo>
                  <a:lnTo>
                    <a:pt x="131832" y="227610"/>
                  </a:lnTo>
                  <a:lnTo>
                    <a:pt x="122538" y="235248"/>
                  </a:lnTo>
                  <a:lnTo>
                    <a:pt x="89407" y="212133"/>
                  </a:lnTo>
                  <a:lnTo>
                    <a:pt x="87832" y="198728"/>
                  </a:lnTo>
                  <a:lnTo>
                    <a:pt x="4133" y="151683"/>
                  </a:lnTo>
                  <a:lnTo>
                    <a:pt x="234" y="149148"/>
                  </a:lnTo>
                  <a:lnTo>
                    <a:pt x="0" y="124684"/>
                  </a:lnTo>
                  <a:lnTo>
                    <a:pt x="6611" y="115331"/>
                  </a:lnTo>
                  <a:lnTo>
                    <a:pt x="17970" y="100050"/>
                  </a:lnTo>
                  <a:lnTo>
                    <a:pt x="26370" y="83222"/>
                  </a:lnTo>
                  <a:lnTo>
                    <a:pt x="16215" y="56709"/>
                  </a:lnTo>
                  <a:lnTo>
                    <a:pt x="13516" y="45112"/>
                  </a:lnTo>
                  <a:lnTo>
                    <a:pt x="2572" y="29062"/>
                  </a:lnTo>
                  <a:lnTo>
                    <a:pt x="16772" y="15249"/>
                  </a:lnTo>
                  <a:lnTo>
                    <a:pt x="32418" y="0"/>
                  </a:lnTo>
                  <a:lnTo>
                    <a:pt x="44408" y="3884"/>
                  </a:lnTo>
                  <a:lnTo>
                    <a:pt x="44408" y="16872"/>
                  </a:lnTo>
                  <a:lnTo>
                    <a:pt x="52294" y="24484"/>
                  </a:lnTo>
                  <a:lnTo>
                    <a:pt x="68360" y="24484"/>
                  </a:lnTo>
                  <a:lnTo>
                    <a:pt x="97578" y="44118"/>
                  </a:lnTo>
                  <a:lnTo>
                    <a:pt x="104874" y="44351"/>
                  </a:lnTo>
                  <a:lnTo>
                    <a:pt x="110279" y="43715"/>
                  </a:lnTo>
                  <a:lnTo>
                    <a:pt x="115389" y="46380"/>
                  </a:lnTo>
                  <a:lnTo>
                    <a:pt x="130782" y="48198"/>
                  </a:lnTo>
                  <a:lnTo>
                    <a:pt x="137604" y="38567"/>
                  </a:lnTo>
                  <a:lnTo>
                    <a:pt x="158691" y="28897"/>
                  </a:lnTo>
                  <a:lnTo>
                    <a:pt x="168001" y="36710"/>
                  </a:lnTo>
                  <a:lnTo>
                    <a:pt x="183773" y="36714"/>
                  </a:lnTo>
                  <a:lnTo>
                    <a:pt x="163598" y="6292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0" name="Freeform 94">
              <a:extLst>
                <a:ext uri="{FF2B5EF4-FFF2-40B4-BE49-F238E27FC236}">
                  <a16:creationId xmlns:a16="http://schemas.microsoft.com/office/drawing/2014/main" id="{C9C4B6DE-4F87-454A-86A5-4542DA34A425}"/>
                </a:ext>
              </a:extLst>
            </p:cNvPr>
            <p:cNvSpPr>
              <a:spLocks noChangeAspect="1"/>
            </p:cNvSpPr>
            <p:nvPr>
              <p:custDataLst>
                <p:tags r:id="rId102"/>
              </p:custDataLst>
            </p:nvPr>
          </p:nvSpPr>
          <p:spPr>
            <a:xfrm>
              <a:off x="5964122" y="3461417"/>
              <a:ext cx="249181" cy="110678"/>
            </a:xfrm>
            <a:custGeom>
              <a:avLst/>
              <a:gdLst/>
              <a:ahLst/>
              <a:cxnLst/>
              <a:rect l="0" t="0" r="0" b="0"/>
              <a:pathLst>
                <a:path w="249181" h="110678">
                  <a:moveTo>
                    <a:pt x="34565" y="28816"/>
                  </a:moveTo>
                  <a:lnTo>
                    <a:pt x="39734" y="16619"/>
                  </a:lnTo>
                  <a:lnTo>
                    <a:pt x="54931" y="12680"/>
                  </a:lnTo>
                  <a:lnTo>
                    <a:pt x="92905" y="22287"/>
                  </a:lnTo>
                  <a:lnTo>
                    <a:pt x="96495" y="5804"/>
                  </a:lnTo>
                  <a:lnTo>
                    <a:pt x="109596" y="0"/>
                  </a:lnTo>
                  <a:lnTo>
                    <a:pt x="142468" y="11772"/>
                  </a:lnTo>
                  <a:lnTo>
                    <a:pt x="150856" y="8693"/>
                  </a:lnTo>
                  <a:lnTo>
                    <a:pt x="189128" y="9458"/>
                  </a:lnTo>
                  <a:lnTo>
                    <a:pt x="223377" y="12381"/>
                  </a:lnTo>
                  <a:lnTo>
                    <a:pt x="234953" y="22404"/>
                  </a:lnTo>
                  <a:lnTo>
                    <a:pt x="249180" y="26486"/>
                  </a:lnTo>
                  <a:lnTo>
                    <a:pt x="245935" y="32764"/>
                  </a:lnTo>
                  <a:lnTo>
                    <a:pt x="209562" y="47756"/>
                  </a:lnTo>
                  <a:lnTo>
                    <a:pt x="201334" y="58694"/>
                  </a:lnTo>
                  <a:lnTo>
                    <a:pt x="171726" y="61961"/>
                  </a:lnTo>
                  <a:lnTo>
                    <a:pt x="162998" y="79456"/>
                  </a:lnTo>
                  <a:lnTo>
                    <a:pt x="138564" y="75790"/>
                  </a:lnTo>
                  <a:lnTo>
                    <a:pt x="122615" y="81137"/>
                  </a:lnTo>
                  <a:lnTo>
                    <a:pt x="100580" y="94011"/>
                  </a:lnTo>
                  <a:lnTo>
                    <a:pt x="103760" y="100366"/>
                  </a:lnTo>
                  <a:lnTo>
                    <a:pt x="97189" y="106569"/>
                  </a:lnTo>
                  <a:lnTo>
                    <a:pt x="53547" y="110677"/>
                  </a:lnTo>
                  <a:lnTo>
                    <a:pt x="25028" y="101881"/>
                  </a:lnTo>
                  <a:lnTo>
                    <a:pt x="0" y="103982"/>
                  </a:lnTo>
                  <a:lnTo>
                    <a:pt x="2186" y="88316"/>
                  </a:lnTo>
                  <a:lnTo>
                    <a:pt x="27310" y="92874"/>
                  </a:lnTo>
                  <a:lnTo>
                    <a:pt x="35762" y="84468"/>
                  </a:lnTo>
                  <a:lnTo>
                    <a:pt x="53320" y="87154"/>
                  </a:lnTo>
                  <a:lnTo>
                    <a:pt x="82879" y="67464"/>
                  </a:lnTo>
                  <a:lnTo>
                    <a:pt x="55519" y="52979"/>
                  </a:lnTo>
                  <a:lnTo>
                    <a:pt x="39078" y="59841"/>
                  </a:lnTo>
                  <a:lnTo>
                    <a:pt x="22047" y="49474"/>
                  </a:lnTo>
                  <a:lnTo>
                    <a:pt x="41418" y="3155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1" name="Freeform 95">
              <a:extLst>
                <a:ext uri="{FF2B5EF4-FFF2-40B4-BE49-F238E27FC236}">
                  <a16:creationId xmlns:a16="http://schemas.microsoft.com/office/drawing/2014/main" id="{420FF451-3BD6-43ED-AE8A-1478E700552D}"/>
                </a:ext>
              </a:extLst>
            </p:cNvPr>
            <p:cNvSpPr>
              <a:spLocks noChangeAspect="1"/>
            </p:cNvSpPr>
            <p:nvPr>
              <p:custDataLst>
                <p:tags r:id="rId103"/>
              </p:custDataLst>
            </p:nvPr>
          </p:nvSpPr>
          <p:spPr>
            <a:xfrm>
              <a:off x="6723155" y="4189298"/>
              <a:ext cx="121564" cy="95746"/>
            </a:xfrm>
            <a:custGeom>
              <a:avLst/>
              <a:gdLst/>
              <a:ahLst/>
              <a:cxnLst/>
              <a:rect l="0" t="0" r="0" b="0"/>
              <a:pathLst>
                <a:path w="121564" h="95746">
                  <a:moveTo>
                    <a:pt x="26525" y="92338"/>
                  </a:moveTo>
                  <a:lnTo>
                    <a:pt x="17141" y="80169"/>
                  </a:lnTo>
                  <a:lnTo>
                    <a:pt x="5466" y="56006"/>
                  </a:lnTo>
                  <a:lnTo>
                    <a:pt x="0" y="27679"/>
                  </a:lnTo>
                  <a:lnTo>
                    <a:pt x="14779" y="8124"/>
                  </a:lnTo>
                  <a:lnTo>
                    <a:pt x="44626" y="3625"/>
                  </a:lnTo>
                  <a:lnTo>
                    <a:pt x="66262" y="7006"/>
                  </a:lnTo>
                  <a:lnTo>
                    <a:pt x="85309" y="16235"/>
                  </a:lnTo>
                  <a:lnTo>
                    <a:pt x="95753" y="0"/>
                  </a:lnTo>
                  <a:lnTo>
                    <a:pt x="116212" y="8672"/>
                  </a:lnTo>
                  <a:lnTo>
                    <a:pt x="121563" y="24360"/>
                  </a:lnTo>
                  <a:lnTo>
                    <a:pt x="118720" y="52478"/>
                  </a:lnTo>
                  <a:lnTo>
                    <a:pt x="79921" y="70492"/>
                  </a:lnTo>
                  <a:lnTo>
                    <a:pt x="90059" y="84651"/>
                  </a:lnTo>
                  <a:lnTo>
                    <a:pt x="65827" y="86344"/>
                  </a:lnTo>
                  <a:lnTo>
                    <a:pt x="45847" y="9574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2" name="Freeform 96">
              <a:extLst>
                <a:ext uri="{FF2B5EF4-FFF2-40B4-BE49-F238E27FC236}">
                  <a16:creationId xmlns:a16="http://schemas.microsoft.com/office/drawing/2014/main" id="{C9CF3903-82DC-432A-876F-6CE1B8227E82}"/>
                </a:ext>
              </a:extLst>
            </p:cNvPr>
            <p:cNvSpPr>
              <a:spLocks noChangeAspect="1"/>
            </p:cNvSpPr>
            <p:nvPr>
              <p:custDataLst>
                <p:tags r:id="rId104"/>
              </p:custDataLst>
            </p:nvPr>
          </p:nvSpPr>
          <p:spPr>
            <a:xfrm>
              <a:off x="7271814" y="3590091"/>
              <a:ext cx="77348" cy="111676"/>
            </a:xfrm>
            <a:custGeom>
              <a:avLst/>
              <a:gdLst/>
              <a:ahLst/>
              <a:cxnLst/>
              <a:rect l="0" t="0" r="0" b="0"/>
              <a:pathLst>
                <a:path w="77348" h="111676">
                  <a:moveTo>
                    <a:pt x="51527" y="0"/>
                  </a:moveTo>
                  <a:lnTo>
                    <a:pt x="71453" y="31582"/>
                  </a:lnTo>
                  <a:lnTo>
                    <a:pt x="77166" y="48805"/>
                  </a:lnTo>
                  <a:lnTo>
                    <a:pt x="77347" y="79200"/>
                  </a:lnTo>
                  <a:lnTo>
                    <a:pt x="68646" y="93608"/>
                  </a:lnTo>
                  <a:lnTo>
                    <a:pt x="47745" y="98630"/>
                  </a:lnTo>
                  <a:lnTo>
                    <a:pt x="29295" y="109446"/>
                  </a:lnTo>
                  <a:lnTo>
                    <a:pt x="8502" y="111675"/>
                  </a:lnTo>
                  <a:lnTo>
                    <a:pt x="5921" y="97475"/>
                  </a:lnTo>
                  <a:lnTo>
                    <a:pt x="10198" y="77823"/>
                  </a:lnTo>
                  <a:lnTo>
                    <a:pt x="0" y="50360"/>
                  </a:lnTo>
                  <a:lnTo>
                    <a:pt x="17144" y="45896"/>
                  </a:lnTo>
                  <a:lnTo>
                    <a:pt x="1323" y="23119"/>
                  </a:lnTo>
                  <a:lnTo>
                    <a:pt x="2768" y="20696"/>
                  </a:lnTo>
                  <a:lnTo>
                    <a:pt x="13072" y="21647"/>
                  </a:lnTo>
                  <a:lnTo>
                    <a:pt x="22064" y="9565"/>
                  </a:lnTo>
                  <a:lnTo>
                    <a:pt x="38378" y="8266"/>
                  </a:lnTo>
                  <a:lnTo>
                    <a:pt x="48204" y="649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3" name="Freeform 97">
              <a:extLst>
                <a:ext uri="{FF2B5EF4-FFF2-40B4-BE49-F238E27FC236}">
                  <a16:creationId xmlns:a16="http://schemas.microsoft.com/office/drawing/2014/main" id="{36D090A8-181E-4B3C-A22F-2009E0ECCB5B}"/>
                </a:ext>
              </a:extLst>
            </p:cNvPr>
            <p:cNvSpPr>
              <a:spLocks noChangeAspect="1"/>
            </p:cNvSpPr>
            <p:nvPr>
              <p:custDataLst>
                <p:tags r:id="rId105"/>
              </p:custDataLst>
            </p:nvPr>
          </p:nvSpPr>
          <p:spPr>
            <a:xfrm>
              <a:off x="4823972" y="3462154"/>
              <a:ext cx="39342" cy="39699"/>
            </a:xfrm>
            <a:custGeom>
              <a:avLst/>
              <a:gdLst/>
              <a:ahLst/>
              <a:cxnLst/>
              <a:rect l="0" t="0" r="0" b="0"/>
              <a:pathLst>
                <a:path w="39342" h="39699">
                  <a:moveTo>
                    <a:pt x="15960" y="34026"/>
                  </a:moveTo>
                  <a:lnTo>
                    <a:pt x="14925" y="39698"/>
                  </a:lnTo>
                  <a:lnTo>
                    <a:pt x="11992" y="39468"/>
                  </a:lnTo>
                  <a:lnTo>
                    <a:pt x="10439" y="29420"/>
                  </a:lnTo>
                  <a:lnTo>
                    <a:pt x="4917" y="26576"/>
                  </a:lnTo>
                  <a:lnTo>
                    <a:pt x="0" y="19106"/>
                  </a:lnTo>
                  <a:lnTo>
                    <a:pt x="4314" y="12854"/>
                  </a:lnTo>
                  <a:lnTo>
                    <a:pt x="9835" y="10845"/>
                  </a:lnTo>
                  <a:lnTo>
                    <a:pt x="13027" y="1552"/>
                  </a:lnTo>
                  <a:lnTo>
                    <a:pt x="17168" y="0"/>
                  </a:lnTo>
                  <a:lnTo>
                    <a:pt x="20447" y="3955"/>
                  </a:lnTo>
                  <a:lnTo>
                    <a:pt x="24761" y="5699"/>
                  </a:lnTo>
                  <a:lnTo>
                    <a:pt x="27780" y="10149"/>
                  </a:lnTo>
                  <a:lnTo>
                    <a:pt x="31576" y="11463"/>
                  </a:lnTo>
                  <a:lnTo>
                    <a:pt x="36062" y="16638"/>
                  </a:lnTo>
                  <a:lnTo>
                    <a:pt x="39341" y="16484"/>
                  </a:lnTo>
                  <a:lnTo>
                    <a:pt x="36753" y="23267"/>
                  </a:lnTo>
                  <a:lnTo>
                    <a:pt x="33992" y="26576"/>
                  </a:lnTo>
                  <a:lnTo>
                    <a:pt x="34761" y="28660"/>
                  </a:lnTo>
                  <a:lnTo>
                    <a:pt x="29592" y="2972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4" name="Freeform 98">
              <a:extLst>
                <a:ext uri="{FF2B5EF4-FFF2-40B4-BE49-F238E27FC236}">
                  <a16:creationId xmlns:a16="http://schemas.microsoft.com/office/drawing/2014/main" id="{E37992EE-598A-4E16-B7C7-F98D734D7725}"/>
                </a:ext>
              </a:extLst>
            </p:cNvPr>
            <p:cNvSpPr>
              <a:spLocks noChangeAspect="1"/>
            </p:cNvSpPr>
            <p:nvPr>
              <p:custDataLst>
                <p:tags r:id="rId106"/>
              </p:custDataLst>
            </p:nvPr>
          </p:nvSpPr>
          <p:spPr>
            <a:xfrm>
              <a:off x="5435617" y="3812811"/>
              <a:ext cx="42643" cy="38569"/>
            </a:xfrm>
            <a:custGeom>
              <a:avLst/>
              <a:gdLst/>
              <a:ahLst/>
              <a:cxnLst/>
              <a:rect l="0" t="0" r="0" b="0"/>
              <a:pathLst>
                <a:path w="42643" h="38569">
                  <a:moveTo>
                    <a:pt x="32450" y="2104"/>
                  </a:moveTo>
                  <a:lnTo>
                    <a:pt x="37266" y="13238"/>
                  </a:lnTo>
                  <a:lnTo>
                    <a:pt x="35206" y="18983"/>
                  </a:lnTo>
                  <a:lnTo>
                    <a:pt x="42642" y="37918"/>
                  </a:lnTo>
                  <a:lnTo>
                    <a:pt x="26317" y="38568"/>
                  </a:lnTo>
                  <a:lnTo>
                    <a:pt x="20569" y="26619"/>
                  </a:lnTo>
                  <a:lnTo>
                    <a:pt x="0" y="24195"/>
                  </a:lnTo>
                  <a:lnTo>
                    <a:pt x="16940"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5" name="Freeform 99">
              <a:extLst>
                <a:ext uri="{FF2B5EF4-FFF2-40B4-BE49-F238E27FC236}">
                  <a16:creationId xmlns:a16="http://schemas.microsoft.com/office/drawing/2014/main" id="{AF54E66C-DDBD-4F4C-B9A3-6E4D198F54FE}"/>
                </a:ext>
              </a:extLst>
            </p:cNvPr>
            <p:cNvSpPr>
              <a:spLocks noChangeAspect="1"/>
            </p:cNvSpPr>
            <p:nvPr>
              <p:custDataLst>
                <p:tags r:id="rId107"/>
              </p:custDataLst>
            </p:nvPr>
          </p:nvSpPr>
          <p:spPr>
            <a:xfrm>
              <a:off x="6671632" y="4000706"/>
              <a:ext cx="171933" cy="204828"/>
            </a:xfrm>
            <a:custGeom>
              <a:avLst/>
              <a:gdLst/>
              <a:ahLst/>
              <a:cxnLst/>
              <a:rect l="0" t="0" r="0" b="0"/>
              <a:pathLst>
                <a:path w="171933" h="204828">
                  <a:moveTo>
                    <a:pt x="117785" y="195598"/>
                  </a:moveTo>
                  <a:lnTo>
                    <a:pt x="125300" y="184977"/>
                  </a:lnTo>
                  <a:lnTo>
                    <a:pt x="126332" y="164995"/>
                  </a:lnTo>
                  <a:lnTo>
                    <a:pt x="107642" y="144364"/>
                  </a:lnTo>
                  <a:lnTo>
                    <a:pt x="106202" y="120929"/>
                  </a:lnTo>
                  <a:lnTo>
                    <a:pt x="88648" y="101587"/>
                  </a:lnTo>
                  <a:lnTo>
                    <a:pt x="71191" y="99949"/>
                  </a:lnTo>
                  <a:lnTo>
                    <a:pt x="66540" y="108245"/>
                  </a:lnTo>
                  <a:lnTo>
                    <a:pt x="53020" y="108934"/>
                  </a:lnTo>
                  <a:lnTo>
                    <a:pt x="46110" y="104731"/>
                  </a:lnTo>
                  <a:lnTo>
                    <a:pt x="21780" y="118940"/>
                  </a:lnTo>
                  <a:lnTo>
                    <a:pt x="21234" y="97580"/>
                  </a:lnTo>
                  <a:lnTo>
                    <a:pt x="26914" y="72382"/>
                  </a:lnTo>
                  <a:lnTo>
                    <a:pt x="11317" y="71286"/>
                  </a:lnTo>
                  <a:lnTo>
                    <a:pt x="9992" y="56868"/>
                  </a:lnTo>
                  <a:lnTo>
                    <a:pt x="0" y="49449"/>
                  </a:lnTo>
                  <a:lnTo>
                    <a:pt x="4919" y="40584"/>
                  </a:lnTo>
                  <a:lnTo>
                    <a:pt x="24560" y="24893"/>
                  </a:lnTo>
                  <a:lnTo>
                    <a:pt x="26637" y="30565"/>
                  </a:lnTo>
                  <a:lnTo>
                    <a:pt x="38943" y="31223"/>
                  </a:lnTo>
                  <a:lnTo>
                    <a:pt x="35455" y="3555"/>
                  </a:lnTo>
                  <a:lnTo>
                    <a:pt x="47421" y="0"/>
                  </a:lnTo>
                  <a:lnTo>
                    <a:pt x="60912" y="19127"/>
                  </a:lnTo>
                  <a:lnTo>
                    <a:pt x="71276" y="41055"/>
                  </a:lnTo>
                  <a:lnTo>
                    <a:pt x="99693" y="41244"/>
                  </a:lnTo>
                  <a:lnTo>
                    <a:pt x="108640" y="62213"/>
                  </a:lnTo>
                  <a:lnTo>
                    <a:pt x="93886" y="68497"/>
                  </a:lnTo>
                  <a:lnTo>
                    <a:pt x="87264" y="77111"/>
                  </a:lnTo>
                  <a:lnTo>
                    <a:pt x="114919" y="91418"/>
                  </a:lnTo>
                  <a:lnTo>
                    <a:pt x="134105" y="119586"/>
                  </a:lnTo>
                  <a:lnTo>
                    <a:pt x="148652" y="140513"/>
                  </a:lnTo>
                  <a:lnTo>
                    <a:pt x="166119" y="156996"/>
                  </a:lnTo>
                  <a:lnTo>
                    <a:pt x="171932" y="173693"/>
                  </a:lnTo>
                  <a:lnTo>
                    <a:pt x="167735" y="197264"/>
                  </a:lnTo>
                  <a:lnTo>
                    <a:pt x="147276" y="188592"/>
                  </a:lnTo>
                  <a:lnTo>
                    <a:pt x="136832" y="20482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6" name="Freeform 100">
              <a:extLst>
                <a:ext uri="{FF2B5EF4-FFF2-40B4-BE49-F238E27FC236}">
                  <a16:creationId xmlns:a16="http://schemas.microsoft.com/office/drawing/2014/main" id="{76808B49-F9D9-4A79-8C2E-AC889A3EC7A6}"/>
                </a:ext>
              </a:extLst>
            </p:cNvPr>
            <p:cNvSpPr>
              <a:spLocks noChangeAspect="1"/>
            </p:cNvSpPr>
            <p:nvPr>
              <p:custDataLst>
                <p:tags r:id="rId108"/>
              </p:custDataLst>
            </p:nvPr>
          </p:nvSpPr>
          <p:spPr>
            <a:xfrm>
              <a:off x="5171490" y="3695127"/>
              <a:ext cx="34295" cy="40343"/>
            </a:xfrm>
            <a:custGeom>
              <a:avLst/>
              <a:gdLst/>
              <a:ahLst/>
              <a:cxnLst/>
              <a:rect l="0" t="0" r="0" b="0"/>
              <a:pathLst>
                <a:path w="34295" h="40343">
                  <a:moveTo>
                    <a:pt x="16043" y="35481"/>
                  </a:moveTo>
                  <a:lnTo>
                    <a:pt x="9850" y="35820"/>
                  </a:lnTo>
                  <a:lnTo>
                    <a:pt x="7724" y="40342"/>
                  </a:lnTo>
                  <a:lnTo>
                    <a:pt x="0" y="40293"/>
                  </a:lnTo>
                  <a:lnTo>
                    <a:pt x="8221" y="19229"/>
                  </a:lnTo>
                  <a:lnTo>
                    <a:pt x="19702" y="909"/>
                  </a:lnTo>
                  <a:lnTo>
                    <a:pt x="20136" y="0"/>
                  </a:lnTo>
                  <a:lnTo>
                    <a:pt x="30518" y="1329"/>
                  </a:lnTo>
                  <a:lnTo>
                    <a:pt x="34294" y="11535"/>
                  </a:lnTo>
                  <a:lnTo>
                    <a:pt x="21707" y="213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7" name="Freeform 101">
              <a:extLst>
                <a:ext uri="{FF2B5EF4-FFF2-40B4-BE49-F238E27FC236}">
                  <a16:creationId xmlns:a16="http://schemas.microsoft.com/office/drawing/2014/main" id="{20672DB1-941A-454A-829A-D517B5F46767}"/>
                </a:ext>
              </a:extLst>
            </p:cNvPr>
            <p:cNvSpPr>
              <a:spLocks noChangeAspect="1"/>
            </p:cNvSpPr>
            <p:nvPr>
              <p:custDataLst>
                <p:tags r:id="rId109"/>
              </p:custDataLst>
            </p:nvPr>
          </p:nvSpPr>
          <p:spPr>
            <a:xfrm>
              <a:off x="4096649" y="4330351"/>
              <a:ext cx="90001" cy="97016"/>
            </a:xfrm>
            <a:custGeom>
              <a:avLst/>
              <a:gdLst/>
              <a:ahLst/>
              <a:cxnLst/>
              <a:rect l="0" t="0" r="0" b="0"/>
              <a:pathLst>
                <a:path w="90001" h="97016">
                  <a:moveTo>
                    <a:pt x="86020" y="96811"/>
                  </a:moveTo>
                  <a:lnTo>
                    <a:pt x="79974" y="97015"/>
                  </a:lnTo>
                  <a:lnTo>
                    <a:pt x="56183" y="85990"/>
                  </a:lnTo>
                  <a:lnTo>
                    <a:pt x="35209" y="68374"/>
                  </a:lnTo>
                  <a:lnTo>
                    <a:pt x="15543" y="55701"/>
                  </a:lnTo>
                  <a:lnTo>
                    <a:pt x="0" y="40748"/>
                  </a:lnTo>
                  <a:lnTo>
                    <a:pt x="5516" y="33328"/>
                  </a:lnTo>
                  <a:lnTo>
                    <a:pt x="6742" y="26580"/>
                  </a:lnTo>
                  <a:lnTo>
                    <a:pt x="17155" y="13979"/>
                  </a:lnTo>
                  <a:lnTo>
                    <a:pt x="27900" y="3135"/>
                  </a:lnTo>
                  <a:lnTo>
                    <a:pt x="32828" y="2617"/>
                  </a:lnTo>
                  <a:lnTo>
                    <a:pt x="38858" y="0"/>
                  </a:lnTo>
                  <a:lnTo>
                    <a:pt x="48508" y="14233"/>
                  </a:lnTo>
                  <a:lnTo>
                    <a:pt x="46983" y="23558"/>
                  </a:lnTo>
                  <a:lnTo>
                    <a:pt x="51474" y="28500"/>
                  </a:lnTo>
                  <a:lnTo>
                    <a:pt x="58000" y="28614"/>
                  </a:lnTo>
                  <a:lnTo>
                    <a:pt x="62708" y="19268"/>
                  </a:lnTo>
                  <a:lnTo>
                    <a:pt x="69236" y="19864"/>
                  </a:lnTo>
                  <a:lnTo>
                    <a:pt x="68171" y="26614"/>
                  </a:lnTo>
                  <a:lnTo>
                    <a:pt x="70479" y="37828"/>
                  </a:lnTo>
                  <a:lnTo>
                    <a:pt x="65460" y="48127"/>
                  </a:lnTo>
                  <a:lnTo>
                    <a:pt x="72189" y="54489"/>
                  </a:lnTo>
                  <a:lnTo>
                    <a:pt x="79522" y="56038"/>
                  </a:lnTo>
                  <a:lnTo>
                    <a:pt x="89298" y="65739"/>
                  </a:lnTo>
                  <a:lnTo>
                    <a:pt x="90000" y="74861"/>
                  </a:lnTo>
                  <a:lnTo>
                    <a:pt x="87793" y="7775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8" name="Freeform 102">
              <a:extLst>
                <a:ext uri="{FF2B5EF4-FFF2-40B4-BE49-F238E27FC236}">
                  <a16:creationId xmlns:a16="http://schemas.microsoft.com/office/drawing/2014/main" id="{E9AA272B-4656-46BE-8358-D62AE811069F}"/>
                </a:ext>
              </a:extLst>
            </p:cNvPr>
            <p:cNvSpPr>
              <a:spLocks noChangeAspect="1"/>
            </p:cNvSpPr>
            <p:nvPr>
              <p:custDataLst>
                <p:tags r:id="rId110"/>
              </p:custDataLst>
            </p:nvPr>
          </p:nvSpPr>
          <p:spPr>
            <a:xfrm>
              <a:off x="4575803" y="3734232"/>
              <a:ext cx="365756" cy="336032"/>
            </a:xfrm>
            <a:custGeom>
              <a:avLst/>
              <a:gdLst/>
              <a:ahLst/>
              <a:cxnLst/>
              <a:rect l="0" t="0" r="0" b="0"/>
              <a:pathLst>
                <a:path w="365756" h="336032">
                  <a:moveTo>
                    <a:pt x="127691" y="256802"/>
                  </a:moveTo>
                  <a:lnTo>
                    <a:pt x="111362" y="265830"/>
                  </a:lnTo>
                  <a:lnTo>
                    <a:pt x="98379" y="252484"/>
                  </a:lnTo>
                  <a:lnTo>
                    <a:pt x="61864" y="241982"/>
                  </a:lnTo>
                  <a:lnTo>
                    <a:pt x="51735" y="226692"/>
                  </a:lnTo>
                  <a:lnTo>
                    <a:pt x="33515" y="215317"/>
                  </a:lnTo>
                  <a:lnTo>
                    <a:pt x="22724" y="219805"/>
                  </a:lnTo>
                  <a:lnTo>
                    <a:pt x="14516" y="206131"/>
                  </a:lnTo>
                  <a:lnTo>
                    <a:pt x="13649" y="195597"/>
                  </a:lnTo>
                  <a:lnTo>
                    <a:pt x="0" y="177625"/>
                  </a:lnTo>
                  <a:lnTo>
                    <a:pt x="9161" y="167290"/>
                  </a:lnTo>
                  <a:lnTo>
                    <a:pt x="7148" y="151696"/>
                  </a:lnTo>
                  <a:lnTo>
                    <a:pt x="10081" y="138077"/>
                  </a:lnTo>
                  <a:lnTo>
                    <a:pt x="8413" y="126700"/>
                  </a:lnTo>
                  <a:lnTo>
                    <a:pt x="12479" y="106266"/>
                  </a:lnTo>
                  <a:lnTo>
                    <a:pt x="11224" y="94584"/>
                  </a:lnTo>
                  <a:lnTo>
                    <a:pt x="3757" y="72293"/>
                  </a:lnTo>
                  <a:lnTo>
                    <a:pt x="15018" y="66422"/>
                  </a:lnTo>
                  <a:lnTo>
                    <a:pt x="17016" y="55695"/>
                  </a:lnTo>
                  <a:lnTo>
                    <a:pt x="14561" y="45150"/>
                  </a:lnTo>
                  <a:lnTo>
                    <a:pt x="30412" y="35316"/>
                  </a:lnTo>
                  <a:lnTo>
                    <a:pt x="37519" y="27119"/>
                  </a:lnTo>
                  <a:lnTo>
                    <a:pt x="48771" y="19760"/>
                  </a:lnTo>
                  <a:lnTo>
                    <a:pt x="50075" y="0"/>
                  </a:lnTo>
                  <a:lnTo>
                    <a:pt x="77187" y="8868"/>
                  </a:lnTo>
                  <a:lnTo>
                    <a:pt x="86880" y="6653"/>
                  </a:lnTo>
                  <a:lnTo>
                    <a:pt x="106164" y="10947"/>
                  </a:lnTo>
                  <a:lnTo>
                    <a:pt x="136793" y="22423"/>
                  </a:lnTo>
                  <a:lnTo>
                    <a:pt x="147603" y="45146"/>
                  </a:lnTo>
                  <a:lnTo>
                    <a:pt x="168324" y="50090"/>
                  </a:lnTo>
                  <a:lnTo>
                    <a:pt x="200859" y="60732"/>
                  </a:lnTo>
                  <a:lnTo>
                    <a:pt x="225449" y="73335"/>
                  </a:lnTo>
                  <a:lnTo>
                    <a:pt x="236705" y="66764"/>
                  </a:lnTo>
                  <a:lnTo>
                    <a:pt x="247768" y="55087"/>
                  </a:lnTo>
                  <a:lnTo>
                    <a:pt x="242390" y="35562"/>
                  </a:lnTo>
                  <a:lnTo>
                    <a:pt x="249629" y="23112"/>
                  </a:lnTo>
                  <a:lnTo>
                    <a:pt x="266262" y="11080"/>
                  </a:lnTo>
                  <a:lnTo>
                    <a:pt x="282153" y="7571"/>
                  </a:lnTo>
                  <a:lnTo>
                    <a:pt x="313379" y="12834"/>
                  </a:lnTo>
                  <a:lnTo>
                    <a:pt x="321251" y="24310"/>
                  </a:lnTo>
                  <a:lnTo>
                    <a:pt x="329845" y="24418"/>
                  </a:lnTo>
                  <a:lnTo>
                    <a:pt x="337194" y="28787"/>
                  </a:lnTo>
                  <a:lnTo>
                    <a:pt x="360130" y="31789"/>
                  </a:lnTo>
                  <a:lnTo>
                    <a:pt x="365755" y="40226"/>
                  </a:lnTo>
                  <a:lnTo>
                    <a:pt x="357400" y="52454"/>
                  </a:lnTo>
                  <a:lnTo>
                    <a:pt x="360972" y="63320"/>
                  </a:lnTo>
                  <a:lnTo>
                    <a:pt x="355027" y="78955"/>
                  </a:lnTo>
                  <a:lnTo>
                    <a:pt x="361950" y="99264"/>
                  </a:lnTo>
                  <a:lnTo>
                    <a:pt x="361950" y="187788"/>
                  </a:lnTo>
                  <a:lnTo>
                    <a:pt x="361950" y="277740"/>
                  </a:lnTo>
                  <a:lnTo>
                    <a:pt x="361950" y="325892"/>
                  </a:lnTo>
                  <a:lnTo>
                    <a:pt x="335405" y="325965"/>
                  </a:lnTo>
                  <a:lnTo>
                    <a:pt x="335120" y="336031"/>
                  </a:lnTo>
                  <a:lnTo>
                    <a:pt x="243058" y="289953"/>
                  </a:lnTo>
                  <a:lnTo>
                    <a:pt x="150994" y="24349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9" name="Freeform 103">
              <a:extLst>
                <a:ext uri="{FF2B5EF4-FFF2-40B4-BE49-F238E27FC236}">
                  <a16:creationId xmlns:a16="http://schemas.microsoft.com/office/drawing/2014/main" id="{0C496671-357C-4773-B89E-3A952F7E057B}"/>
                </a:ext>
              </a:extLst>
            </p:cNvPr>
            <p:cNvSpPr>
              <a:spLocks noChangeAspect="1"/>
            </p:cNvSpPr>
            <p:nvPr>
              <p:custDataLst>
                <p:tags r:id="rId111"/>
              </p:custDataLst>
            </p:nvPr>
          </p:nvSpPr>
          <p:spPr>
            <a:xfrm>
              <a:off x="6200264" y="4300490"/>
              <a:ext cx="48308" cy="89556"/>
            </a:xfrm>
            <a:custGeom>
              <a:avLst/>
              <a:gdLst/>
              <a:ahLst/>
              <a:cxnLst/>
              <a:rect l="0" t="0" r="0" b="0"/>
              <a:pathLst>
                <a:path w="48308" h="89556">
                  <a:moveTo>
                    <a:pt x="48307" y="53508"/>
                  </a:moveTo>
                  <a:lnTo>
                    <a:pt x="44830" y="77659"/>
                  </a:lnTo>
                  <a:lnTo>
                    <a:pt x="35152" y="84255"/>
                  </a:lnTo>
                  <a:lnTo>
                    <a:pt x="15078" y="89555"/>
                  </a:lnTo>
                  <a:lnTo>
                    <a:pt x="4093" y="71129"/>
                  </a:lnTo>
                  <a:lnTo>
                    <a:pt x="0" y="37768"/>
                  </a:lnTo>
                  <a:lnTo>
                    <a:pt x="10448" y="0"/>
                  </a:lnTo>
                  <a:lnTo>
                    <a:pt x="26399" y="12941"/>
                  </a:lnTo>
                  <a:lnTo>
                    <a:pt x="37144" y="2932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0" name="Freeform 104">
              <a:extLst>
                <a:ext uri="{FF2B5EF4-FFF2-40B4-BE49-F238E27FC236}">
                  <a16:creationId xmlns:a16="http://schemas.microsoft.com/office/drawing/2014/main" id="{888ACA39-01B2-469F-992C-E50580EFAB03}"/>
                </a:ext>
              </a:extLst>
            </p:cNvPr>
            <p:cNvSpPr>
              <a:spLocks noChangeAspect="1"/>
            </p:cNvSpPr>
            <p:nvPr>
              <p:custDataLst>
                <p:tags r:id="rId112"/>
              </p:custDataLst>
            </p:nvPr>
          </p:nvSpPr>
          <p:spPr>
            <a:xfrm>
              <a:off x="4983902" y="5207605"/>
              <a:ext cx="53689" cy="50367"/>
            </a:xfrm>
            <a:custGeom>
              <a:avLst/>
              <a:gdLst/>
              <a:ahLst/>
              <a:cxnLst/>
              <a:rect l="0" t="0" r="0" b="0"/>
              <a:pathLst>
                <a:path w="53689" h="50367">
                  <a:moveTo>
                    <a:pt x="45680" y="7728"/>
                  </a:moveTo>
                  <a:lnTo>
                    <a:pt x="53688" y="15311"/>
                  </a:lnTo>
                  <a:lnTo>
                    <a:pt x="46607" y="27563"/>
                  </a:lnTo>
                  <a:lnTo>
                    <a:pt x="42683" y="35803"/>
                  </a:lnTo>
                  <a:lnTo>
                    <a:pt x="29818" y="39752"/>
                  </a:lnTo>
                  <a:lnTo>
                    <a:pt x="25574" y="47845"/>
                  </a:lnTo>
                  <a:lnTo>
                    <a:pt x="17315" y="50366"/>
                  </a:lnTo>
                  <a:lnTo>
                    <a:pt x="0" y="30899"/>
                  </a:lnTo>
                  <a:lnTo>
                    <a:pt x="12309" y="14943"/>
                  </a:lnTo>
                  <a:lnTo>
                    <a:pt x="24815" y="5114"/>
                  </a:lnTo>
                  <a:lnTo>
                    <a:pt x="35603"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1" name="Freeform 105">
              <a:extLst>
                <a:ext uri="{FF2B5EF4-FFF2-40B4-BE49-F238E27FC236}">
                  <a16:creationId xmlns:a16="http://schemas.microsoft.com/office/drawing/2014/main" id="{B6F5E68F-6217-4A0E-9564-CE60B4B7B969}"/>
                </a:ext>
              </a:extLst>
            </p:cNvPr>
            <p:cNvSpPr>
              <a:spLocks noChangeAspect="1"/>
            </p:cNvSpPr>
            <p:nvPr>
              <p:custDataLst>
                <p:tags r:id="rId113"/>
              </p:custDataLst>
            </p:nvPr>
          </p:nvSpPr>
          <p:spPr>
            <a:xfrm>
              <a:off x="4846711" y="3066903"/>
              <a:ext cx="127705" cy="79318"/>
            </a:xfrm>
            <a:custGeom>
              <a:avLst/>
              <a:gdLst/>
              <a:ahLst/>
              <a:cxnLst/>
              <a:rect l="0" t="0" r="0" b="0"/>
              <a:pathLst>
                <a:path w="127705" h="79318">
                  <a:moveTo>
                    <a:pt x="38670" y="65939"/>
                  </a:moveTo>
                  <a:lnTo>
                    <a:pt x="36822" y="57810"/>
                  </a:lnTo>
                  <a:lnTo>
                    <a:pt x="39286" y="49055"/>
                  </a:lnTo>
                  <a:lnTo>
                    <a:pt x="29082" y="43967"/>
                  </a:lnTo>
                  <a:lnTo>
                    <a:pt x="4908" y="38337"/>
                  </a:lnTo>
                  <a:lnTo>
                    <a:pt x="0" y="11139"/>
                  </a:lnTo>
                  <a:lnTo>
                    <a:pt x="26438" y="1135"/>
                  </a:lnTo>
                  <a:lnTo>
                    <a:pt x="65150" y="3230"/>
                  </a:lnTo>
                  <a:lnTo>
                    <a:pt x="87827" y="0"/>
                  </a:lnTo>
                  <a:lnTo>
                    <a:pt x="91064" y="6791"/>
                  </a:lnTo>
                  <a:lnTo>
                    <a:pt x="103347" y="8885"/>
                  </a:lnTo>
                  <a:lnTo>
                    <a:pt x="125535" y="24637"/>
                  </a:lnTo>
                  <a:lnTo>
                    <a:pt x="127704" y="39087"/>
                  </a:lnTo>
                  <a:lnTo>
                    <a:pt x="108780" y="49363"/>
                  </a:lnTo>
                  <a:lnTo>
                    <a:pt x="103423" y="67374"/>
                  </a:lnTo>
                  <a:lnTo>
                    <a:pt x="78363" y="79317"/>
                  </a:lnTo>
                  <a:lnTo>
                    <a:pt x="56052" y="79102"/>
                  </a:lnTo>
                  <a:lnTo>
                    <a:pt x="50509" y="693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2" name="Freeform 106">
              <a:extLst>
                <a:ext uri="{FF2B5EF4-FFF2-40B4-BE49-F238E27FC236}">
                  <a16:creationId xmlns:a16="http://schemas.microsoft.com/office/drawing/2014/main" id="{630C7BEA-FFFB-46AB-AD1F-783557DAD99B}"/>
                </a:ext>
              </a:extLst>
            </p:cNvPr>
            <p:cNvSpPr>
              <a:spLocks noChangeAspect="1"/>
            </p:cNvSpPr>
            <p:nvPr>
              <p:custDataLst>
                <p:tags r:id="rId114"/>
              </p:custDataLst>
            </p:nvPr>
          </p:nvSpPr>
          <p:spPr>
            <a:xfrm>
              <a:off x="4491659" y="3262886"/>
              <a:ext cx="13128" cy="20602"/>
            </a:xfrm>
            <a:custGeom>
              <a:avLst/>
              <a:gdLst/>
              <a:ahLst/>
              <a:cxnLst/>
              <a:rect l="0" t="0" r="0" b="0"/>
              <a:pathLst>
                <a:path w="13128" h="20602">
                  <a:moveTo>
                    <a:pt x="8518" y="0"/>
                  </a:moveTo>
                  <a:lnTo>
                    <a:pt x="13127" y="6806"/>
                  </a:lnTo>
                  <a:lnTo>
                    <a:pt x="11824" y="19968"/>
                  </a:lnTo>
                  <a:lnTo>
                    <a:pt x="5163" y="20601"/>
                  </a:lnTo>
                  <a:lnTo>
                    <a:pt x="0" y="18001"/>
                  </a:lnTo>
                  <a:lnTo>
                    <a:pt x="2501" y="113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3" name="Freeform 107">
              <a:extLst>
                <a:ext uri="{FF2B5EF4-FFF2-40B4-BE49-F238E27FC236}">
                  <a16:creationId xmlns:a16="http://schemas.microsoft.com/office/drawing/2014/main" id="{08514CB7-9074-4C79-B198-F2524EEBF095}"/>
                </a:ext>
              </a:extLst>
            </p:cNvPr>
            <p:cNvSpPr>
              <a:spLocks noChangeAspect="1"/>
            </p:cNvSpPr>
            <p:nvPr>
              <p:custDataLst>
                <p:tags r:id="rId115"/>
              </p:custDataLst>
            </p:nvPr>
          </p:nvSpPr>
          <p:spPr>
            <a:xfrm>
              <a:off x="4846711" y="3014062"/>
              <a:ext cx="164370" cy="77479"/>
            </a:xfrm>
            <a:custGeom>
              <a:avLst/>
              <a:gdLst/>
              <a:ahLst/>
              <a:cxnLst/>
              <a:rect l="0" t="0" r="0" b="0"/>
              <a:pathLst>
                <a:path w="164370" h="77479">
                  <a:moveTo>
                    <a:pt x="0" y="63980"/>
                  </a:moveTo>
                  <a:lnTo>
                    <a:pt x="799" y="39351"/>
                  </a:lnTo>
                  <a:lnTo>
                    <a:pt x="12143" y="18603"/>
                  </a:lnTo>
                  <a:lnTo>
                    <a:pt x="33898" y="7242"/>
                  </a:lnTo>
                  <a:lnTo>
                    <a:pt x="52228" y="32026"/>
                  </a:lnTo>
                  <a:lnTo>
                    <a:pt x="70747" y="31384"/>
                  </a:lnTo>
                  <a:lnTo>
                    <a:pt x="75181" y="5906"/>
                  </a:lnTo>
                  <a:lnTo>
                    <a:pt x="94842" y="0"/>
                  </a:lnTo>
                  <a:lnTo>
                    <a:pt x="104957" y="4100"/>
                  </a:lnTo>
                  <a:lnTo>
                    <a:pt x="124825" y="16461"/>
                  </a:lnTo>
                  <a:lnTo>
                    <a:pt x="143860" y="16523"/>
                  </a:lnTo>
                  <a:lnTo>
                    <a:pt x="154982" y="24159"/>
                  </a:lnTo>
                  <a:lnTo>
                    <a:pt x="156950" y="40158"/>
                  </a:lnTo>
                  <a:lnTo>
                    <a:pt x="164369" y="59482"/>
                  </a:lnTo>
                  <a:lnTo>
                    <a:pt x="139573" y="72029"/>
                  </a:lnTo>
                  <a:lnTo>
                    <a:pt x="125535" y="77478"/>
                  </a:lnTo>
                  <a:lnTo>
                    <a:pt x="103347" y="61726"/>
                  </a:lnTo>
                  <a:lnTo>
                    <a:pt x="91064" y="59632"/>
                  </a:lnTo>
                  <a:lnTo>
                    <a:pt x="87827" y="52841"/>
                  </a:lnTo>
                  <a:lnTo>
                    <a:pt x="65150" y="56071"/>
                  </a:lnTo>
                  <a:lnTo>
                    <a:pt x="26438" y="539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4" name="Freeform 108">
              <a:extLst>
                <a:ext uri="{FF2B5EF4-FFF2-40B4-BE49-F238E27FC236}">
                  <a16:creationId xmlns:a16="http://schemas.microsoft.com/office/drawing/2014/main" id="{650349BF-DE5E-4AFD-84D4-7EA38F88FD10}"/>
                </a:ext>
              </a:extLst>
            </p:cNvPr>
            <p:cNvSpPr>
              <a:spLocks noChangeAspect="1"/>
            </p:cNvSpPr>
            <p:nvPr>
              <p:custDataLst>
                <p:tags r:id="rId116"/>
              </p:custDataLst>
            </p:nvPr>
          </p:nvSpPr>
          <p:spPr>
            <a:xfrm>
              <a:off x="3967809" y="3665931"/>
              <a:ext cx="366921" cy="360052"/>
            </a:xfrm>
            <a:custGeom>
              <a:avLst/>
              <a:gdLst/>
              <a:ahLst/>
              <a:cxnLst/>
              <a:rect l="0" t="0" r="0" b="0"/>
              <a:pathLst>
                <a:path w="366921" h="360052">
                  <a:moveTo>
                    <a:pt x="272989" y="127"/>
                  </a:moveTo>
                  <a:lnTo>
                    <a:pt x="286905" y="11269"/>
                  </a:lnTo>
                  <a:lnTo>
                    <a:pt x="308855" y="9456"/>
                  </a:lnTo>
                  <a:lnTo>
                    <a:pt x="332763" y="15240"/>
                  </a:lnTo>
                  <a:lnTo>
                    <a:pt x="342790" y="15520"/>
                  </a:lnTo>
                  <a:lnTo>
                    <a:pt x="351491" y="32245"/>
                  </a:lnTo>
                  <a:lnTo>
                    <a:pt x="352865" y="48055"/>
                  </a:lnTo>
                  <a:lnTo>
                    <a:pt x="360838" y="75336"/>
                  </a:lnTo>
                  <a:lnTo>
                    <a:pt x="366920" y="80802"/>
                  </a:lnTo>
                  <a:lnTo>
                    <a:pt x="362688" y="90780"/>
                  </a:lnTo>
                  <a:lnTo>
                    <a:pt x="332479" y="95100"/>
                  </a:lnTo>
                  <a:lnTo>
                    <a:pt x="322037" y="104560"/>
                  </a:lnTo>
                  <a:lnTo>
                    <a:pt x="308683" y="106787"/>
                  </a:lnTo>
                  <a:lnTo>
                    <a:pt x="307692" y="125645"/>
                  </a:lnTo>
                  <a:lnTo>
                    <a:pt x="280704" y="135689"/>
                  </a:lnTo>
                  <a:lnTo>
                    <a:pt x="271875" y="148361"/>
                  </a:lnTo>
                  <a:lnTo>
                    <a:pt x="252982" y="155146"/>
                  </a:lnTo>
                  <a:lnTo>
                    <a:pt x="229932" y="158991"/>
                  </a:lnTo>
                  <a:lnTo>
                    <a:pt x="192656" y="177546"/>
                  </a:lnTo>
                  <a:lnTo>
                    <a:pt x="192853" y="207171"/>
                  </a:lnTo>
                  <a:lnTo>
                    <a:pt x="189339" y="207171"/>
                  </a:lnTo>
                  <a:lnTo>
                    <a:pt x="189338" y="207171"/>
                  </a:lnTo>
                  <a:lnTo>
                    <a:pt x="189868" y="220500"/>
                  </a:lnTo>
                  <a:lnTo>
                    <a:pt x="175599" y="221301"/>
                  </a:lnTo>
                  <a:lnTo>
                    <a:pt x="168160" y="226948"/>
                  </a:lnTo>
                  <a:lnTo>
                    <a:pt x="157678" y="226948"/>
                  </a:lnTo>
                  <a:lnTo>
                    <a:pt x="149326" y="223726"/>
                  </a:lnTo>
                  <a:lnTo>
                    <a:pt x="129907" y="226391"/>
                  </a:lnTo>
                  <a:lnTo>
                    <a:pt x="122389" y="245685"/>
                  </a:lnTo>
                  <a:lnTo>
                    <a:pt x="115176" y="247494"/>
                  </a:lnTo>
                  <a:lnTo>
                    <a:pt x="104322" y="278527"/>
                  </a:lnTo>
                  <a:lnTo>
                    <a:pt x="72234" y="304933"/>
                  </a:lnTo>
                  <a:lnTo>
                    <a:pt x="64615" y="338525"/>
                  </a:lnTo>
                  <a:lnTo>
                    <a:pt x="55159" y="349407"/>
                  </a:lnTo>
                  <a:lnTo>
                    <a:pt x="52386" y="358121"/>
                  </a:lnTo>
                  <a:lnTo>
                    <a:pt x="403" y="360051"/>
                  </a:lnTo>
                  <a:lnTo>
                    <a:pt x="0" y="360012"/>
                  </a:lnTo>
                  <a:lnTo>
                    <a:pt x="1089" y="348807"/>
                  </a:lnTo>
                  <a:lnTo>
                    <a:pt x="9956" y="342208"/>
                  </a:lnTo>
                  <a:lnTo>
                    <a:pt x="17509" y="329565"/>
                  </a:lnTo>
                  <a:lnTo>
                    <a:pt x="16020" y="321338"/>
                  </a:lnTo>
                  <a:lnTo>
                    <a:pt x="23956" y="304143"/>
                  </a:lnTo>
                  <a:lnTo>
                    <a:pt x="36804" y="288600"/>
                  </a:lnTo>
                  <a:lnTo>
                    <a:pt x="44575" y="284654"/>
                  </a:lnTo>
                  <a:lnTo>
                    <a:pt x="50685" y="270340"/>
                  </a:lnTo>
                  <a:lnTo>
                    <a:pt x="51233" y="257229"/>
                  </a:lnTo>
                  <a:lnTo>
                    <a:pt x="59565" y="241970"/>
                  </a:lnTo>
                  <a:lnTo>
                    <a:pt x="74941" y="232949"/>
                  </a:lnTo>
                  <a:lnTo>
                    <a:pt x="89572" y="207577"/>
                  </a:lnTo>
                  <a:lnTo>
                    <a:pt x="89996" y="207228"/>
                  </a:lnTo>
                  <a:lnTo>
                    <a:pt x="101601" y="197648"/>
                  </a:lnTo>
                  <a:lnTo>
                    <a:pt x="123066" y="194889"/>
                  </a:lnTo>
                  <a:lnTo>
                    <a:pt x="141254" y="177776"/>
                  </a:lnTo>
                  <a:lnTo>
                    <a:pt x="152827" y="171086"/>
                  </a:lnTo>
                  <a:lnTo>
                    <a:pt x="172096" y="150051"/>
                  </a:lnTo>
                  <a:lnTo>
                    <a:pt x="166327" y="118504"/>
                  </a:lnTo>
                  <a:lnTo>
                    <a:pt x="175097" y="96540"/>
                  </a:lnTo>
                  <a:lnTo>
                    <a:pt x="178193" y="83034"/>
                  </a:lnTo>
                  <a:lnTo>
                    <a:pt x="193040" y="65637"/>
                  </a:lnTo>
                  <a:lnTo>
                    <a:pt x="216198" y="53826"/>
                  </a:lnTo>
                  <a:lnTo>
                    <a:pt x="233318" y="43104"/>
                  </a:lnTo>
                  <a:lnTo>
                    <a:pt x="248741" y="16110"/>
                  </a:lnTo>
                  <a:lnTo>
                    <a:pt x="255998"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5" name="Freeform 109">
              <a:extLst>
                <a:ext uri="{FF2B5EF4-FFF2-40B4-BE49-F238E27FC236}">
                  <a16:creationId xmlns:a16="http://schemas.microsoft.com/office/drawing/2014/main" id="{C2B0A877-4B4A-48FF-B1FE-C7BD8823EEFE}"/>
                </a:ext>
              </a:extLst>
            </p:cNvPr>
            <p:cNvSpPr>
              <a:spLocks noChangeAspect="1"/>
            </p:cNvSpPr>
            <p:nvPr>
              <p:custDataLst>
                <p:tags r:id="rId117"/>
              </p:custDataLst>
            </p:nvPr>
          </p:nvSpPr>
          <p:spPr>
            <a:xfrm>
              <a:off x="4975132" y="3312530"/>
              <a:ext cx="78605" cy="86780"/>
            </a:xfrm>
            <a:custGeom>
              <a:avLst/>
              <a:gdLst/>
              <a:ahLst/>
              <a:cxnLst/>
              <a:rect l="0" t="0" r="0" b="0"/>
              <a:pathLst>
                <a:path w="78605" h="86780">
                  <a:moveTo>
                    <a:pt x="0" y="7285"/>
                  </a:moveTo>
                  <a:lnTo>
                    <a:pt x="5505" y="2927"/>
                  </a:lnTo>
                  <a:lnTo>
                    <a:pt x="20848" y="0"/>
                  </a:lnTo>
                  <a:lnTo>
                    <a:pt x="37860" y="9209"/>
                  </a:lnTo>
                  <a:lnTo>
                    <a:pt x="47355" y="10312"/>
                  </a:lnTo>
                  <a:lnTo>
                    <a:pt x="57784" y="18236"/>
                  </a:lnTo>
                  <a:lnTo>
                    <a:pt x="56126" y="28181"/>
                  </a:lnTo>
                  <a:lnTo>
                    <a:pt x="64534" y="32969"/>
                  </a:lnTo>
                  <a:lnTo>
                    <a:pt x="67871" y="45167"/>
                  </a:lnTo>
                  <a:lnTo>
                    <a:pt x="75931" y="52558"/>
                  </a:lnTo>
                  <a:lnTo>
                    <a:pt x="74300" y="56881"/>
                  </a:lnTo>
                  <a:lnTo>
                    <a:pt x="78604" y="59819"/>
                  </a:lnTo>
                  <a:lnTo>
                    <a:pt x="72494" y="61959"/>
                  </a:lnTo>
                  <a:lnTo>
                    <a:pt x="58891" y="61112"/>
                  </a:lnTo>
                  <a:lnTo>
                    <a:pt x="56616" y="57103"/>
                  </a:lnTo>
                  <a:lnTo>
                    <a:pt x="51789" y="59415"/>
                  </a:lnTo>
                  <a:lnTo>
                    <a:pt x="53422" y="64596"/>
                  </a:lnTo>
                  <a:lnTo>
                    <a:pt x="47104" y="73796"/>
                  </a:lnTo>
                  <a:lnTo>
                    <a:pt x="43071" y="83662"/>
                  </a:lnTo>
                  <a:lnTo>
                    <a:pt x="37260" y="86779"/>
                  </a:lnTo>
                  <a:lnTo>
                    <a:pt x="33126" y="73664"/>
                  </a:lnTo>
                  <a:lnTo>
                    <a:pt x="35563" y="61335"/>
                  </a:lnTo>
                  <a:lnTo>
                    <a:pt x="34825" y="48603"/>
                  </a:lnTo>
                  <a:lnTo>
                    <a:pt x="21509" y="31259"/>
                  </a:lnTo>
                  <a:lnTo>
                    <a:pt x="14185" y="18892"/>
                  </a:lnTo>
                  <a:lnTo>
                    <a:pt x="7036" y="1016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6" name="Freeform 110">
              <a:extLst>
                <a:ext uri="{FF2B5EF4-FFF2-40B4-BE49-F238E27FC236}">
                  <a16:creationId xmlns:a16="http://schemas.microsoft.com/office/drawing/2014/main" id="{EC3E0E34-7C35-4D30-885F-F8F14E23F076}"/>
                </a:ext>
              </a:extLst>
            </p:cNvPr>
            <p:cNvSpPr>
              <a:spLocks noChangeAspect="1"/>
            </p:cNvSpPr>
            <p:nvPr>
              <p:custDataLst>
                <p:tags r:id="rId118"/>
              </p:custDataLst>
            </p:nvPr>
          </p:nvSpPr>
          <p:spPr>
            <a:xfrm>
              <a:off x="5359109" y="4807217"/>
              <a:ext cx="166712" cy="324707"/>
            </a:xfrm>
            <a:custGeom>
              <a:avLst/>
              <a:gdLst/>
              <a:ahLst/>
              <a:cxnLst/>
              <a:rect l="0" t="0" r="0" b="0"/>
              <a:pathLst>
                <a:path w="166712" h="324707">
                  <a:moveTo>
                    <a:pt x="145174" y="10056"/>
                  </a:moveTo>
                  <a:lnTo>
                    <a:pt x="151302" y="20033"/>
                  </a:lnTo>
                  <a:lnTo>
                    <a:pt x="157016" y="35542"/>
                  </a:lnTo>
                  <a:lnTo>
                    <a:pt x="160730" y="63863"/>
                  </a:lnTo>
                  <a:lnTo>
                    <a:pt x="166711" y="74900"/>
                  </a:lnTo>
                  <a:lnTo>
                    <a:pt x="164416" y="86233"/>
                  </a:lnTo>
                  <a:lnTo>
                    <a:pt x="160334" y="93194"/>
                  </a:lnTo>
                  <a:lnTo>
                    <a:pt x="152494" y="79335"/>
                  </a:lnTo>
                  <a:lnTo>
                    <a:pt x="148154" y="86331"/>
                  </a:lnTo>
                  <a:lnTo>
                    <a:pt x="152557" y="103872"/>
                  </a:lnTo>
                  <a:lnTo>
                    <a:pt x="150507" y="113930"/>
                  </a:lnTo>
                  <a:lnTo>
                    <a:pt x="144138" y="119415"/>
                  </a:lnTo>
                  <a:lnTo>
                    <a:pt x="142684" y="139568"/>
                  </a:lnTo>
                  <a:lnTo>
                    <a:pt x="133593" y="167403"/>
                  </a:lnTo>
                  <a:lnTo>
                    <a:pt x="122208" y="200471"/>
                  </a:lnTo>
                  <a:lnTo>
                    <a:pt x="107947" y="246241"/>
                  </a:lnTo>
                  <a:lnTo>
                    <a:pt x="99106" y="280080"/>
                  </a:lnTo>
                  <a:lnTo>
                    <a:pt x="88674" y="308476"/>
                  </a:lnTo>
                  <a:lnTo>
                    <a:pt x="69901" y="314295"/>
                  </a:lnTo>
                  <a:lnTo>
                    <a:pt x="49750" y="324706"/>
                  </a:lnTo>
                  <a:lnTo>
                    <a:pt x="36456" y="318419"/>
                  </a:lnTo>
                  <a:lnTo>
                    <a:pt x="18132" y="309623"/>
                  </a:lnTo>
                  <a:lnTo>
                    <a:pt x="11762" y="296680"/>
                  </a:lnTo>
                  <a:lnTo>
                    <a:pt x="10239" y="275008"/>
                  </a:lnTo>
                  <a:lnTo>
                    <a:pt x="2111" y="255599"/>
                  </a:lnTo>
                  <a:lnTo>
                    <a:pt x="0" y="238143"/>
                  </a:lnTo>
                  <a:lnTo>
                    <a:pt x="4134" y="220707"/>
                  </a:lnTo>
                  <a:lnTo>
                    <a:pt x="14761" y="216528"/>
                  </a:lnTo>
                  <a:lnTo>
                    <a:pt x="14823" y="208502"/>
                  </a:lnTo>
                  <a:lnTo>
                    <a:pt x="25856" y="190265"/>
                  </a:lnTo>
                  <a:lnTo>
                    <a:pt x="27935" y="174986"/>
                  </a:lnTo>
                  <a:lnTo>
                    <a:pt x="22580" y="163652"/>
                  </a:lnTo>
                  <a:lnTo>
                    <a:pt x="18207" y="148588"/>
                  </a:lnTo>
                  <a:lnTo>
                    <a:pt x="16363" y="126639"/>
                  </a:lnTo>
                  <a:lnTo>
                    <a:pt x="24428" y="113347"/>
                  </a:lnTo>
                  <a:lnTo>
                    <a:pt x="27522" y="98307"/>
                  </a:lnTo>
                  <a:lnTo>
                    <a:pt x="39027" y="97434"/>
                  </a:lnTo>
                  <a:lnTo>
                    <a:pt x="51902" y="92581"/>
                  </a:lnTo>
                  <a:lnTo>
                    <a:pt x="60449" y="88300"/>
                  </a:lnTo>
                  <a:lnTo>
                    <a:pt x="70588" y="87982"/>
                  </a:lnTo>
                  <a:lnTo>
                    <a:pt x="83744" y="74514"/>
                  </a:lnTo>
                  <a:lnTo>
                    <a:pt x="102739" y="59985"/>
                  </a:lnTo>
                  <a:lnTo>
                    <a:pt x="109666" y="48136"/>
                  </a:lnTo>
                  <a:lnTo>
                    <a:pt x="106523" y="38083"/>
                  </a:lnTo>
                  <a:lnTo>
                    <a:pt x="116328" y="40910"/>
                  </a:lnTo>
                  <a:lnTo>
                    <a:pt x="129052" y="24583"/>
                  </a:lnTo>
                  <a:lnTo>
                    <a:pt x="129478" y="10479"/>
                  </a:lnTo>
                  <a:lnTo>
                    <a:pt x="137122"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7" name="Freeform 111">
              <a:extLst>
                <a:ext uri="{FF2B5EF4-FFF2-40B4-BE49-F238E27FC236}">
                  <a16:creationId xmlns:a16="http://schemas.microsoft.com/office/drawing/2014/main" id="{51CBD978-9F41-473A-BA37-B50BEAE6A86C}"/>
                </a:ext>
              </a:extLst>
            </p:cNvPr>
            <p:cNvSpPr>
              <a:spLocks noChangeAspect="1"/>
            </p:cNvSpPr>
            <p:nvPr>
              <p:custDataLst>
                <p:tags r:id="rId119"/>
              </p:custDataLst>
            </p:nvPr>
          </p:nvSpPr>
          <p:spPr>
            <a:xfrm>
              <a:off x="4833031" y="3488729"/>
              <a:ext cx="57459" cy="40792"/>
            </a:xfrm>
            <a:custGeom>
              <a:avLst/>
              <a:gdLst/>
              <a:ahLst/>
              <a:cxnLst/>
              <a:rect l="0" t="0" r="0" b="0"/>
              <a:pathLst>
                <a:path w="57459" h="40792">
                  <a:moveTo>
                    <a:pt x="2933" y="12893"/>
                  </a:moveTo>
                  <a:lnTo>
                    <a:pt x="5866" y="13123"/>
                  </a:lnTo>
                  <a:lnTo>
                    <a:pt x="6901" y="7451"/>
                  </a:lnTo>
                  <a:lnTo>
                    <a:pt x="20533" y="3152"/>
                  </a:lnTo>
                  <a:lnTo>
                    <a:pt x="25702" y="2085"/>
                  </a:lnTo>
                  <a:lnTo>
                    <a:pt x="33560" y="462"/>
                  </a:lnTo>
                  <a:lnTo>
                    <a:pt x="44258" y="0"/>
                  </a:lnTo>
                  <a:lnTo>
                    <a:pt x="55819" y="8909"/>
                  </a:lnTo>
                  <a:lnTo>
                    <a:pt x="57458" y="27179"/>
                  </a:lnTo>
                  <a:lnTo>
                    <a:pt x="53058" y="28094"/>
                  </a:lnTo>
                  <a:lnTo>
                    <a:pt x="49262" y="32890"/>
                  </a:lnTo>
                  <a:lnTo>
                    <a:pt x="36753" y="32357"/>
                  </a:lnTo>
                  <a:lnTo>
                    <a:pt x="27953" y="38362"/>
                  </a:lnTo>
                  <a:lnTo>
                    <a:pt x="12854" y="40791"/>
                  </a:lnTo>
                  <a:lnTo>
                    <a:pt x="3278" y="34106"/>
                  </a:lnTo>
                  <a:lnTo>
                    <a:pt x="0" y="2229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8" name="Freeform 112">
              <a:extLst>
                <a:ext uri="{FF2B5EF4-FFF2-40B4-BE49-F238E27FC236}">
                  <a16:creationId xmlns:a16="http://schemas.microsoft.com/office/drawing/2014/main" id="{41B25A27-3A64-4442-B3D4-2CCB1CB40BA0}"/>
                </a:ext>
              </a:extLst>
            </p:cNvPr>
            <p:cNvSpPr>
              <a:spLocks noChangeAspect="1"/>
            </p:cNvSpPr>
            <p:nvPr>
              <p:custDataLst>
                <p:tags r:id="rId120"/>
              </p:custDataLst>
            </p:nvPr>
          </p:nvSpPr>
          <p:spPr>
            <a:xfrm>
              <a:off x="4079753" y="3939439"/>
              <a:ext cx="379502" cy="354706"/>
            </a:xfrm>
            <a:custGeom>
              <a:avLst/>
              <a:gdLst/>
              <a:ahLst/>
              <a:cxnLst/>
              <a:rect l="0" t="0" r="0" b="0"/>
              <a:pathLst>
                <a:path w="379502" h="354706">
                  <a:moveTo>
                    <a:pt x="0" y="248769"/>
                  </a:moveTo>
                  <a:lnTo>
                    <a:pt x="7768" y="244472"/>
                  </a:lnTo>
                  <a:lnTo>
                    <a:pt x="11649" y="230566"/>
                  </a:lnTo>
                  <a:lnTo>
                    <a:pt x="18966" y="230021"/>
                  </a:lnTo>
                  <a:lnTo>
                    <a:pt x="35085" y="236599"/>
                  </a:lnTo>
                  <a:lnTo>
                    <a:pt x="48102" y="231929"/>
                  </a:lnTo>
                  <a:lnTo>
                    <a:pt x="57026" y="233497"/>
                  </a:lnTo>
                  <a:lnTo>
                    <a:pt x="60488" y="228243"/>
                  </a:lnTo>
                  <a:lnTo>
                    <a:pt x="153108" y="227884"/>
                  </a:lnTo>
                  <a:lnTo>
                    <a:pt x="158243" y="211318"/>
                  </a:lnTo>
                  <a:lnTo>
                    <a:pt x="154244" y="208399"/>
                  </a:lnTo>
                  <a:lnTo>
                    <a:pt x="143104" y="105350"/>
                  </a:lnTo>
                  <a:lnTo>
                    <a:pt x="131963" y="442"/>
                  </a:lnTo>
                  <a:lnTo>
                    <a:pt x="167290" y="0"/>
                  </a:lnTo>
                  <a:lnTo>
                    <a:pt x="245154" y="53303"/>
                  </a:lnTo>
                  <a:lnTo>
                    <a:pt x="323019" y="106073"/>
                  </a:lnTo>
                  <a:lnTo>
                    <a:pt x="328507" y="117342"/>
                  </a:lnTo>
                  <a:lnTo>
                    <a:pt x="342878" y="124209"/>
                  </a:lnTo>
                  <a:lnTo>
                    <a:pt x="353567" y="128112"/>
                  </a:lnTo>
                  <a:lnTo>
                    <a:pt x="353832" y="143352"/>
                  </a:lnTo>
                  <a:lnTo>
                    <a:pt x="379437" y="141009"/>
                  </a:lnTo>
                  <a:lnTo>
                    <a:pt x="379501" y="195897"/>
                  </a:lnTo>
                  <a:lnTo>
                    <a:pt x="366880" y="211734"/>
                  </a:lnTo>
                  <a:lnTo>
                    <a:pt x="364914" y="226314"/>
                  </a:lnTo>
                  <a:lnTo>
                    <a:pt x="344411" y="230062"/>
                  </a:lnTo>
                  <a:lnTo>
                    <a:pt x="312915" y="232093"/>
                  </a:lnTo>
                  <a:lnTo>
                    <a:pt x="304381" y="240483"/>
                  </a:lnTo>
                  <a:lnTo>
                    <a:pt x="289587" y="241410"/>
                  </a:lnTo>
                  <a:lnTo>
                    <a:pt x="274787" y="241518"/>
                  </a:lnTo>
                  <a:lnTo>
                    <a:pt x="269026" y="236991"/>
                  </a:lnTo>
                  <a:lnTo>
                    <a:pt x="256319" y="240350"/>
                  </a:lnTo>
                  <a:lnTo>
                    <a:pt x="234744" y="250132"/>
                  </a:lnTo>
                  <a:lnTo>
                    <a:pt x="230340" y="257496"/>
                  </a:lnTo>
                  <a:lnTo>
                    <a:pt x="212431" y="268044"/>
                  </a:lnTo>
                  <a:lnTo>
                    <a:pt x="209292" y="274084"/>
                  </a:lnTo>
                  <a:lnTo>
                    <a:pt x="199618" y="278867"/>
                  </a:lnTo>
                  <a:lnTo>
                    <a:pt x="188455" y="275700"/>
                  </a:lnTo>
                  <a:lnTo>
                    <a:pt x="182130" y="281432"/>
                  </a:lnTo>
                  <a:lnTo>
                    <a:pt x="178742" y="297523"/>
                  </a:lnTo>
                  <a:lnTo>
                    <a:pt x="160420" y="316931"/>
                  </a:lnTo>
                  <a:lnTo>
                    <a:pt x="160953" y="324852"/>
                  </a:lnTo>
                  <a:lnTo>
                    <a:pt x="154658" y="334756"/>
                  </a:lnTo>
                  <a:lnTo>
                    <a:pt x="156187" y="348306"/>
                  </a:lnTo>
                  <a:lnTo>
                    <a:pt x="146663" y="351762"/>
                  </a:lnTo>
                  <a:lnTo>
                    <a:pt x="141273" y="354705"/>
                  </a:lnTo>
                  <a:lnTo>
                    <a:pt x="137700" y="344729"/>
                  </a:lnTo>
                  <a:lnTo>
                    <a:pt x="131035" y="347360"/>
                  </a:lnTo>
                  <a:lnTo>
                    <a:pt x="127054" y="346905"/>
                  </a:lnTo>
                  <a:lnTo>
                    <a:pt x="122806" y="353711"/>
                  </a:lnTo>
                  <a:lnTo>
                    <a:pt x="104980" y="353519"/>
                  </a:lnTo>
                  <a:lnTo>
                    <a:pt x="98590" y="350017"/>
                  </a:lnTo>
                  <a:lnTo>
                    <a:pt x="95581" y="352136"/>
                  </a:lnTo>
                  <a:lnTo>
                    <a:pt x="88531" y="345411"/>
                  </a:lnTo>
                  <a:lnTo>
                    <a:pt x="89755" y="338461"/>
                  </a:lnTo>
                  <a:lnTo>
                    <a:pt x="86870" y="335737"/>
                  </a:lnTo>
                  <a:lnTo>
                    <a:pt x="81953" y="338034"/>
                  </a:lnTo>
                  <a:lnTo>
                    <a:pt x="82854" y="330435"/>
                  </a:lnTo>
                  <a:lnTo>
                    <a:pt x="87586" y="324419"/>
                  </a:lnTo>
                  <a:lnTo>
                    <a:pt x="78127" y="314621"/>
                  </a:lnTo>
                  <a:lnTo>
                    <a:pt x="75376" y="308166"/>
                  </a:lnTo>
                  <a:lnTo>
                    <a:pt x="70247" y="303020"/>
                  </a:lnTo>
                  <a:lnTo>
                    <a:pt x="65627" y="302405"/>
                  </a:lnTo>
                  <a:lnTo>
                    <a:pt x="60080" y="305686"/>
                  </a:lnTo>
                  <a:lnTo>
                    <a:pt x="52623" y="308818"/>
                  </a:lnTo>
                  <a:lnTo>
                    <a:pt x="46293" y="313884"/>
                  </a:lnTo>
                  <a:lnTo>
                    <a:pt x="36414" y="312014"/>
                  </a:lnTo>
                  <a:lnTo>
                    <a:pt x="30005" y="306069"/>
                  </a:lnTo>
                  <a:lnTo>
                    <a:pt x="26180" y="305288"/>
                  </a:lnTo>
                  <a:lnTo>
                    <a:pt x="20155" y="308409"/>
                  </a:lnTo>
                  <a:lnTo>
                    <a:pt x="16495" y="308435"/>
                  </a:lnTo>
                  <a:lnTo>
                    <a:pt x="15161" y="299858"/>
                  </a:lnTo>
                  <a:lnTo>
                    <a:pt x="16224" y="292555"/>
                  </a:lnTo>
                  <a:lnTo>
                    <a:pt x="14250" y="283481"/>
                  </a:lnTo>
                  <a:lnTo>
                    <a:pt x="5610" y="276885"/>
                  </a:lnTo>
                  <a:lnTo>
                    <a:pt x="1059" y="26342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9" name="Freeform 113">
              <a:extLst>
                <a:ext uri="{FF2B5EF4-FFF2-40B4-BE49-F238E27FC236}">
                  <a16:creationId xmlns:a16="http://schemas.microsoft.com/office/drawing/2014/main" id="{225D0FB9-8559-4847-9F66-BA669EBD7D91}"/>
                </a:ext>
              </a:extLst>
            </p:cNvPr>
            <p:cNvSpPr>
              <a:spLocks noChangeAspect="1"/>
            </p:cNvSpPr>
            <p:nvPr>
              <p:custDataLst>
                <p:tags r:id="rId121"/>
              </p:custDataLst>
            </p:nvPr>
          </p:nvSpPr>
          <p:spPr>
            <a:xfrm>
              <a:off x="6491292" y="3856137"/>
              <a:ext cx="204901" cy="441817"/>
            </a:xfrm>
            <a:custGeom>
              <a:avLst/>
              <a:gdLst/>
              <a:ahLst/>
              <a:cxnLst/>
              <a:rect l="0" t="0" r="0" b="0"/>
              <a:pathLst>
                <a:path w="204901" h="441817">
                  <a:moveTo>
                    <a:pt x="167120" y="199578"/>
                  </a:moveTo>
                  <a:lnTo>
                    <a:pt x="153649" y="209989"/>
                  </a:lnTo>
                  <a:lnTo>
                    <a:pt x="137353" y="211063"/>
                  </a:lnTo>
                  <a:lnTo>
                    <a:pt x="126829" y="236940"/>
                  </a:lnTo>
                  <a:lnTo>
                    <a:pt x="117091" y="241277"/>
                  </a:lnTo>
                  <a:lnTo>
                    <a:pt x="128245" y="262190"/>
                  </a:lnTo>
                  <a:lnTo>
                    <a:pt x="142894" y="279541"/>
                  </a:lnTo>
                  <a:lnTo>
                    <a:pt x="152348" y="295189"/>
                  </a:lnTo>
                  <a:lnTo>
                    <a:pt x="143901" y="315751"/>
                  </a:lnTo>
                  <a:lnTo>
                    <a:pt x="135931" y="320114"/>
                  </a:lnTo>
                  <a:lnTo>
                    <a:pt x="141441" y="331948"/>
                  </a:lnTo>
                  <a:lnTo>
                    <a:pt x="156836" y="350656"/>
                  </a:lnTo>
                  <a:lnTo>
                    <a:pt x="159473" y="363775"/>
                  </a:lnTo>
                  <a:lnTo>
                    <a:pt x="159111" y="374678"/>
                  </a:lnTo>
                  <a:lnTo>
                    <a:pt x="168136" y="396046"/>
                  </a:lnTo>
                  <a:lnTo>
                    <a:pt x="155460" y="417842"/>
                  </a:lnTo>
                  <a:lnTo>
                    <a:pt x="144274" y="441816"/>
                  </a:lnTo>
                  <a:lnTo>
                    <a:pt x="142050" y="424502"/>
                  </a:lnTo>
                  <a:lnTo>
                    <a:pt x="149145" y="406607"/>
                  </a:lnTo>
                  <a:lnTo>
                    <a:pt x="141384" y="392764"/>
                  </a:lnTo>
                  <a:lnTo>
                    <a:pt x="143259" y="367225"/>
                  </a:lnTo>
                  <a:lnTo>
                    <a:pt x="133888" y="355054"/>
                  </a:lnTo>
                  <a:lnTo>
                    <a:pt x="126366" y="326873"/>
                  </a:lnTo>
                  <a:lnTo>
                    <a:pt x="122196" y="297019"/>
                  </a:lnTo>
                  <a:lnTo>
                    <a:pt x="112212" y="277383"/>
                  </a:lnTo>
                  <a:lnTo>
                    <a:pt x="97006" y="289280"/>
                  </a:lnTo>
                  <a:lnTo>
                    <a:pt x="70774" y="306157"/>
                  </a:lnTo>
                  <a:lnTo>
                    <a:pt x="57826" y="304051"/>
                  </a:lnTo>
                  <a:lnTo>
                    <a:pt x="43524" y="298502"/>
                  </a:lnTo>
                  <a:lnTo>
                    <a:pt x="51480" y="269103"/>
                  </a:lnTo>
                  <a:lnTo>
                    <a:pt x="46664" y="246811"/>
                  </a:lnTo>
                  <a:lnTo>
                    <a:pt x="28571" y="219253"/>
                  </a:lnTo>
                  <a:lnTo>
                    <a:pt x="31393" y="210613"/>
                  </a:lnTo>
                  <a:lnTo>
                    <a:pt x="17891" y="207538"/>
                  </a:lnTo>
                  <a:lnTo>
                    <a:pt x="1508" y="187929"/>
                  </a:lnTo>
                  <a:lnTo>
                    <a:pt x="0" y="168522"/>
                  </a:lnTo>
                  <a:lnTo>
                    <a:pt x="8057" y="172180"/>
                  </a:lnTo>
                  <a:lnTo>
                    <a:pt x="8529" y="154836"/>
                  </a:lnTo>
                  <a:lnTo>
                    <a:pt x="19918" y="149088"/>
                  </a:lnTo>
                  <a:lnTo>
                    <a:pt x="17475" y="138781"/>
                  </a:lnTo>
                  <a:lnTo>
                    <a:pt x="22693" y="130502"/>
                  </a:lnTo>
                  <a:lnTo>
                    <a:pt x="23589" y="105260"/>
                  </a:lnTo>
                  <a:lnTo>
                    <a:pt x="41630" y="110827"/>
                  </a:lnTo>
                  <a:lnTo>
                    <a:pt x="51923" y="90648"/>
                  </a:lnTo>
                  <a:lnTo>
                    <a:pt x="53091" y="78684"/>
                  </a:lnTo>
                  <a:lnTo>
                    <a:pt x="65830" y="58018"/>
                  </a:lnTo>
                  <a:lnTo>
                    <a:pt x="65129" y="43866"/>
                  </a:lnTo>
                  <a:lnTo>
                    <a:pt x="95011" y="26718"/>
                  </a:lnTo>
                  <a:lnTo>
                    <a:pt x="111507" y="31211"/>
                  </a:lnTo>
                  <a:lnTo>
                    <a:pt x="109614" y="15903"/>
                  </a:lnTo>
                  <a:lnTo>
                    <a:pt x="117706" y="11328"/>
                  </a:lnTo>
                  <a:lnTo>
                    <a:pt x="115964" y="1860"/>
                  </a:lnTo>
                  <a:lnTo>
                    <a:pt x="129465" y="0"/>
                  </a:lnTo>
                  <a:lnTo>
                    <a:pt x="137180" y="14702"/>
                  </a:lnTo>
                  <a:lnTo>
                    <a:pt x="147256" y="20642"/>
                  </a:lnTo>
                  <a:lnTo>
                    <a:pt x="147934" y="39654"/>
                  </a:lnTo>
                  <a:lnTo>
                    <a:pt x="147004" y="60057"/>
                  </a:lnTo>
                  <a:lnTo>
                    <a:pt x="125140" y="80623"/>
                  </a:lnTo>
                  <a:lnTo>
                    <a:pt x="122373" y="109687"/>
                  </a:lnTo>
                  <a:lnTo>
                    <a:pt x="146738" y="105633"/>
                  </a:lnTo>
                  <a:lnTo>
                    <a:pt x="152242" y="128091"/>
                  </a:lnTo>
                  <a:lnTo>
                    <a:pt x="166859" y="132804"/>
                  </a:lnTo>
                  <a:lnTo>
                    <a:pt x="160140" y="152969"/>
                  </a:lnTo>
                  <a:lnTo>
                    <a:pt x="177281" y="162056"/>
                  </a:lnTo>
                  <a:lnTo>
                    <a:pt x="187277" y="166508"/>
                  </a:lnTo>
                  <a:lnTo>
                    <a:pt x="204208" y="159466"/>
                  </a:lnTo>
                  <a:lnTo>
                    <a:pt x="204900" y="169462"/>
                  </a:lnTo>
                  <a:lnTo>
                    <a:pt x="185259" y="185153"/>
                  </a:lnTo>
                  <a:lnTo>
                    <a:pt x="180340" y="19401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0" name="Freeform 114">
              <a:extLst>
                <a:ext uri="{FF2B5EF4-FFF2-40B4-BE49-F238E27FC236}">
                  <a16:creationId xmlns:a16="http://schemas.microsoft.com/office/drawing/2014/main" id="{396DD0CA-83FD-4525-ADB7-0AC67C6D3D0B}"/>
                </a:ext>
              </a:extLst>
            </p:cNvPr>
            <p:cNvSpPr>
              <a:spLocks noChangeAspect="1"/>
            </p:cNvSpPr>
            <p:nvPr>
              <p:custDataLst>
                <p:tags r:id="rId122"/>
              </p:custDataLst>
            </p:nvPr>
          </p:nvSpPr>
          <p:spPr>
            <a:xfrm>
              <a:off x="4786562" y="3455083"/>
              <a:ext cx="43622" cy="45928"/>
            </a:xfrm>
            <a:custGeom>
              <a:avLst/>
              <a:gdLst/>
              <a:ahLst/>
              <a:cxnLst/>
              <a:rect l="0" t="0" r="0" b="0"/>
              <a:pathLst>
                <a:path w="43622" h="45928">
                  <a:moveTo>
                    <a:pt x="31199" y="28644"/>
                  </a:moveTo>
                  <a:lnTo>
                    <a:pt x="29732" y="23400"/>
                  </a:lnTo>
                  <a:lnTo>
                    <a:pt x="19724" y="37106"/>
                  </a:lnTo>
                  <a:lnTo>
                    <a:pt x="21277" y="45927"/>
                  </a:lnTo>
                  <a:lnTo>
                    <a:pt x="16445" y="43781"/>
                  </a:lnTo>
                  <a:lnTo>
                    <a:pt x="9975" y="34723"/>
                  </a:lnTo>
                  <a:lnTo>
                    <a:pt x="0" y="29203"/>
                  </a:lnTo>
                  <a:lnTo>
                    <a:pt x="2539" y="24467"/>
                  </a:lnTo>
                  <a:lnTo>
                    <a:pt x="5920" y="9088"/>
                  </a:lnTo>
                  <a:lnTo>
                    <a:pt x="13426" y="2567"/>
                  </a:lnTo>
                  <a:lnTo>
                    <a:pt x="17739" y="0"/>
                  </a:lnTo>
                  <a:lnTo>
                    <a:pt x="23865" y="4820"/>
                  </a:lnTo>
                  <a:lnTo>
                    <a:pt x="27237" y="8705"/>
                  </a:lnTo>
                  <a:lnTo>
                    <a:pt x="34822" y="11724"/>
                  </a:lnTo>
                  <a:lnTo>
                    <a:pt x="43621" y="17529"/>
                  </a:lnTo>
                  <a:lnTo>
                    <a:pt x="41724" y="19925"/>
                  </a:lnTo>
                  <a:lnTo>
                    <a:pt x="37410" y="2617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1" name="Freeform 115">
              <a:extLst>
                <a:ext uri="{FF2B5EF4-FFF2-40B4-BE49-F238E27FC236}">
                  <a16:creationId xmlns:a16="http://schemas.microsoft.com/office/drawing/2014/main" id="{B5306818-83C2-4522-A4A7-4C026FB340FB}"/>
                </a:ext>
              </a:extLst>
            </p:cNvPr>
            <p:cNvSpPr>
              <a:spLocks noChangeAspect="1"/>
            </p:cNvSpPr>
            <p:nvPr>
              <p:custDataLst>
                <p:tags r:id="rId123"/>
              </p:custDataLst>
            </p:nvPr>
          </p:nvSpPr>
          <p:spPr>
            <a:xfrm>
              <a:off x="6386221" y="3204295"/>
              <a:ext cx="739144" cy="304460"/>
            </a:xfrm>
            <a:custGeom>
              <a:avLst/>
              <a:gdLst/>
              <a:ahLst/>
              <a:cxnLst/>
              <a:rect l="0" t="0" r="0" b="0"/>
              <a:pathLst>
                <a:path w="739144" h="304460">
                  <a:moveTo>
                    <a:pt x="0" y="83543"/>
                  </a:moveTo>
                  <a:lnTo>
                    <a:pt x="24336" y="78358"/>
                  </a:lnTo>
                  <a:lnTo>
                    <a:pt x="68380" y="52435"/>
                  </a:lnTo>
                  <a:lnTo>
                    <a:pt x="103489" y="38166"/>
                  </a:lnTo>
                  <a:lnTo>
                    <a:pt x="123560" y="47485"/>
                  </a:lnTo>
                  <a:lnTo>
                    <a:pt x="147643" y="47932"/>
                  </a:lnTo>
                  <a:lnTo>
                    <a:pt x="163071" y="62048"/>
                  </a:lnTo>
                  <a:lnTo>
                    <a:pt x="186110" y="63132"/>
                  </a:lnTo>
                  <a:lnTo>
                    <a:pt x="219480" y="70694"/>
                  </a:lnTo>
                  <a:lnTo>
                    <a:pt x="241917" y="49693"/>
                  </a:lnTo>
                  <a:lnTo>
                    <a:pt x="232546" y="31806"/>
                  </a:lnTo>
                  <a:lnTo>
                    <a:pt x="256453" y="0"/>
                  </a:lnTo>
                  <a:lnTo>
                    <a:pt x="282311" y="12734"/>
                  </a:lnTo>
                  <a:lnTo>
                    <a:pt x="303264" y="16332"/>
                  </a:lnTo>
                  <a:lnTo>
                    <a:pt x="330404" y="24203"/>
                  </a:lnTo>
                  <a:lnTo>
                    <a:pt x="334805" y="47022"/>
                  </a:lnTo>
                  <a:lnTo>
                    <a:pt x="367598" y="59740"/>
                  </a:lnTo>
                  <a:lnTo>
                    <a:pt x="389411" y="54143"/>
                  </a:lnTo>
                  <a:lnTo>
                    <a:pt x="418612" y="50189"/>
                  </a:lnTo>
                  <a:lnTo>
                    <a:pt x="441745" y="54174"/>
                  </a:lnTo>
                  <a:lnTo>
                    <a:pt x="464352" y="68661"/>
                  </a:lnTo>
                  <a:lnTo>
                    <a:pt x="478362" y="83981"/>
                  </a:lnTo>
                  <a:lnTo>
                    <a:pt x="499767" y="83670"/>
                  </a:lnTo>
                  <a:lnTo>
                    <a:pt x="528841" y="88532"/>
                  </a:lnTo>
                  <a:lnTo>
                    <a:pt x="550059" y="81128"/>
                  </a:lnTo>
                  <a:lnTo>
                    <a:pt x="580448" y="76169"/>
                  </a:lnTo>
                  <a:lnTo>
                    <a:pt x="614257" y="54960"/>
                  </a:lnTo>
                  <a:lnTo>
                    <a:pt x="628099" y="58223"/>
                  </a:lnTo>
                  <a:lnTo>
                    <a:pt x="640184" y="68316"/>
                  </a:lnTo>
                  <a:lnTo>
                    <a:pt x="667724" y="65809"/>
                  </a:lnTo>
                  <a:lnTo>
                    <a:pt x="656483" y="88398"/>
                  </a:lnTo>
                  <a:lnTo>
                    <a:pt x="640175" y="118039"/>
                  </a:lnTo>
                  <a:lnTo>
                    <a:pt x="646120" y="130072"/>
                  </a:lnTo>
                  <a:lnTo>
                    <a:pt x="659188" y="126344"/>
                  </a:lnTo>
                  <a:lnTo>
                    <a:pt x="681960" y="130918"/>
                  </a:lnTo>
                  <a:lnTo>
                    <a:pt x="699702" y="120063"/>
                  </a:lnTo>
                  <a:lnTo>
                    <a:pt x="718224" y="129469"/>
                  </a:lnTo>
                  <a:lnTo>
                    <a:pt x="739143" y="149922"/>
                  </a:lnTo>
                  <a:lnTo>
                    <a:pt x="736614" y="160261"/>
                  </a:lnTo>
                  <a:lnTo>
                    <a:pt x="718403" y="156985"/>
                  </a:lnTo>
                  <a:lnTo>
                    <a:pt x="684872" y="160840"/>
                  </a:lnTo>
                  <a:lnTo>
                    <a:pt x="668626" y="169088"/>
                  </a:lnTo>
                  <a:lnTo>
                    <a:pt x="651712" y="188154"/>
                  </a:lnTo>
                  <a:lnTo>
                    <a:pt x="616517" y="199268"/>
                  </a:lnTo>
                  <a:lnTo>
                    <a:pt x="593516" y="214428"/>
                  </a:lnTo>
                  <a:lnTo>
                    <a:pt x="569791" y="208648"/>
                  </a:lnTo>
                  <a:lnTo>
                    <a:pt x="556801" y="206066"/>
                  </a:lnTo>
                  <a:lnTo>
                    <a:pt x="544684" y="224418"/>
                  </a:lnTo>
                  <a:lnTo>
                    <a:pt x="552055" y="235301"/>
                  </a:lnTo>
                  <a:lnTo>
                    <a:pt x="555792" y="244617"/>
                  </a:lnTo>
                  <a:lnTo>
                    <a:pt x="539636" y="254076"/>
                  </a:lnTo>
                  <a:lnTo>
                    <a:pt x="523072" y="269080"/>
                  </a:lnTo>
                  <a:lnTo>
                    <a:pt x="496100" y="278893"/>
                  </a:lnTo>
                  <a:lnTo>
                    <a:pt x="461503" y="279949"/>
                  </a:lnTo>
                  <a:lnTo>
                    <a:pt x="424214" y="289598"/>
                  </a:lnTo>
                  <a:lnTo>
                    <a:pt x="397339" y="304459"/>
                  </a:lnTo>
                  <a:lnTo>
                    <a:pt x="387120" y="295862"/>
                  </a:lnTo>
                  <a:lnTo>
                    <a:pt x="359189" y="295886"/>
                  </a:lnTo>
                  <a:lnTo>
                    <a:pt x="325045" y="279020"/>
                  </a:lnTo>
                  <a:lnTo>
                    <a:pt x="302258" y="274870"/>
                  </a:lnTo>
                  <a:lnTo>
                    <a:pt x="271557" y="278747"/>
                  </a:lnTo>
                  <a:lnTo>
                    <a:pt x="223913" y="272496"/>
                  </a:lnTo>
                  <a:lnTo>
                    <a:pt x="198467" y="273145"/>
                  </a:lnTo>
                  <a:lnTo>
                    <a:pt x="184919" y="256529"/>
                  </a:lnTo>
                  <a:lnTo>
                    <a:pt x="174403" y="230544"/>
                  </a:lnTo>
                  <a:lnTo>
                    <a:pt x="160139" y="227399"/>
                  </a:lnTo>
                  <a:lnTo>
                    <a:pt x="132251" y="209680"/>
                  </a:lnTo>
                  <a:lnTo>
                    <a:pt x="101162" y="205695"/>
                  </a:lnTo>
                  <a:lnTo>
                    <a:pt x="73732" y="200806"/>
                  </a:lnTo>
                  <a:lnTo>
                    <a:pt x="65427" y="188370"/>
                  </a:lnTo>
                  <a:lnTo>
                    <a:pt x="74315" y="154579"/>
                  </a:lnTo>
                  <a:lnTo>
                    <a:pt x="58388" y="131040"/>
                  </a:lnTo>
                  <a:lnTo>
                    <a:pt x="25461" y="119994"/>
                  </a:lnTo>
                  <a:lnTo>
                    <a:pt x="6060" y="10431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2" name="Freeform 116">
              <a:extLst>
                <a:ext uri="{FF2B5EF4-FFF2-40B4-BE49-F238E27FC236}">
                  <a16:creationId xmlns:a16="http://schemas.microsoft.com/office/drawing/2014/main" id="{2CC04149-2A7D-424A-9817-66B31CA3ADD7}"/>
                </a:ext>
              </a:extLst>
            </p:cNvPr>
            <p:cNvSpPr>
              <a:spLocks noChangeAspect="1"/>
            </p:cNvSpPr>
            <p:nvPr>
              <p:custDataLst>
                <p:tags r:id="rId124"/>
              </p:custDataLst>
            </p:nvPr>
          </p:nvSpPr>
          <p:spPr>
            <a:xfrm>
              <a:off x="5057310" y="4766945"/>
              <a:ext cx="244584" cy="393173"/>
            </a:xfrm>
            <a:custGeom>
              <a:avLst/>
              <a:gdLst/>
              <a:ahLst/>
              <a:cxnLst/>
              <a:rect l="0" t="0" r="0" b="0"/>
              <a:pathLst>
                <a:path w="244584" h="393173">
                  <a:moveTo>
                    <a:pt x="101114" y="28093"/>
                  </a:moveTo>
                  <a:lnTo>
                    <a:pt x="118481" y="26202"/>
                  </a:lnTo>
                  <a:lnTo>
                    <a:pt x="146219" y="32792"/>
                  </a:lnTo>
                  <a:lnTo>
                    <a:pt x="152245" y="29835"/>
                  </a:lnTo>
                  <a:lnTo>
                    <a:pt x="168314" y="29232"/>
                  </a:lnTo>
                  <a:lnTo>
                    <a:pt x="176540" y="22219"/>
                  </a:lnTo>
                  <a:lnTo>
                    <a:pt x="190387" y="22603"/>
                  </a:lnTo>
                  <a:lnTo>
                    <a:pt x="215627" y="13530"/>
                  </a:lnTo>
                  <a:lnTo>
                    <a:pt x="233991" y="0"/>
                  </a:lnTo>
                  <a:lnTo>
                    <a:pt x="237726" y="10462"/>
                  </a:lnTo>
                  <a:lnTo>
                    <a:pt x="236777" y="33746"/>
                  </a:lnTo>
                  <a:lnTo>
                    <a:pt x="239628" y="54298"/>
                  </a:lnTo>
                  <a:lnTo>
                    <a:pt x="240524" y="91015"/>
                  </a:lnTo>
                  <a:lnTo>
                    <a:pt x="244583" y="102555"/>
                  </a:lnTo>
                  <a:lnTo>
                    <a:pt x="237700" y="119419"/>
                  </a:lnTo>
                  <a:lnTo>
                    <a:pt x="228744" y="135845"/>
                  </a:lnTo>
                  <a:lnTo>
                    <a:pt x="214047" y="150543"/>
                  </a:lnTo>
                  <a:lnTo>
                    <a:pt x="192945" y="159568"/>
                  </a:lnTo>
                  <a:lnTo>
                    <a:pt x="166925" y="171108"/>
                  </a:lnTo>
                  <a:lnTo>
                    <a:pt x="140846" y="196698"/>
                  </a:lnTo>
                  <a:lnTo>
                    <a:pt x="131964" y="201061"/>
                  </a:lnTo>
                  <a:lnTo>
                    <a:pt x="115850" y="218070"/>
                  </a:lnTo>
                  <a:lnTo>
                    <a:pt x="106339" y="223615"/>
                  </a:lnTo>
                  <a:lnTo>
                    <a:pt x="104389" y="240746"/>
                  </a:lnTo>
                  <a:lnTo>
                    <a:pt x="115336" y="258997"/>
                  </a:lnTo>
                  <a:lnTo>
                    <a:pt x="119890" y="273171"/>
                  </a:lnTo>
                  <a:lnTo>
                    <a:pt x="120177" y="280416"/>
                  </a:lnTo>
                  <a:lnTo>
                    <a:pt x="124255" y="279204"/>
                  </a:lnTo>
                  <a:lnTo>
                    <a:pt x="123595" y="303017"/>
                  </a:lnTo>
                  <a:lnTo>
                    <a:pt x="119852" y="314335"/>
                  </a:lnTo>
                  <a:lnTo>
                    <a:pt x="125292" y="318512"/>
                  </a:lnTo>
                  <a:lnTo>
                    <a:pt x="121859" y="328677"/>
                  </a:lnTo>
                  <a:lnTo>
                    <a:pt x="112211" y="337385"/>
                  </a:lnTo>
                  <a:lnTo>
                    <a:pt x="93169" y="345672"/>
                  </a:lnTo>
                  <a:lnTo>
                    <a:pt x="65410" y="358973"/>
                  </a:lnTo>
                  <a:lnTo>
                    <a:pt x="55286" y="368081"/>
                  </a:lnTo>
                  <a:lnTo>
                    <a:pt x="57265" y="378479"/>
                  </a:lnTo>
                  <a:lnTo>
                    <a:pt x="63165" y="380142"/>
                  </a:lnTo>
                  <a:lnTo>
                    <a:pt x="61183" y="393172"/>
                  </a:lnTo>
                  <a:lnTo>
                    <a:pt x="43676" y="392964"/>
                  </a:lnTo>
                  <a:lnTo>
                    <a:pt x="41694" y="382019"/>
                  </a:lnTo>
                  <a:lnTo>
                    <a:pt x="38277" y="370942"/>
                  </a:lnTo>
                  <a:lnTo>
                    <a:pt x="36307" y="362092"/>
                  </a:lnTo>
                  <a:lnTo>
                    <a:pt x="40420" y="334716"/>
                  </a:lnTo>
                  <a:lnTo>
                    <a:pt x="34414" y="317350"/>
                  </a:lnTo>
                  <a:lnTo>
                    <a:pt x="23358" y="283118"/>
                  </a:lnTo>
                  <a:lnTo>
                    <a:pt x="47677" y="255670"/>
                  </a:lnTo>
                  <a:lnTo>
                    <a:pt x="53764" y="238299"/>
                  </a:lnTo>
                  <a:lnTo>
                    <a:pt x="57251" y="236110"/>
                  </a:lnTo>
                  <a:lnTo>
                    <a:pt x="59858" y="221973"/>
                  </a:lnTo>
                  <a:lnTo>
                    <a:pt x="56148" y="214873"/>
                  </a:lnTo>
                  <a:lnTo>
                    <a:pt x="57139" y="196995"/>
                  </a:lnTo>
                  <a:lnTo>
                    <a:pt x="61639" y="180459"/>
                  </a:lnTo>
                  <a:lnTo>
                    <a:pt x="61588" y="150366"/>
                  </a:lnTo>
                  <a:lnTo>
                    <a:pt x="49599" y="142746"/>
                  </a:lnTo>
                  <a:lnTo>
                    <a:pt x="38607" y="141024"/>
                  </a:lnTo>
                  <a:lnTo>
                    <a:pt x="33632" y="135164"/>
                  </a:lnTo>
                  <a:lnTo>
                    <a:pt x="22934" y="130168"/>
                  </a:lnTo>
                  <a:lnTo>
                    <a:pt x="3681" y="130639"/>
                  </a:lnTo>
                  <a:lnTo>
                    <a:pt x="2187" y="121817"/>
                  </a:lnTo>
                  <a:lnTo>
                    <a:pt x="0" y="105015"/>
                  </a:lnTo>
                  <a:lnTo>
                    <a:pt x="70045" y="85599"/>
                  </a:lnTo>
                  <a:lnTo>
                    <a:pt x="83333" y="96900"/>
                  </a:lnTo>
                  <a:lnTo>
                    <a:pt x="89684" y="94735"/>
                  </a:lnTo>
                  <a:lnTo>
                    <a:pt x="98797" y="100698"/>
                  </a:lnTo>
                  <a:lnTo>
                    <a:pt x="100136" y="110149"/>
                  </a:lnTo>
                  <a:lnTo>
                    <a:pt x="95281" y="121128"/>
                  </a:lnTo>
                  <a:lnTo>
                    <a:pt x="96989" y="137806"/>
                  </a:lnTo>
                  <a:lnTo>
                    <a:pt x="112050" y="152451"/>
                  </a:lnTo>
                  <a:lnTo>
                    <a:pt x="119097" y="136003"/>
                  </a:lnTo>
                  <a:lnTo>
                    <a:pt x="129088" y="131018"/>
                  </a:lnTo>
                  <a:lnTo>
                    <a:pt x="127124" y="100652"/>
                  </a:lnTo>
                  <a:lnTo>
                    <a:pt x="117455" y="83622"/>
                  </a:lnTo>
                  <a:lnTo>
                    <a:pt x="109127" y="76041"/>
                  </a:lnTo>
                  <a:lnTo>
                    <a:pt x="101114" y="76384"/>
                  </a:lnTo>
                  <a:lnTo>
                    <a:pt x="94651" y="4588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3" name="Freeform 117">
              <a:extLst>
                <a:ext uri="{FF2B5EF4-FFF2-40B4-BE49-F238E27FC236}">
                  <a16:creationId xmlns:a16="http://schemas.microsoft.com/office/drawing/2014/main" id="{8DEF9DE4-8C10-4B52-9FA0-F108E4C5FAF5}"/>
                </a:ext>
              </a:extLst>
            </p:cNvPr>
            <p:cNvSpPr>
              <a:spLocks noChangeAspect="1"/>
            </p:cNvSpPr>
            <p:nvPr>
              <p:custDataLst>
                <p:tags r:id="rId125"/>
              </p:custDataLst>
            </p:nvPr>
          </p:nvSpPr>
          <p:spPr>
            <a:xfrm>
              <a:off x="3966817" y="3879593"/>
              <a:ext cx="280227" cy="308616"/>
            </a:xfrm>
            <a:custGeom>
              <a:avLst/>
              <a:gdLst/>
              <a:ahLst/>
              <a:cxnLst/>
              <a:rect l="0" t="0" r="0" b="0"/>
              <a:pathLst>
                <a:path w="280227" h="308616">
                  <a:moveTo>
                    <a:pt x="112936" y="308615"/>
                  </a:moveTo>
                  <a:lnTo>
                    <a:pt x="97704" y="292408"/>
                  </a:lnTo>
                  <a:lnTo>
                    <a:pt x="83737" y="275012"/>
                  </a:lnTo>
                  <a:lnTo>
                    <a:pt x="68415" y="268737"/>
                  </a:lnTo>
                  <a:lnTo>
                    <a:pt x="57385" y="261769"/>
                  </a:lnTo>
                  <a:lnTo>
                    <a:pt x="44496" y="262029"/>
                  </a:lnTo>
                  <a:lnTo>
                    <a:pt x="33233" y="267196"/>
                  </a:lnTo>
                  <a:lnTo>
                    <a:pt x="21761" y="265150"/>
                  </a:lnTo>
                  <a:lnTo>
                    <a:pt x="13857" y="272747"/>
                  </a:lnTo>
                  <a:lnTo>
                    <a:pt x="11858" y="259975"/>
                  </a:lnTo>
                  <a:lnTo>
                    <a:pt x="18302" y="248268"/>
                  </a:lnTo>
                  <a:lnTo>
                    <a:pt x="21169" y="225859"/>
                  </a:lnTo>
                  <a:lnTo>
                    <a:pt x="18617" y="202256"/>
                  </a:lnTo>
                  <a:lnTo>
                    <a:pt x="15829" y="190350"/>
                  </a:lnTo>
                  <a:lnTo>
                    <a:pt x="18134" y="178382"/>
                  </a:lnTo>
                  <a:lnTo>
                    <a:pt x="12167" y="166953"/>
                  </a:lnTo>
                  <a:lnTo>
                    <a:pt x="0" y="156548"/>
                  </a:lnTo>
                  <a:lnTo>
                    <a:pt x="5037" y="148500"/>
                  </a:lnTo>
                  <a:lnTo>
                    <a:pt x="95431" y="148651"/>
                  </a:lnTo>
                  <a:lnTo>
                    <a:pt x="91054" y="113671"/>
                  </a:lnTo>
                  <a:lnTo>
                    <a:pt x="96698" y="101174"/>
                  </a:lnTo>
                  <a:lnTo>
                    <a:pt x="118326" y="98987"/>
                  </a:lnTo>
                  <a:lnTo>
                    <a:pt x="117583" y="36239"/>
                  </a:lnTo>
                  <a:lnTo>
                    <a:pt x="193343" y="37530"/>
                  </a:lnTo>
                  <a:lnTo>
                    <a:pt x="193410" y="0"/>
                  </a:lnTo>
                  <a:lnTo>
                    <a:pt x="280226" y="59846"/>
                  </a:lnTo>
                  <a:lnTo>
                    <a:pt x="244899" y="60288"/>
                  </a:lnTo>
                  <a:lnTo>
                    <a:pt x="256040" y="165196"/>
                  </a:lnTo>
                  <a:lnTo>
                    <a:pt x="267180" y="268245"/>
                  </a:lnTo>
                  <a:lnTo>
                    <a:pt x="271179" y="271164"/>
                  </a:lnTo>
                  <a:lnTo>
                    <a:pt x="266044" y="287730"/>
                  </a:lnTo>
                  <a:lnTo>
                    <a:pt x="173424" y="288089"/>
                  </a:lnTo>
                  <a:lnTo>
                    <a:pt x="169962" y="293343"/>
                  </a:lnTo>
                  <a:lnTo>
                    <a:pt x="161038" y="291775"/>
                  </a:lnTo>
                  <a:lnTo>
                    <a:pt x="148021" y="296445"/>
                  </a:lnTo>
                  <a:lnTo>
                    <a:pt x="131902" y="289867"/>
                  </a:lnTo>
                  <a:lnTo>
                    <a:pt x="124585" y="290412"/>
                  </a:lnTo>
                  <a:lnTo>
                    <a:pt x="120704" y="30431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4" name="Freeform 118">
              <a:extLst>
                <a:ext uri="{FF2B5EF4-FFF2-40B4-BE49-F238E27FC236}">
                  <a16:creationId xmlns:a16="http://schemas.microsoft.com/office/drawing/2014/main" id="{C780C51D-6954-49AE-AD3B-31BA65E7B4F3}"/>
                </a:ext>
              </a:extLst>
            </p:cNvPr>
            <p:cNvSpPr>
              <a:spLocks noChangeAspect="1"/>
            </p:cNvSpPr>
            <p:nvPr>
              <p:custDataLst>
                <p:tags r:id="rId126"/>
              </p:custDataLst>
            </p:nvPr>
          </p:nvSpPr>
          <p:spPr>
            <a:xfrm>
              <a:off x="5115217" y="4741630"/>
              <a:ext cx="71182" cy="177767"/>
            </a:xfrm>
            <a:custGeom>
              <a:avLst/>
              <a:gdLst/>
              <a:ahLst/>
              <a:cxnLst/>
              <a:rect l="0" t="0" r="0" b="0"/>
              <a:pathLst>
                <a:path w="71182" h="177767">
                  <a:moveTo>
                    <a:pt x="43207" y="53408"/>
                  </a:moveTo>
                  <a:lnTo>
                    <a:pt x="36744" y="71196"/>
                  </a:lnTo>
                  <a:lnTo>
                    <a:pt x="43207" y="101699"/>
                  </a:lnTo>
                  <a:lnTo>
                    <a:pt x="51220" y="101356"/>
                  </a:lnTo>
                  <a:lnTo>
                    <a:pt x="59548" y="108937"/>
                  </a:lnTo>
                  <a:lnTo>
                    <a:pt x="69217" y="125967"/>
                  </a:lnTo>
                  <a:lnTo>
                    <a:pt x="71181" y="156333"/>
                  </a:lnTo>
                  <a:lnTo>
                    <a:pt x="61190" y="161318"/>
                  </a:lnTo>
                  <a:lnTo>
                    <a:pt x="54143" y="177766"/>
                  </a:lnTo>
                  <a:lnTo>
                    <a:pt x="39082" y="163121"/>
                  </a:lnTo>
                  <a:lnTo>
                    <a:pt x="37374" y="146443"/>
                  </a:lnTo>
                  <a:lnTo>
                    <a:pt x="42229" y="135464"/>
                  </a:lnTo>
                  <a:lnTo>
                    <a:pt x="40890" y="126013"/>
                  </a:lnTo>
                  <a:lnTo>
                    <a:pt x="31777" y="120050"/>
                  </a:lnTo>
                  <a:lnTo>
                    <a:pt x="25426" y="122215"/>
                  </a:lnTo>
                  <a:lnTo>
                    <a:pt x="12138" y="110914"/>
                  </a:lnTo>
                  <a:lnTo>
                    <a:pt x="0" y="104822"/>
                  </a:lnTo>
                  <a:lnTo>
                    <a:pt x="7008" y="83006"/>
                  </a:lnTo>
                  <a:lnTo>
                    <a:pt x="14271" y="74845"/>
                  </a:lnTo>
                  <a:lnTo>
                    <a:pt x="9836" y="55447"/>
                  </a:lnTo>
                  <a:lnTo>
                    <a:pt x="14476" y="36503"/>
                  </a:lnTo>
                  <a:lnTo>
                    <a:pt x="18409" y="30178"/>
                  </a:lnTo>
                  <a:lnTo>
                    <a:pt x="12539" y="10388"/>
                  </a:lnTo>
                  <a:lnTo>
                    <a:pt x="1644" y="0"/>
                  </a:lnTo>
                  <a:lnTo>
                    <a:pt x="24273" y="4343"/>
                  </a:lnTo>
                  <a:lnTo>
                    <a:pt x="28915" y="10783"/>
                  </a:lnTo>
                  <a:lnTo>
                    <a:pt x="36744" y="2165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5" name="Freeform 119">
              <a:extLst>
                <a:ext uri="{FF2B5EF4-FFF2-40B4-BE49-F238E27FC236}">
                  <a16:creationId xmlns:a16="http://schemas.microsoft.com/office/drawing/2014/main" id="{34315449-0B6F-470A-BF56-6FE864601343}"/>
                </a:ext>
              </a:extLst>
            </p:cNvPr>
            <p:cNvSpPr>
              <a:spLocks noChangeAspect="1"/>
            </p:cNvSpPr>
            <p:nvPr>
              <p:custDataLst>
                <p:tags r:id="rId127"/>
              </p:custDataLst>
            </p:nvPr>
          </p:nvSpPr>
          <p:spPr>
            <a:xfrm>
              <a:off x="6670933" y="4367803"/>
              <a:ext cx="440791" cy="142321"/>
            </a:xfrm>
            <a:custGeom>
              <a:avLst/>
              <a:gdLst/>
              <a:ahLst/>
              <a:cxnLst/>
              <a:rect l="l" t="t" r="r" b="b"/>
              <a:pathLst>
                <a:path w="440791" h="142321">
                  <a:moveTo>
                    <a:pt x="4013" y="6613"/>
                  </a:moveTo>
                  <a:lnTo>
                    <a:pt x="22847" y="16763"/>
                  </a:lnTo>
                  <a:lnTo>
                    <a:pt x="24664" y="28657"/>
                  </a:lnTo>
                  <a:lnTo>
                    <a:pt x="39899" y="25891"/>
                  </a:lnTo>
                  <a:lnTo>
                    <a:pt x="47445" y="16375"/>
                  </a:lnTo>
                  <a:lnTo>
                    <a:pt x="52753" y="18539"/>
                  </a:lnTo>
                  <a:lnTo>
                    <a:pt x="66385" y="32521"/>
                  </a:lnTo>
                  <a:lnTo>
                    <a:pt x="76068" y="48015"/>
                  </a:lnTo>
                  <a:lnTo>
                    <a:pt x="77392" y="63590"/>
                  </a:lnTo>
                  <a:lnTo>
                    <a:pt x="74935" y="74106"/>
                  </a:lnTo>
                  <a:lnTo>
                    <a:pt x="77181" y="82053"/>
                  </a:lnTo>
                  <a:lnTo>
                    <a:pt x="78867" y="95727"/>
                  </a:lnTo>
                  <a:lnTo>
                    <a:pt x="86997" y="102092"/>
                  </a:lnTo>
                  <a:lnTo>
                    <a:pt x="96075" y="122513"/>
                  </a:lnTo>
                  <a:lnTo>
                    <a:pt x="95634" y="130319"/>
                  </a:lnTo>
                  <a:lnTo>
                    <a:pt x="79265" y="131859"/>
                  </a:lnTo>
                  <a:lnTo>
                    <a:pt x="57427" y="114756"/>
                  </a:lnTo>
                  <a:lnTo>
                    <a:pt x="30121" y="96425"/>
                  </a:lnTo>
                  <a:lnTo>
                    <a:pt x="27418" y="84654"/>
                  </a:lnTo>
                  <a:lnTo>
                    <a:pt x="14074" y="69196"/>
                  </a:lnTo>
                  <a:lnTo>
                    <a:pt x="10888" y="50045"/>
                  </a:lnTo>
                  <a:lnTo>
                    <a:pt x="2562" y="37428"/>
                  </a:lnTo>
                  <a:lnTo>
                    <a:pt x="5091" y="20570"/>
                  </a:lnTo>
                  <a:lnTo>
                    <a:pt x="0" y="10747"/>
                  </a:lnTo>
                  <a:close/>
                  <a:moveTo>
                    <a:pt x="393419" y="0"/>
                  </a:moveTo>
                  <a:lnTo>
                    <a:pt x="405278" y="11728"/>
                  </a:lnTo>
                  <a:lnTo>
                    <a:pt x="406333" y="21799"/>
                  </a:lnTo>
                  <a:lnTo>
                    <a:pt x="421535" y="28256"/>
                  </a:lnTo>
                  <a:lnTo>
                    <a:pt x="440791" y="35222"/>
                  </a:lnTo>
                  <a:lnTo>
                    <a:pt x="439147" y="44287"/>
                  </a:lnTo>
                  <a:lnTo>
                    <a:pt x="423660" y="45435"/>
                  </a:lnTo>
                  <a:lnTo>
                    <a:pt x="427782" y="56731"/>
                  </a:lnTo>
                  <a:lnTo>
                    <a:pt x="410786" y="64609"/>
                  </a:lnTo>
                  <a:lnTo>
                    <a:pt x="390778" y="60712"/>
                  </a:lnTo>
                  <a:lnTo>
                    <a:pt x="364240" y="60701"/>
                  </a:lnTo>
                  <a:lnTo>
                    <a:pt x="356243" y="86989"/>
                  </a:lnTo>
                  <a:lnTo>
                    <a:pt x="347355" y="95023"/>
                  </a:lnTo>
                  <a:lnTo>
                    <a:pt x="335521" y="127141"/>
                  </a:lnTo>
                  <a:lnTo>
                    <a:pt x="316697" y="132062"/>
                  </a:lnTo>
                  <a:lnTo>
                    <a:pt x="294860" y="125592"/>
                  </a:lnTo>
                  <a:lnTo>
                    <a:pt x="283791" y="127616"/>
                  </a:lnTo>
                  <a:lnTo>
                    <a:pt x="270340" y="139290"/>
                  </a:lnTo>
                  <a:lnTo>
                    <a:pt x="255604" y="137627"/>
                  </a:lnTo>
                  <a:lnTo>
                    <a:pt x="240713" y="142321"/>
                  </a:lnTo>
                  <a:lnTo>
                    <a:pt x="224929" y="129278"/>
                  </a:lnTo>
                  <a:lnTo>
                    <a:pt x="221075" y="113847"/>
                  </a:lnTo>
                  <a:lnTo>
                    <a:pt x="237992" y="121760"/>
                  </a:lnTo>
                  <a:lnTo>
                    <a:pt x="255828" y="117445"/>
                  </a:lnTo>
                  <a:lnTo>
                    <a:pt x="260473" y="97892"/>
                  </a:lnTo>
                  <a:lnTo>
                    <a:pt x="270325" y="93536"/>
                  </a:lnTo>
                  <a:lnTo>
                    <a:pt x="297994" y="88534"/>
                  </a:lnTo>
                  <a:lnTo>
                    <a:pt x="314552" y="70251"/>
                  </a:lnTo>
                  <a:lnTo>
                    <a:pt x="325888" y="55629"/>
                  </a:lnTo>
                  <a:lnTo>
                    <a:pt x="336404" y="67612"/>
                  </a:lnTo>
                  <a:lnTo>
                    <a:pt x="341251" y="59735"/>
                  </a:lnTo>
                  <a:lnTo>
                    <a:pt x="352282" y="60468"/>
                  </a:lnTo>
                  <a:lnTo>
                    <a:pt x="353626" y="45696"/>
                  </a:lnTo>
                  <a:lnTo>
                    <a:pt x="354665" y="34298"/>
                  </a:lnTo>
                  <a:lnTo>
                    <a:pt x="372439" y="18192"/>
                  </a:lnTo>
                  <a:lnTo>
                    <a:pt x="384081" y="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6" name="Freeform 120">
              <a:extLst>
                <a:ext uri="{FF2B5EF4-FFF2-40B4-BE49-F238E27FC236}">
                  <a16:creationId xmlns:a16="http://schemas.microsoft.com/office/drawing/2014/main" id="{C20DEAE5-1514-46D3-A497-6F7F75DFA49E}"/>
                </a:ext>
              </a:extLst>
            </p:cNvPr>
            <p:cNvSpPr>
              <a:spLocks noChangeAspect="1"/>
            </p:cNvSpPr>
            <p:nvPr>
              <p:custDataLst>
                <p:tags r:id="rId128"/>
              </p:custDataLst>
            </p:nvPr>
          </p:nvSpPr>
          <p:spPr>
            <a:xfrm>
              <a:off x="4631543" y="4922721"/>
              <a:ext cx="308160" cy="294870"/>
            </a:xfrm>
            <a:custGeom>
              <a:avLst/>
              <a:gdLst/>
              <a:ahLst/>
              <a:cxnLst/>
              <a:rect l="0" t="0" r="0" b="0"/>
              <a:pathLst>
                <a:path w="308160" h="294870">
                  <a:moveTo>
                    <a:pt x="106429" y="283110"/>
                  </a:moveTo>
                  <a:lnTo>
                    <a:pt x="89275" y="264227"/>
                  </a:lnTo>
                  <a:lnTo>
                    <a:pt x="80242" y="246050"/>
                  </a:lnTo>
                  <a:lnTo>
                    <a:pt x="75146" y="221932"/>
                  </a:lnTo>
                  <a:lnTo>
                    <a:pt x="69456" y="204067"/>
                  </a:lnTo>
                  <a:lnTo>
                    <a:pt x="61722" y="166311"/>
                  </a:lnTo>
                  <a:lnTo>
                    <a:pt x="61204" y="137173"/>
                  </a:lnTo>
                  <a:lnTo>
                    <a:pt x="58250" y="123942"/>
                  </a:lnTo>
                  <a:lnTo>
                    <a:pt x="49269" y="113965"/>
                  </a:lnTo>
                  <a:lnTo>
                    <a:pt x="37355" y="94019"/>
                  </a:lnTo>
                  <a:lnTo>
                    <a:pt x="25221" y="65180"/>
                  </a:lnTo>
                  <a:lnTo>
                    <a:pt x="20183" y="50142"/>
                  </a:lnTo>
                  <a:lnTo>
                    <a:pt x="1402" y="26830"/>
                  </a:lnTo>
                  <a:lnTo>
                    <a:pt x="0" y="8566"/>
                  </a:lnTo>
                  <a:lnTo>
                    <a:pt x="11109" y="4045"/>
                  </a:lnTo>
                  <a:lnTo>
                    <a:pt x="24927" y="0"/>
                  </a:lnTo>
                  <a:lnTo>
                    <a:pt x="39891" y="709"/>
                  </a:lnTo>
                  <a:lnTo>
                    <a:pt x="53651" y="11455"/>
                  </a:lnTo>
                  <a:lnTo>
                    <a:pt x="57141" y="9783"/>
                  </a:lnTo>
                  <a:lnTo>
                    <a:pt x="150710" y="8757"/>
                  </a:lnTo>
                  <a:lnTo>
                    <a:pt x="166703" y="20158"/>
                  </a:lnTo>
                  <a:lnTo>
                    <a:pt x="222586" y="23529"/>
                  </a:lnTo>
                  <a:lnTo>
                    <a:pt x="265009" y="13827"/>
                  </a:lnTo>
                  <a:lnTo>
                    <a:pt x="283909" y="8422"/>
                  </a:lnTo>
                  <a:lnTo>
                    <a:pt x="298878" y="9791"/>
                  </a:lnTo>
                  <a:lnTo>
                    <a:pt x="307987" y="15152"/>
                  </a:lnTo>
                  <a:lnTo>
                    <a:pt x="308159" y="17127"/>
                  </a:lnTo>
                  <a:lnTo>
                    <a:pt x="295147" y="22493"/>
                  </a:lnTo>
                  <a:lnTo>
                    <a:pt x="288145" y="22546"/>
                  </a:lnTo>
                  <a:lnTo>
                    <a:pt x="273410" y="31889"/>
                  </a:lnTo>
                  <a:lnTo>
                    <a:pt x="264589" y="22062"/>
                  </a:lnTo>
                  <a:lnTo>
                    <a:pt x="229000" y="30407"/>
                  </a:lnTo>
                  <a:lnTo>
                    <a:pt x="211817" y="31196"/>
                  </a:lnTo>
                  <a:lnTo>
                    <a:pt x="211136" y="116754"/>
                  </a:lnTo>
                  <a:lnTo>
                    <a:pt x="188384" y="117597"/>
                  </a:lnTo>
                  <a:lnTo>
                    <a:pt x="188391" y="188705"/>
                  </a:lnTo>
                  <a:lnTo>
                    <a:pt x="188367" y="280215"/>
                  </a:lnTo>
                  <a:lnTo>
                    <a:pt x="167763" y="293035"/>
                  </a:lnTo>
                  <a:lnTo>
                    <a:pt x="155363" y="294869"/>
                  </a:lnTo>
                  <a:lnTo>
                    <a:pt x="140849" y="290121"/>
                  </a:lnTo>
                  <a:lnTo>
                    <a:pt x="130493" y="288293"/>
                  </a:lnTo>
                  <a:lnTo>
                    <a:pt x="126603" y="277583"/>
                  </a:lnTo>
                  <a:lnTo>
                    <a:pt x="117487" y="2707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7" name="Freeform 121">
              <a:extLst>
                <a:ext uri="{FF2B5EF4-FFF2-40B4-BE49-F238E27FC236}">
                  <a16:creationId xmlns:a16="http://schemas.microsoft.com/office/drawing/2014/main" id="{31AA5109-FCA1-4819-BC37-17975D260CAE}"/>
                </a:ext>
              </a:extLst>
            </p:cNvPr>
            <p:cNvSpPr>
              <a:spLocks noChangeAspect="1"/>
            </p:cNvSpPr>
            <p:nvPr>
              <p:custDataLst>
                <p:tags r:id="rId129"/>
              </p:custDataLst>
            </p:nvPr>
          </p:nvSpPr>
          <p:spPr>
            <a:xfrm>
              <a:off x="4367511" y="3976214"/>
              <a:ext cx="360266" cy="281413"/>
            </a:xfrm>
            <a:custGeom>
              <a:avLst/>
              <a:gdLst/>
              <a:ahLst/>
              <a:cxnLst/>
              <a:rect l="0" t="0" r="0" b="0"/>
              <a:pathLst>
                <a:path w="360266" h="281413">
                  <a:moveTo>
                    <a:pt x="42907" y="274860"/>
                  </a:moveTo>
                  <a:lnTo>
                    <a:pt x="43429" y="258816"/>
                  </a:lnTo>
                  <a:lnTo>
                    <a:pt x="16814" y="253497"/>
                  </a:lnTo>
                  <a:lnTo>
                    <a:pt x="16098" y="242137"/>
                  </a:lnTo>
                  <a:lnTo>
                    <a:pt x="3099" y="226786"/>
                  </a:lnTo>
                  <a:lnTo>
                    <a:pt x="0" y="216062"/>
                  </a:lnTo>
                  <a:lnTo>
                    <a:pt x="1829" y="204635"/>
                  </a:lnTo>
                  <a:lnTo>
                    <a:pt x="16623" y="203708"/>
                  </a:lnTo>
                  <a:lnTo>
                    <a:pt x="25157" y="195318"/>
                  </a:lnTo>
                  <a:lnTo>
                    <a:pt x="56653" y="193287"/>
                  </a:lnTo>
                  <a:lnTo>
                    <a:pt x="77156" y="189539"/>
                  </a:lnTo>
                  <a:lnTo>
                    <a:pt x="79122" y="174959"/>
                  </a:lnTo>
                  <a:lnTo>
                    <a:pt x="91743" y="159122"/>
                  </a:lnTo>
                  <a:lnTo>
                    <a:pt x="91679" y="104234"/>
                  </a:lnTo>
                  <a:lnTo>
                    <a:pt x="124229" y="93552"/>
                  </a:lnTo>
                  <a:lnTo>
                    <a:pt x="191061" y="46266"/>
                  </a:lnTo>
                  <a:lnTo>
                    <a:pt x="270156" y="0"/>
                  </a:lnTo>
                  <a:lnTo>
                    <a:pt x="306671" y="10502"/>
                  </a:lnTo>
                  <a:lnTo>
                    <a:pt x="319654" y="23848"/>
                  </a:lnTo>
                  <a:lnTo>
                    <a:pt x="335983" y="14820"/>
                  </a:lnTo>
                  <a:lnTo>
                    <a:pt x="341652" y="52478"/>
                  </a:lnTo>
                  <a:lnTo>
                    <a:pt x="350289" y="58753"/>
                  </a:lnTo>
                  <a:lnTo>
                    <a:pt x="350660" y="66418"/>
                  </a:lnTo>
                  <a:lnTo>
                    <a:pt x="360265" y="74668"/>
                  </a:lnTo>
                  <a:lnTo>
                    <a:pt x="355245" y="85011"/>
                  </a:lnTo>
                  <a:lnTo>
                    <a:pt x="346350" y="133541"/>
                  </a:lnTo>
                  <a:lnTo>
                    <a:pt x="345134" y="164459"/>
                  </a:lnTo>
                  <a:lnTo>
                    <a:pt x="315691" y="186790"/>
                  </a:lnTo>
                  <a:lnTo>
                    <a:pt x="305724" y="217878"/>
                  </a:lnTo>
                  <a:lnTo>
                    <a:pt x="315333" y="226599"/>
                  </a:lnTo>
                  <a:lnTo>
                    <a:pt x="315282" y="241722"/>
                  </a:lnTo>
                  <a:lnTo>
                    <a:pt x="330085" y="242263"/>
                  </a:lnTo>
                  <a:lnTo>
                    <a:pt x="327777" y="253319"/>
                  </a:lnTo>
                  <a:lnTo>
                    <a:pt x="321262" y="254665"/>
                  </a:lnTo>
                  <a:lnTo>
                    <a:pt x="320519" y="262130"/>
                  </a:lnTo>
                  <a:lnTo>
                    <a:pt x="316226" y="262648"/>
                  </a:lnTo>
                  <a:lnTo>
                    <a:pt x="300607" y="236954"/>
                  </a:lnTo>
                  <a:lnTo>
                    <a:pt x="295189" y="236019"/>
                  </a:lnTo>
                  <a:lnTo>
                    <a:pt x="277140" y="249147"/>
                  </a:lnTo>
                  <a:lnTo>
                    <a:pt x="259268" y="242296"/>
                  </a:lnTo>
                  <a:lnTo>
                    <a:pt x="246845" y="240926"/>
                  </a:lnTo>
                  <a:lnTo>
                    <a:pt x="240184" y="244224"/>
                  </a:lnTo>
                  <a:lnTo>
                    <a:pt x="226652" y="243511"/>
                  </a:lnTo>
                  <a:lnTo>
                    <a:pt x="213036" y="253514"/>
                  </a:lnTo>
                  <a:lnTo>
                    <a:pt x="201264" y="254087"/>
                  </a:lnTo>
                  <a:lnTo>
                    <a:pt x="173328" y="241955"/>
                  </a:lnTo>
                  <a:lnTo>
                    <a:pt x="162389" y="247719"/>
                  </a:lnTo>
                  <a:lnTo>
                    <a:pt x="150609" y="247319"/>
                  </a:lnTo>
                  <a:lnTo>
                    <a:pt x="141953" y="238449"/>
                  </a:lnTo>
                  <a:lnTo>
                    <a:pt x="118816" y="229675"/>
                  </a:lnTo>
                  <a:lnTo>
                    <a:pt x="94009" y="232461"/>
                  </a:lnTo>
                  <a:lnTo>
                    <a:pt x="87998" y="237545"/>
                  </a:lnTo>
                  <a:lnTo>
                    <a:pt x="84751" y="251050"/>
                  </a:lnTo>
                  <a:lnTo>
                    <a:pt x="78134" y="260507"/>
                  </a:lnTo>
                  <a:lnTo>
                    <a:pt x="76531" y="281412"/>
                  </a:lnTo>
                  <a:lnTo>
                    <a:pt x="58930" y="267941"/>
                  </a:lnTo>
                  <a:lnTo>
                    <a:pt x="50655" y="26800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8" name="Freeform 122">
              <a:extLst>
                <a:ext uri="{FF2B5EF4-FFF2-40B4-BE49-F238E27FC236}">
                  <a16:creationId xmlns:a16="http://schemas.microsoft.com/office/drawing/2014/main" id="{5CC4B58C-38FB-49FA-AD23-5671BF130CD4}"/>
                </a:ext>
              </a:extLst>
            </p:cNvPr>
            <p:cNvSpPr>
              <a:spLocks noChangeAspect="1"/>
            </p:cNvSpPr>
            <p:nvPr>
              <p:custDataLst>
                <p:tags r:id="rId130"/>
              </p:custDataLst>
            </p:nvPr>
          </p:nvSpPr>
          <p:spPr>
            <a:xfrm>
              <a:off x="4422818" y="4205889"/>
              <a:ext cx="274350" cy="224141"/>
            </a:xfrm>
            <a:custGeom>
              <a:avLst/>
              <a:gdLst/>
              <a:ahLst/>
              <a:cxnLst/>
              <a:rect l="0" t="0" r="0" b="0"/>
              <a:pathLst>
                <a:path w="274350" h="224141">
                  <a:moveTo>
                    <a:pt x="134078" y="211850"/>
                  </a:moveTo>
                  <a:lnTo>
                    <a:pt x="110114" y="220174"/>
                  </a:lnTo>
                  <a:lnTo>
                    <a:pt x="101354" y="218958"/>
                  </a:lnTo>
                  <a:lnTo>
                    <a:pt x="92478" y="224140"/>
                  </a:lnTo>
                  <a:lnTo>
                    <a:pt x="74014" y="223635"/>
                  </a:lnTo>
                  <a:lnTo>
                    <a:pt x="61656" y="209166"/>
                  </a:lnTo>
                  <a:lnTo>
                    <a:pt x="54057" y="192413"/>
                  </a:lnTo>
                  <a:lnTo>
                    <a:pt x="37715" y="177153"/>
                  </a:lnTo>
                  <a:lnTo>
                    <a:pt x="20370" y="177439"/>
                  </a:lnTo>
                  <a:lnTo>
                    <a:pt x="0" y="177427"/>
                  </a:lnTo>
                  <a:lnTo>
                    <a:pt x="1324" y="140037"/>
                  </a:lnTo>
                  <a:lnTo>
                    <a:pt x="741" y="125257"/>
                  </a:lnTo>
                  <a:lnTo>
                    <a:pt x="5092" y="110587"/>
                  </a:lnTo>
                  <a:lnTo>
                    <a:pt x="12203" y="103451"/>
                  </a:lnTo>
                  <a:lnTo>
                    <a:pt x="23400" y="89028"/>
                  </a:lnTo>
                  <a:lnTo>
                    <a:pt x="20968" y="82755"/>
                  </a:lnTo>
                  <a:lnTo>
                    <a:pt x="25516" y="73362"/>
                  </a:lnTo>
                  <a:lnTo>
                    <a:pt x="20325" y="59505"/>
                  </a:lnTo>
                  <a:lnTo>
                    <a:pt x="21224" y="51737"/>
                  </a:lnTo>
                  <a:lnTo>
                    <a:pt x="22827" y="30832"/>
                  </a:lnTo>
                  <a:lnTo>
                    <a:pt x="29444" y="21375"/>
                  </a:lnTo>
                  <a:lnTo>
                    <a:pt x="32691" y="7870"/>
                  </a:lnTo>
                  <a:lnTo>
                    <a:pt x="38702" y="2786"/>
                  </a:lnTo>
                  <a:lnTo>
                    <a:pt x="63509" y="0"/>
                  </a:lnTo>
                  <a:lnTo>
                    <a:pt x="86646" y="8774"/>
                  </a:lnTo>
                  <a:lnTo>
                    <a:pt x="95302" y="17644"/>
                  </a:lnTo>
                  <a:lnTo>
                    <a:pt x="107082" y="18044"/>
                  </a:lnTo>
                  <a:lnTo>
                    <a:pt x="118021" y="12280"/>
                  </a:lnTo>
                  <a:lnTo>
                    <a:pt x="145957" y="24412"/>
                  </a:lnTo>
                  <a:lnTo>
                    <a:pt x="157729" y="23839"/>
                  </a:lnTo>
                  <a:lnTo>
                    <a:pt x="171345" y="13836"/>
                  </a:lnTo>
                  <a:lnTo>
                    <a:pt x="184877" y="14549"/>
                  </a:lnTo>
                  <a:lnTo>
                    <a:pt x="191538" y="11251"/>
                  </a:lnTo>
                  <a:lnTo>
                    <a:pt x="203961" y="12621"/>
                  </a:lnTo>
                  <a:lnTo>
                    <a:pt x="221833" y="19472"/>
                  </a:lnTo>
                  <a:lnTo>
                    <a:pt x="239882" y="6344"/>
                  </a:lnTo>
                  <a:lnTo>
                    <a:pt x="245300" y="7279"/>
                  </a:lnTo>
                  <a:lnTo>
                    <a:pt x="260919" y="32973"/>
                  </a:lnTo>
                  <a:lnTo>
                    <a:pt x="265212" y="32455"/>
                  </a:lnTo>
                  <a:lnTo>
                    <a:pt x="274349" y="41786"/>
                  </a:lnTo>
                  <a:lnTo>
                    <a:pt x="271833" y="46014"/>
                  </a:lnTo>
                  <a:lnTo>
                    <a:pt x="270614" y="53791"/>
                  </a:lnTo>
                  <a:lnTo>
                    <a:pt x="251168" y="71872"/>
                  </a:lnTo>
                  <a:lnTo>
                    <a:pt x="245068" y="86763"/>
                  </a:lnTo>
                  <a:lnTo>
                    <a:pt x="241812" y="98875"/>
                  </a:lnTo>
                  <a:lnTo>
                    <a:pt x="236915" y="104065"/>
                  </a:lnTo>
                  <a:lnTo>
                    <a:pt x="232257" y="120354"/>
                  </a:lnTo>
                  <a:lnTo>
                    <a:pt x="219913" y="129930"/>
                  </a:lnTo>
                  <a:lnTo>
                    <a:pt x="216336" y="141684"/>
                  </a:lnTo>
                  <a:lnTo>
                    <a:pt x="211151" y="151034"/>
                  </a:lnTo>
                  <a:lnTo>
                    <a:pt x="208992" y="160677"/>
                  </a:lnTo>
                  <a:lnTo>
                    <a:pt x="193135" y="168490"/>
                  </a:lnTo>
                  <a:lnTo>
                    <a:pt x="180176" y="158961"/>
                  </a:lnTo>
                  <a:lnTo>
                    <a:pt x="171425" y="159346"/>
                  </a:lnTo>
                  <a:lnTo>
                    <a:pt x="157678" y="172916"/>
                  </a:lnTo>
                  <a:lnTo>
                    <a:pt x="150995" y="173124"/>
                  </a:lnTo>
                  <a:lnTo>
                    <a:pt x="140016" y="19547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9" name="Freeform 123">
              <a:extLst>
                <a:ext uri="{FF2B5EF4-FFF2-40B4-BE49-F238E27FC236}">
                  <a16:creationId xmlns:a16="http://schemas.microsoft.com/office/drawing/2014/main" id="{5A183611-DAC6-4266-BAAE-3110EFF7C8A7}"/>
                </a:ext>
              </a:extLst>
            </p:cNvPr>
            <p:cNvSpPr>
              <a:spLocks noChangeAspect="1"/>
            </p:cNvSpPr>
            <p:nvPr>
              <p:custDataLst>
                <p:tags r:id="rId131"/>
              </p:custDataLst>
            </p:nvPr>
          </p:nvSpPr>
          <p:spPr>
            <a:xfrm>
              <a:off x="4437205" y="3158690"/>
              <a:ext cx="87186" cy="83725"/>
            </a:xfrm>
            <a:custGeom>
              <a:avLst/>
              <a:gdLst/>
              <a:ahLst/>
              <a:cxnLst/>
              <a:rect l="0" t="0" r="0" b="0"/>
              <a:pathLst>
                <a:path w="87186" h="83725">
                  <a:moveTo>
                    <a:pt x="63690" y="0"/>
                  </a:moveTo>
                  <a:lnTo>
                    <a:pt x="82871" y="888"/>
                  </a:lnTo>
                  <a:lnTo>
                    <a:pt x="87185" y="11499"/>
                  </a:lnTo>
                  <a:lnTo>
                    <a:pt x="81433" y="40006"/>
                  </a:lnTo>
                  <a:lnTo>
                    <a:pt x="75582" y="51631"/>
                  </a:lnTo>
                  <a:lnTo>
                    <a:pt x="61716" y="51644"/>
                  </a:lnTo>
                  <a:lnTo>
                    <a:pt x="65594" y="83724"/>
                  </a:lnTo>
                  <a:lnTo>
                    <a:pt x="52905" y="76609"/>
                  </a:lnTo>
                  <a:lnTo>
                    <a:pt x="38295" y="63220"/>
                  </a:lnTo>
                  <a:lnTo>
                    <a:pt x="16899" y="69584"/>
                  </a:lnTo>
                  <a:lnTo>
                    <a:pt x="0" y="67181"/>
                  </a:lnTo>
                  <a:lnTo>
                    <a:pt x="11895" y="58753"/>
                  </a:lnTo>
                  <a:lnTo>
                    <a:pt x="32109" y="1313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0" name="Freeform 124">
              <a:extLst>
                <a:ext uri="{FF2B5EF4-FFF2-40B4-BE49-F238E27FC236}">
                  <a16:creationId xmlns:a16="http://schemas.microsoft.com/office/drawing/2014/main" id="{A8D8F630-F53C-41A5-A658-65DB2D7A0900}"/>
                </a:ext>
              </a:extLst>
            </p:cNvPr>
            <p:cNvSpPr>
              <a:spLocks noChangeAspect="1"/>
            </p:cNvSpPr>
            <p:nvPr>
              <p:custDataLst>
                <p:tags r:id="rId132"/>
              </p:custDataLst>
            </p:nvPr>
          </p:nvSpPr>
          <p:spPr>
            <a:xfrm>
              <a:off x="4475918" y="2069635"/>
              <a:ext cx="607105" cy="940787"/>
            </a:xfrm>
            <a:custGeom>
              <a:avLst/>
              <a:gdLst/>
              <a:ahLst/>
              <a:cxnLst/>
              <a:rect l="l" t="t" r="r" b="b"/>
              <a:pathLst>
                <a:path w="607105" h="940787">
                  <a:moveTo>
                    <a:pt x="534906" y="449692"/>
                  </a:moveTo>
                  <a:lnTo>
                    <a:pt x="607105" y="480419"/>
                  </a:lnTo>
                  <a:lnTo>
                    <a:pt x="577375" y="491536"/>
                  </a:lnTo>
                  <a:lnTo>
                    <a:pt x="602666" y="517398"/>
                  </a:lnTo>
                  <a:lnTo>
                    <a:pt x="563391" y="533742"/>
                  </a:lnTo>
                  <a:lnTo>
                    <a:pt x="544748" y="537476"/>
                  </a:lnTo>
                  <a:lnTo>
                    <a:pt x="554526" y="508855"/>
                  </a:lnTo>
                  <a:lnTo>
                    <a:pt x="524905" y="492450"/>
                  </a:lnTo>
                  <a:lnTo>
                    <a:pt x="489065" y="506438"/>
                  </a:lnTo>
                  <a:lnTo>
                    <a:pt x="477745" y="536369"/>
                  </a:lnTo>
                  <a:lnTo>
                    <a:pt x="455735" y="554222"/>
                  </a:lnTo>
                  <a:lnTo>
                    <a:pt x="430953" y="544492"/>
                  </a:lnTo>
                  <a:lnTo>
                    <a:pt x="400811" y="546489"/>
                  </a:lnTo>
                  <a:lnTo>
                    <a:pt x="375159" y="525059"/>
                  </a:lnTo>
                  <a:lnTo>
                    <a:pt x="361325" y="535796"/>
                  </a:lnTo>
                  <a:lnTo>
                    <a:pt x="347006" y="537462"/>
                  </a:lnTo>
                  <a:lnTo>
                    <a:pt x="343620" y="563933"/>
                  </a:lnTo>
                  <a:lnTo>
                    <a:pt x="300116" y="557520"/>
                  </a:lnTo>
                  <a:lnTo>
                    <a:pt x="294007" y="579725"/>
                  </a:lnTo>
                  <a:lnTo>
                    <a:pt x="271840" y="579591"/>
                  </a:lnTo>
                  <a:lnTo>
                    <a:pt x="256601" y="607617"/>
                  </a:lnTo>
                  <a:lnTo>
                    <a:pt x="233512" y="650536"/>
                  </a:lnTo>
                  <a:lnTo>
                    <a:pt x="197671" y="703754"/>
                  </a:lnTo>
                  <a:lnTo>
                    <a:pt x="206078" y="716474"/>
                  </a:lnTo>
                  <a:lnTo>
                    <a:pt x="198046" y="731136"/>
                  </a:lnTo>
                  <a:lnTo>
                    <a:pt x="175148" y="730506"/>
                  </a:lnTo>
                  <a:lnTo>
                    <a:pt x="160159" y="764817"/>
                  </a:lnTo>
                  <a:lnTo>
                    <a:pt x="161578" y="812479"/>
                  </a:lnTo>
                  <a:lnTo>
                    <a:pt x="176330" y="830396"/>
                  </a:lnTo>
                  <a:lnTo>
                    <a:pt x="168695" y="871404"/>
                  </a:lnTo>
                  <a:lnTo>
                    <a:pt x="149488" y="894970"/>
                  </a:lnTo>
                  <a:lnTo>
                    <a:pt x="139311" y="914590"/>
                  </a:lnTo>
                  <a:lnTo>
                    <a:pt x="123827" y="893691"/>
                  </a:lnTo>
                  <a:lnTo>
                    <a:pt x="78248" y="932918"/>
                  </a:lnTo>
                  <a:lnTo>
                    <a:pt x="47474" y="940787"/>
                  </a:lnTo>
                  <a:lnTo>
                    <a:pt x="15552" y="923657"/>
                  </a:lnTo>
                  <a:lnTo>
                    <a:pt x="7298" y="887062"/>
                  </a:lnTo>
                  <a:lnTo>
                    <a:pt x="0" y="806413"/>
                  </a:lnTo>
                  <a:lnTo>
                    <a:pt x="21255" y="783385"/>
                  </a:lnTo>
                  <a:lnTo>
                    <a:pt x="82205" y="752965"/>
                  </a:lnTo>
                  <a:lnTo>
                    <a:pt x="127777" y="714966"/>
                  </a:lnTo>
                  <a:lnTo>
                    <a:pt x="170033" y="662538"/>
                  </a:lnTo>
                  <a:lnTo>
                    <a:pt x="225496" y="587638"/>
                  </a:lnTo>
                  <a:lnTo>
                    <a:pt x="264155" y="557687"/>
                  </a:lnTo>
                  <a:lnTo>
                    <a:pt x="327588" y="506761"/>
                  </a:lnTo>
                  <a:lnTo>
                    <a:pt x="378241" y="488678"/>
                  </a:lnTo>
                  <a:lnTo>
                    <a:pt x="416219" y="490881"/>
                  </a:lnTo>
                  <a:lnTo>
                    <a:pt x="451369" y="456240"/>
                  </a:lnTo>
                  <a:lnTo>
                    <a:pt x="493461" y="458105"/>
                  </a:lnTo>
                  <a:close/>
                  <a:moveTo>
                    <a:pt x="412999" y="114547"/>
                  </a:moveTo>
                  <a:lnTo>
                    <a:pt x="422165" y="133385"/>
                  </a:lnTo>
                  <a:lnTo>
                    <a:pt x="455468" y="144619"/>
                  </a:lnTo>
                  <a:lnTo>
                    <a:pt x="403906" y="164805"/>
                  </a:lnTo>
                  <a:lnTo>
                    <a:pt x="363181" y="153374"/>
                  </a:lnTo>
                  <a:lnTo>
                    <a:pt x="379111" y="140586"/>
                  </a:lnTo>
                  <a:lnTo>
                    <a:pt x="365164" y="124623"/>
                  </a:lnTo>
                  <a:close/>
                  <a:moveTo>
                    <a:pt x="276964" y="32253"/>
                  </a:moveTo>
                  <a:lnTo>
                    <a:pt x="306071" y="50571"/>
                  </a:lnTo>
                  <a:lnTo>
                    <a:pt x="382059" y="89096"/>
                  </a:lnTo>
                  <a:lnTo>
                    <a:pt x="323972" y="109109"/>
                  </a:lnTo>
                  <a:lnTo>
                    <a:pt x="311146" y="145967"/>
                  </a:lnTo>
                  <a:lnTo>
                    <a:pt x="290896" y="155303"/>
                  </a:lnTo>
                  <a:lnTo>
                    <a:pt x="279903" y="195750"/>
                  </a:lnTo>
                  <a:lnTo>
                    <a:pt x="252087" y="197630"/>
                  </a:lnTo>
                  <a:lnTo>
                    <a:pt x="202447" y="167973"/>
                  </a:lnTo>
                  <a:lnTo>
                    <a:pt x="223382" y="150477"/>
                  </a:lnTo>
                  <a:lnTo>
                    <a:pt x="188782" y="136109"/>
                  </a:lnTo>
                  <a:lnTo>
                    <a:pt x="143810" y="93529"/>
                  </a:lnTo>
                  <a:lnTo>
                    <a:pt x="125857" y="53146"/>
                  </a:lnTo>
                  <a:lnTo>
                    <a:pt x="188786" y="34382"/>
                  </a:lnTo>
                  <a:lnTo>
                    <a:pt x="201430" y="52729"/>
                  </a:lnTo>
                  <a:lnTo>
                    <a:pt x="234306" y="52003"/>
                  </a:lnTo>
                  <a:lnTo>
                    <a:pt x="243071" y="34086"/>
                  </a:lnTo>
                  <a:close/>
                  <a:moveTo>
                    <a:pt x="413807" y="0"/>
                  </a:moveTo>
                  <a:lnTo>
                    <a:pt x="472169" y="13358"/>
                  </a:lnTo>
                  <a:lnTo>
                    <a:pt x="517408" y="31960"/>
                  </a:lnTo>
                  <a:lnTo>
                    <a:pt x="483180" y="60148"/>
                  </a:lnTo>
                  <a:lnTo>
                    <a:pt x="416236" y="66258"/>
                  </a:lnTo>
                  <a:lnTo>
                    <a:pt x="348159" y="57602"/>
                  </a:lnTo>
                  <a:lnTo>
                    <a:pt x="344052" y="43215"/>
                  </a:lnTo>
                  <a:lnTo>
                    <a:pt x="310928" y="42296"/>
                  </a:lnTo>
                  <a:lnTo>
                    <a:pt x="285670" y="18064"/>
                  </a:lnTo>
                  <a:lnTo>
                    <a:pt x="356948" y="3163"/>
                  </a:lnTo>
                  <a:lnTo>
                    <a:pt x="390463" y="1600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1" name="Freeform 125">
              <a:extLst>
                <a:ext uri="{FF2B5EF4-FFF2-40B4-BE49-F238E27FC236}">
                  <a16:creationId xmlns:a16="http://schemas.microsoft.com/office/drawing/2014/main" id="{15675666-30F6-4A47-96E4-FBCEF8954841}"/>
                </a:ext>
              </a:extLst>
            </p:cNvPr>
            <p:cNvSpPr>
              <a:spLocks noChangeAspect="1"/>
            </p:cNvSpPr>
            <p:nvPr>
              <p:custDataLst>
                <p:tags r:id="rId133"/>
              </p:custDataLst>
            </p:nvPr>
          </p:nvSpPr>
          <p:spPr>
            <a:xfrm>
              <a:off x="6209342" y="3803609"/>
              <a:ext cx="186656" cy="100744"/>
            </a:xfrm>
            <a:custGeom>
              <a:avLst/>
              <a:gdLst/>
              <a:ahLst/>
              <a:cxnLst/>
              <a:rect l="0" t="0" r="0" b="0"/>
              <a:pathLst>
                <a:path w="186656" h="100744">
                  <a:moveTo>
                    <a:pt x="185400" y="64005"/>
                  </a:moveTo>
                  <a:lnTo>
                    <a:pt x="183615" y="74738"/>
                  </a:lnTo>
                  <a:lnTo>
                    <a:pt x="186655" y="90524"/>
                  </a:lnTo>
                  <a:lnTo>
                    <a:pt x="184010" y="100329"/>
                  </a:lnTo>
                  <a:lnTo>
                    <a:pt x="164788" y="100743"/>
                  </a:lnTo>
                  <a:lnTo>
                    <a:pt x="137018" y="94972"/>
                  </a:lnTo>
                  <a:lnTo>
                    <a:pt x="119184" y="92612"/>
                  </a:lnTo>
                  <a:lnTo>
                    <a:pt x="105871" y="79984"/>
                  </a:lnTo>
                  <a:lnTo>
                    <a:pt x="74229" y="76761"/>
                  </a:lnTo>
                  <a:lnTo>
                    <a:pt x="44124" y="62784"/>
                  </a:lnTo>
                  <a:lnTo>
                    <a:pt x="22362" y="50523"/>
                  </a:lnTo>
                  <a:lnTo>
                    <a:pt x="0" y="41043"/>
                  </a:lnTo>
                  <a:lnTo>
                    <a:pt x="8963" y="17514"/>
                  </a:lnTo>
                  <a:lnTo>
                    <a:pt x="23609" y="6056"/>
                  </a:lnTo>
                  <a:lnTo>
                    <a:pt x="33178" y="0"/>
                  </a:lnTo>
                  <a:lnTo>
                    <a:pt x="51684" y="7781"/>
                  </a:lnTo>
                  <a:lnTo>
                    <a:pt x="74988" y="24222"/>
                  </a:lnTo>
                  <a:lnTo>
                    <a:pt x="87958" y="27835"/>
                  </a:lnTo>
                  <a:lnTo>
                    <a:pt x="95704" y="39903"/>
                  </a:lnTo>
                  <a:lnTo>
                    <a:pt x="113641" y="44846"/>
                  </a:lnTo>
                  <a:lnTo>
                    <a:pt x="132376" y="55838"/>
                  </a:lnTo>
                  <a:lnTo>
                    <a:pt x="158488" y="6156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2" name="Freeform 126">
              <a:extLst>
                <a:ext uri="{FF2B5EF4-FFF2-40B4-BE49-F238E27FC236}">
                  <a16:creationId xmlns:a16="http://schemas.microsoft.com/office/drawing/2014/main" id="{D1C12756-5729-4B13-ABF9-0BF212994BBF}"/>
                </a:ext>
              </a:extLst>
            </p:cNvPr>
            <p:cNvSpPr>
              <a:spLocks noChangeAspect="1"/>
            </p:cNvSpPr>
            <p:nvPr>
              <p:custDataLst>
                <p:tags r:id="rId134"/>
              </p:custDataLst>
            </p:nvPr>
          </p:nvSpPr>
          <p:spPr>
            <a:xfrm>
              <a:off x="8204163" y="5355753"/>
              <a:ext cx="277176" cy="334138"/>
            </a:xfrm>
            <a:custGeom>
              <a:avLst/>
              <a:gdLst/>
              <a:ahLst/>
              <a:cxnLst/>
              <a:rect l="l" t="t" r="r" b="b"/>
              <a:pathLst>
                <a:path w="277176" h="334138">
                  <a:moveTo>
                    <a:pt x="145177" y="161119"/>
                  </a:moveTo>
                  <a:lnTo>
                    <a:pt x="150297" y="172762"/>
                  </a:lnTo>
                  <a:lnTo>
                    <a:pt x="155534" y="184115"/>
                  </a:lnTo>
                  <a:lnTo>
                    <a:pt x="171949" y="172972"/>
                  </a:lnTo>
                  <a:lnTo>
                    <a:pt x="178625" y="184587"/>
                  </a:lnTo>
                  <a:lnTo>
                    <a:pt x="178645" y="196203"/>
                  </a:lnTo>
                  <a:lnTo>
                    <a:pt x="170058" y="209040"/>
                  </a:lnTo>
                  <a:lnTo>
                    <a:pt x="154968" y="229575"/>
                  </a:lnTo>
                  <a:lnTo>
                    <a:pt x="143161" y="240847"/>
                  </a:lnTo>
                  <a:lnTo>
                    <a:pt x="151676" y="254384"/>
                  </a:lnTo>
                  <a:lnTo>
                    <a:pt x="133867" y="254733"/>
                  </a:lnTo>
                  <a:lnTo>
                    <a:pt x="114116" y="265383"/>
                  </a:lnTo>
                  <a:lnTo>
                    <a:pt x="107934" y="283979"/>
                  </a:lnTo>
                  <a:lnTo>
                    <a:pt x="94813" y="312967"/>
                  </a:lnTo>
                  <a:lnTo>
                    <a:pt x="76687" y="325866"/>
                  </a:lnTo>
                  <a:lnTo>
                    <a:pt x="65167" y="334138"/>
                  </a:lnTo>
                  <a:lnTo>
                    <a:pt x="43908" y="333521"/>
                  </a:lnTo>
                  <a:lnTo>
                    <a:pt x="28960" y="323970"/>
                  </a:lnTo>
                  <a:lnTo>
                    <a:pt x="3872" y="321938"/>
                  </a:lnTo>
                  <a:lnTo>
                    <a:pt x="0" y="311348"/>
                  </a:lnTo>
                  <a:lnTo>
                    <a:pt x="12401" y="290080"/>
                  </a:lnTo>
                  <a:lnTo>
                    <a:pt x="41424" y="262028"/>
                  </a:lnTo>
                  <a:lnTo>
                    <a:pt x="56327" y="256711"/>
                  </a:lnTo>
                  <a:lnTo>
                    <a:pt x="72911" y="245990"/>
                  </a:lnTo>
                  <a:lnTo>
                    <a:pt x="92695" y="231300"/>
                  </a:lnTo>
                  <a:lnTo>
                    <a:pt x="106548" y="216814"/>
                  </a:lnTo>
                  <a:lnTo>
                    <a:pt x="116812" y="196132"/>
                  </a:lnTo>
                  <a:lnTo>
                    <a:pt x="125560" y="189143"/>
                  </a:lnTo>
                  <a:lnTo>
                    <a:pt x="128988" y="173779"/>
                  </a:lnTo>
                  <a:close/>
                  <a:moveTo>
                    <a:pt x="149989" y="0"/>
                  </a:moveTo>
                  <a:lnTo>
                    <a:pt x="162552" y="14494"/>
                  </a:lnTo>
                  <a:lnTo>
                    <a:pt x="180512" y="21280"/>
                  </a:lnTo>
                  <a:lnTo>
                    <a:pt x="187036" y="44695"/>
                  </a:lnTo>
                  <a:lnTo>
                    <a:pt x="203762" y="72572"/>
                  </a:lnTo>
                  <a:lnTo>
                    <a:pt x="204246" y="54462"/>
                  </a:lnTo>
                  <a:lnTo>
                    <a:pt x="214663" y="61683"/>
                  </a:lnTo>
                  <a:lnTo>
                    <a:pt x="218117" y="81793"/>
                  </a:lnTo>
                  <a:lnTo>
                    <a:pt x="236692" y="90494"/>
                  </a:lnTo>
                  <a:lnTo>
                    <a:pt x="252286" y="92634"/>
                  </a:lnTo>
                  <a:lnTo>
                    <a:pt x="265479" y="82445"/>
                  </a:lnTo>
                  <a:lnTo>
                    <a:pt x="277176" y="85528"/>
                  </a:lnTo>
                  <a:lnTo>
                    <a:pt x="271582" y="109305"/>
                  </a:lnTo>
                  <a:lnTo>
                    <a:pt x="264558" y="125036"/>
                  </a:lnTo>
                  <a:lnTo>
                    <a:pt x="246935" y="124480"/>
                  </a:lnTo>
                  <a:lnTo>
                    <a:pt x="240772" y="132703"/>
                  </a:lnTo>
                  <a:lnTo>
                    <a:pt x="242918" y="144379"/>
                  </a:lnTo>
                  <a:lnTo>
                    <a:pt x="239522" y="149442"/>
                  </a:lnTo>
                  <a:lnTo>
                    <a:pt x="230800" y="164151"/>
                  </a:lnTo>
                  <a:lnTo>
                    <a:pt x="219362" y="182948"/>
                  </a:lnTo>
                  <a:lnTo>
                    <a:pt x="201522" y="193945"/>
                  </a:lnTo>
                  <a:lnTo>
                    <a:pt x="197559" y="186702"/>
                  </a:lnTo>
                  <a:lnTo>
                    <a:pt x="187935" y="182733"/>
                  </a:lnTo>
                  <a:lnTo>
                    <a:pt x="201246" y="160170"/>
                  </a:lnTo>
                  <a:lnTo>
                    <a:pt x="193687" y="145167"/>
                  </a:lnTo>
                  <a:lnTo>
                    <a:pt x="168848" y="134305"/>
                  </a:lnTo>
                  <a:lnTo>
                    <a:pt x="169499" y="124502"/>
                  </a:lnTo>
                  <a:lnTo>
                    <a:pt x="186177" y="115089"/>
                  </a:lnTo>
                  <a:lnTo>
                    <a:pt x="190070" y="94415"/>
                  </a:lnTo>
                  <a:lnTo>
                    <a:pt x="188998" y="77150"/>
                  </a:lnTo>
                  <a:lnTo>
                    <a:pt x="179649" y="59356"/>
                  </a:lnTo>
                  <a:lnTo>
                    <a:pt x="180273" y="54690"/>
                  </a:lnTo>
                  <a:lnTo>
                    <a:pt x="169239" y="43788"/>
                  </a:lnTo>
                  <a:lnTo>
                    <a:pt x="151077" y="20537"/>
                  </a:lnTo>
                  <a:lnTo>
                    <a:pt x="141424" y="204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3" name="Freeform 127">
              <a:extLst>
                <a:ext uri="{FF2B5EF4-FFF2-40B4-BE49-F238E27FC236}">
                  <a16:creationId xmlns:a16="http://schemas.microsoft.com/office/drawing/2014/main" id="{A39B1CC3-2952-4827-8C20-E8D3FA77E0B6}"/>
                </a:ext>
              </a:extLst>
            </p:cNvPr>
            <p:cNvSpPr>
              <a:spLocks noChangeAspect="1"/>
            </p:cNvSpPr>
            <p:nvPr>
              <p:custDataLst>
                <p:tags r:id="rId135"/>
              </p:custDataLst>
            </p:nvPr>
          </p:nvSpPr>
          <p:spPr>
            <a:xfrm>
              <a:off x="5560987" y="3904400"/>
              <a:ext cx="180231" cy="235710"/>
            </a:xfrm>
            <a:custGeom>
              <a:avLst/>
              <a:gdLst/>
              <a:ahLst/>
              <a:cxnLst/>
              <a:rect l="l" t="t" r="r" b="b"/>
              <a:pathLst>
                <a:path w="180231" h="235710">
                  <a:moveTo>
                    <a:pt x="101490" y="36263"/>
                  </a:moveTo>
                  <a:lnTo>
                    <a:pt x="111838" y="53007"/>
                  </a:lnTo>
                  <a:lnTo>
                    <a:pt x="124726" y="61884"/>
                  </a:lnTo>
                  <a:lnTo>
                    <a:pt x="141657" y="65075"/>
                  </a:lnTo>
                  <a:lnTo>
                    <a:pt x="155328" y="69522"/>
                  </a:lnTo>
                  <a:lnTo>
                    <a:pt x="165745" y="83486"/>
                  </a:lnTo>
                  <a:lnTo>
                    <a:pt x="171968" y="91559"/>
                  </a:lnTo>
                  <a:lnTo>
                    <a:pt x="180231" y="94635"/>
                  </a:lnTo>
                  <a:lnTo>
                    <a:pt x="180186" y="100047"/>
                  </a:lnTo>
                  <a:lnTo>
                    <a:pt x="171785" y="114480"/>
                  </a:lnTo>
                  <a:lnTo>
                    <a:pt x="168097" y="121264"/>
                  </a:lnTo>
                  <a:lnTo>
                    <a:pt x="158373" y="128985"/>
                  </a:lnTo>
                  <a:lnTo>
                    <a:pt x="149760" y="145487"/>
                  </a:lnTo>
                  <a:lnTo>
                    <a:pt x="139288" y="144225"/>
                  </a:lnTo>
                  <a:lnTo>
                    <a:pt x="134488" y="149959"/>
                  </a:lnTo>
                  <a:lnTo>
                    <a:pt x="130781" y="162133"/>
                  </a:lnTo>
                  <a:lnTo>
                    <a:pt x="133618" y="178147"/>
                  </a:lnTo>
                  <a:lnTo>
                    <a:pt x="131441" y="181086"/>
                  </a:lnTo>
                  <a:lnTo>
                    <a:pt x="120820" y="181007"/>
                  </a:lnTo>
                  <a:lnTo>
                    <a:pt x="106403" y="189938"/>
                  </a:lnTo>
                  <a:lnTo>
                    <a:pt x="104153" y="201562"/>
                  </a:lnTo>
                  <a:lnTo>
                    <a:pt x="98875" y="206591"/>
                  </a:lnTo>
                  <a:lnTo>
                    <a:pt x="84517" y="206399"/>
                  </a:lnTo>
                  <a:lnTo>
                    <a:pt x="75478" y="212395"/>
                  </a:lnTo>
                  <a:lnTo>
                    <a:pt x="75593" y="222002"/>
                  </a:lnTo>
                  <a:lnTo>
                    <a:pt x="64423" y="228599"/>
                  </a:lnTo>
                  <a:lnTo>
                    <a:pt x="51688" y="226359"/>
                  </a:lnTo>
                  <a:lnTo>
                    <a:pt x="36251" y="234367"/>
                  </a:lnTo>
                  <a:lnTo>
                    <a:pt x="25589" y="235710"/>
                  </a:lnTo>
                  <a:lnTo>
                    <a:pt x="18054" y="219117"/>
                  </a:lnTo>
                  <a:lnTo>
                    <a:pt x="0" y="179763"/>
                  </a:lnTo>
                  <a:lnTo>
                    <a:pt x="69247" y="155798"/>
                  </a:lnTo>
                  <a:lnTo>
                    <a:pt x="84636" y="107572"/>
                  </a:lnTo>
                  <a:lnTo>
                    <a:pt x="74057" y="90391"/>
                  </a:lnTo>
                  <a:lnTo>
                    <a:pt x="74660" y="80600"/>
                  </a:lnTo>
                  <a:lnTo>
                    <a:pt x="81385" y="70517"/>
                  </a:lnTo>
                  <a:lnTo>
                    <a:pt x="81450" y="60540"/>
                  </a:lnTo>
                  <a:lnTo>
                    <a:pt x="91897" y="55725"/>
                  </a:lnTo>
                  <a:lnTo>
                    <a:pt x="87809" y="52323"/>
                  </a:lnTo>
                  <a:lnTo>
                    <a:pt x="89704" y="36359"/>
                  </a:lnTo>
                  <a:close/>
                  <a:moveTo>
                    <a:pt x="100687" y="0"/>
                  </a:moveTo>
                  <a:lnTo>
                    <a:pt x="103541" y="2148"/>
                  </a:lnTo>
                  <a:lnTo>
                    <a:pt x="101365" y="12355"/>
                  </a:lnTo>
                  <a:lnTo>
                    <a:pt x="98356" y="16828"/>
                  </a:lnTo>
                  <a:lnTo>
                    <a:pt x="93965" y="84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4" name="Freeform 128">
              <a:extLst>
                <a:ext uri="{FF2B5EF4-FFF2-40B4-BE49-F238E27FC236}">
                  <a16:creationId xmlns:a16="http://schemas.microsoft.com/office/drawing/2014/main" id="{264B0744-C9E8-4900-9CA3-51283BCDAA9C}"/>
                </a:ext>
              </a:extLst>
            </p:cNvPr>
            <p:cNvSpPr>
              <a:spLocks noChangeAspect="1"/>
            </p:cNvSpPr>
            <p:nvPr>
              <p:custDataLst>
                <p:tags r:id="rId136"/>
              </p:custDataLst>
            </p:nvPr>
          </p:nvSpPr>
          <p:spPr>
            <a:xfrm>
              <a:off x="5765827" y="3629638"/>
              <a:ext cx="391557" cy="341204"/>
            </a:xfrm>
            <a:custGeom>
              <a:avLst/>
              <a:gdLst/>
              <a:ahLst/>
              <a:cxnLst/>
              <a:rect l="0" t="0" r="0" b="0"/>
              <a:pathLst>
                <a:path w="391557" h="341204">
                  <a:moveTo>
                    <a:pt x="329708" y="0"/>
                  </a:moveTo>
                  <a:lnTo>
                    <a:pt x="346763" y="12367"/>
                  </a:lnTo>
                  <a:lnTo>
                    <a:pt x="353594" y="32652"/>
                  </a:lnTo>
                  <a:lnTo>
                    <a:pt x="391556" y="43279"/>
                  </a:lnTo>
                  <a:lnTo>
                    <a:pt x="369264" y="65264"/>
                  </a:lnTo>
                  <a:lnTo>
                    <a:pt x="343535" y="69137"/>
                  </a:lnTo>
                  <a:lnTo>
                    <a:pt x="308522" y="62777"/>
                  </a:lnTo>
                  <a:lnTo>
                    <a:pt x="297206" y="74010"/>
                  </a:lnTo>
                  <a:lnTo>
                    <a:pt x="305385" y="96731"/>
                  </a:lnTo>
                  <a:lnTo>
                    <a:pt x="313401" y="114180"/>
                  </a:lnTo>
                  <a:lnTo>
                    <a:pt x="332030" y="126863"/>
                  </a:lnTo>
                  <a:lnTo>
                    <a:pt x="312347" y="141667"/>
                  </a:lnTo>
                  <a:lnTo>
                    <a:pt x="312704" y="159832"/>
                  </a:lnTo>
                  <a:lnTo>
                    <a:pt x="290297" y="185262"/>
                  </a:lnTo>
                  <a:lnTo>
                    <a:pt x="275826" y="210820"/>
                  </a:lnTo>
                  <a:lnTo>
                    <a:pt x="251680" y="237062"/>
                  </a:lnTo>
                  <a:lnTo>
                    <a:pt x="224877" y="235164"/>
                  </a:lnTo>
                  <a:lnTo>
                    <a:pt x="199438" y="261256"/>
                  </a:lnTo>
                  <a:lnTo>
                    <a:pt x="214546" y="272388"/>
                  </a:lnTo>
                  <a:lnTo>
                    <a:pt x="217176" y="291403"/>
                  </a:lnTo>
                  <a:lnTo>
                    <a:pt x="230145" y="303890"/>
                  </a:lnTo>
                  <a:lnTo>
                    <a:pt x="234728" y="324957"/>
                  </a:lnTo>
                  <a:lnTo>
                    <a:pt x="183931" y="324893"/>
                  </a:lnTo>
                  <a:lnTo>
                    <a:pt x="168559" y="341203"/>
                  </a:lnTo>
                  <a:lnTo>
                    <a:pt x="151640" y="335027"/>
                  </a:lnTo>
                  <a:lnTo>
                    <a:pt x="144756" y="317433"/>
                  </a:lnTo>
                  <a:lnTo>
                    <a:pt x="126922" y="298722"/>
                  </a:lnTo>
                  <a:lnTo>
                    <a:pt x="84394" y="303350"/>
                  </a:lnTo>
                  <a:lnTo>
                    <a:pt x="46891" y="303809"/>
                  </a:lnTo>
                  <a:lnTo>
                    <a:pt x="14383" y="307254"/>
                  </a:lnTo>
                  <a:lnTo>
                    <a:pt x="23081" y="278620"/>
                  </a:lnTo>
                  <a:lnTo>
                    <a:pt x="56377" y="265831"/>
                  </a:lnTo>
                  <a:lnTo>
                    <a:pt x="54467" y="254399"/>
                  </a:lnTo>
                  <a:lnTo>
                    <a:pt x="43423" y="250374"/>
                  </a:lnTo>
                  <a:lnTo>
                    <a:pt x="42786" y="228408"/>
                  </a:lnTo>
                  <a:lnTo>
                    <a:pt x="20719" y="217400"/>
                  </a:lnTo>
                  <a:lnTo>
                    <a:pt x="11427" y="202232"/>
                  </a:lnTo>
                  <a:lnTo>
                    <a:pt x="0" y="188978"/>
                  </a:lnTo>
                  <a:lnTo>
                    <a:pt x="38678" y="201847"/>
                  </a:lnTo>
                  <a:lnTo>
                    <a:pt x="61770" y="198078"/>
                  </a:lnTo>
                  <a:lnTo>
                    <a:pt x="75567" y="201287"/>
                  </a:lnTo>
                  <a:lnTo>
                    <a:pt x="80239" y="195767"/>
                  </a:lnTo>
                  <a:lnTo>
                    <a:pt x="96315" y="197980"/>
                  </a:lnTo>
                  <a:lnTo>
                    <a:pt x="126314" y="187496"/>
                  </a:lnTo>
                  <a:lnTo>
                    <a:pt x="127121" y="165952"/>
                  </a:lnTo>
                  <a:lnTo>
                    <a:pt x="139988" y="151558"/>
                  </a:lnTo>
                  <a:lnTo>
                    <a:pt x="157173" y="151603"/>
                  </a:lnTo>
                  <a:lnTo>
                    <a:pt x="159696" y="144468"/>
                  </a:lnTo>
                  <a:lnTo>
                    <a:pt x="177337" y="141139"/>
                  </a:lnTo>
                  <a:lnTo>
                    <a:pt x="185872" y="143517"/>
                  </a:lnTo>
                  <a:lnTo>
                    <a:pt x="194899" y="136331"/>
                  </a:lnTo>
                  <a:lnTo>
                    <a:pt x="193624" y="120939"/>
                  </a:lnTo>
                  <a:lnTo>
                    <a:pt x="203425" y="105406"/>
                  </a:lnTo>
                  <a:lnTo>
                    <a:pt x="218116" y="98875"/>
                  </a:lnTo>
                  <a:lnTo>
                    <a:pt x="209044" y="81743"/>
                  </a:lnTo>
                  <a:lnTo>
                    <a:pt x="231001" y="82554"/>
                  </a:lnTo>
                  <a:lnTo>
                    <a:pt x="237348" y="73198"/>
                  </a:lnTo>
                  <a:lnTo>
                    <a:pt x="236385" y="63188"/>
                  </a:lnTo>
                  <a:lnTo>
                    <a:pt x="247881" y="52211"/>
                  </a:lnTo>
                  <a:lnTo>
                    <a:pt x="245243" y="39169"/>
                  </a:lnTo>
                  <a:lnTo>
                    <a:pt x="239785" y="28017"/>
                  </a:lnTo>
                  <a:lnTo>
                    <a:pt x="253264" y="16518"/>
                  </a:lnTo>
                  <a:lnTo>
                    <a:pt x="278049" y="10958"/>
                  </a:lnTo>
                  <a:lnTo>
                    <a:pt x="304537" y="7880"/>
                  </a:lnTo>
                  <a:lnTo>
                    <a:pt x="316271" y="298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5" name="Freeform 129">
              <a:extLst>
                <a:ext uri="{FF2B5EF4-FFF2-40B4-BE49-F238E27FC236}">
                  <a16:creationId xmlns:a16="http://schemas.microsoft.com/office/drawing/2014/main" id="{BC3F7358-E421-437E-AC3E-D0F5157AB0C4}"/>
                </a:ext>
              </a:extLst>
            </p:cNvPr>
            <p:cNvSpPr>
              <a:spLocks noChangeAspect="1"/>
            </p:cNvSpPr>
            <p:nvPr>
              <p:custDataLst>
                <p:tags r:id="rId137"/>
              </p:custDataLst>
            </p:nvPr>
          </p:nvSpPr>
          <p:spPr>
            <a:xfrm>
              <a:off x="7065382" y="4095987"/>
              <a:ext cx="216127" cy="303029"/>
            </a:xfrm>
            <a:custGeom>
              <a:avLst/>
              <a:gdLst/>
              <a:ahLst/>
              <a:cxnLst/>
              <a:rect l="l" t="t" r="r" b="b"/>
              <a:pathLst>
                <a:path w="216127" h="303029">
                  <a:moveTo>
                    <a:pt x="190152" y="205988"/>
                  </a:moveTo>
                  <a:lnTo>
                    <a:pt x="208862" y="217033"/>
                  </a:lnTo>
                  <a:lnTo>
                    <a:pt x="210799" y="228750"/>
                  </a:lnTo>
                  <a:lnTo>
                    <a:pt x="212420" y="237301"/>
                  </a:lnTo>
                  <a:lnTo>
                    <a:pt x="214767" y="252734"/>
                  </a:lnTo>
                  <a:lnTo>
                    <a:pt x="216127" y="265754"/>
                  </a:lnTo>
                  <a:lnTo>
                    <a:pt x="208264" y="286971"/>
                  </a:lnTo>
                  <a:lnTo>
                    <a:pt x="199830" y="263333"/>
                  </a:lnTo>
                  <a:lnTo>
                    <a:pt x="189038" y="275099"/>
                  </a:lnTo>
                  <a:lnTo>
                    <a:pt x="196408" y="292175"/>
                  </a:lnTo>
                  <a:lnTo>
                    <a:pt x="189791" y="303029"/>
                  </a:lnTo>
                  <a:lnTo>
                    <a:pt x="162630" y="289587"/>
                  </a:lnTo>
                  <a:lnTo>
                    <a:pt x="156142" y="272811"/>
                  </a:lnTo>
                  <a:lnTo>
                    <a:pt x="163181" y="261781"/>
                  </a:lnTo>
                  <a:lnTo>
                    <a:pt x="148559" y="250803"/>
                  </a:lnTo>
                  <a:lnTo>
                    <a:pt x="141308" y="260429"/>
                  </a:lnTo>
                  <a:lnTo>
                    <a:pt x="130445" y="259536"/>
                  </a:lnTo>
                  <a:lnTo>
                    <a:pt x="113364" y="272480"/>
                  </a:lnTo>
                  <a:lnTo>
                    <a:pt x="109543" y="265691"/>
                  </a:lnTo>
                  <a:lnTo>
                    <a:pt x="118600" y="246125"/>
                  </a:lnTo>
                  <a:lnTo>
                    <a:pt x="133144" y="239590"/>
                  </a:lnTo>
                  <a:lnTo>
                    <a:pt x="145731" y="230831"/>
                  </a:lnTo>
                  <a:lnTo>
                    <a:pt x="153890" y="241354"/>
                  </a:lnTo>
                  <a:lnTo>
                    <a:pt x="171440" y="234989"/>
                  </a:lnTo>
                  <a:lnTo>
                    <a:pt x="175206" y="224612"/>
                  </a:lnTo>
                  <a:lnTo>
                    <a:pt x="191520" y="223993"/>
                  </a:lnTo>
                  <a:close/>
                  <a:moveTo>
                    <a:pt x="159355" y="171633"/>
                  </a:moveTo>
                  <a:lnTo>
                    <a:pt x="157151" y="193903"/>
                  </a:lnTo>
                  <a:lnTo>
                    <a:pt x="148858" y="201567"/>
                  </a:lnTo>
                  <a:lnTo>
                    <a:pt x="141628" y="216284"/>
                  </a:lnTo>
                  <a:lnTo>
                    <a:pt x="134379" y="223174"/>
                  </a:lnTo>
                  <a:lnTo>
                    <a:pt x="120164" y="207083"/>
                  </a:lnTo>
                  <a:lnTo>
                    <a:pt x="124919" y="200845"/>
                  </a:lnTo>
                  <a:lnTo>
                    <a:pt x="130713" y="194314"/>
                  </a:lnTo>
                  <a:lnTo>
                    <a:pt x="133260" y="179829"/>
                  </a:lnTo>
                  <a:lnTo>
                    <a:pt x="145989" y="178457"/>
                  </a:lnTo>
                  <a:lnTo>
                    <a:pt x="142270" y="194169"/>
                  </a:lnTo>
                  <a:close/>
                  <a:moveTo>
                    <a:pt x="53949" y="168432"/>
                  </a:moveTo>
                  <a:lnTo>
                    <a:pt x="58062" y="187476"/>
                  </a:lnTo>
                  <a:lnTo>
                    <a:pt x="42823" y="200318"/>
                  </a:lnTo>
                  <a:lnTo>
                    <a:pt x="30707" y="216328"/>
                  </a:lnTo>
                  <a:lnTo>
                    <a:pt x="0" y="238398"/>
                  </a:lnTo>
                  <a:lnTo>
                    <a:pt x="11316" y="222134"/>
                  </a:lnTo>
                  <a:lnTo>
                    <a:pt x="27991" y="207755"/>
                  </a:lnTo>
                  <a:lnTo>
                    <a:pt x="41851" y="191629"/>
                  </a:lnTo>
                  <a:close/>
                  <a:moveTo>
                    <a:pt x="108703" y="156220"/>
                  </a:moveTo>
                  <a:lnTo>
                    <a:pt x="122558" y="163463"/>
                  </a:lnTo>
                  <a:lnTo>
                    <a:pt x="137248" y="163428"/>
                  </a:lnTo>
                  <a:lnTo>
                    <a:pt x="136802" y="173193"/>
                  </a:lnTo>
                  <a:lnTo>
                    <a:pt x="126111" y="183111"/>
                  </a:lnTo>
                  <a:lnTo>
                    <a:pt x="111451" y="190119"/>
                  </a:lnTo>
                  <a:lnTo>
                    <a:pt x="110638" y="179273"/>
                  </a:lnTo>
                  <a:lnTo>
                    <a:pt x="112277" y="167352"/>
                  </a:lnTo>
                  <a:close/>
                  <a:moveTo>
                    <a:pt x="163714" y="140620"/>
                  </a:moveTo>
                  <a:lnTo>
                    <a:pt x="185882" y="141137"/>
                  </a:lnTo>
                  <a:lnTo>
                    <a:pt x="192239" y="149877"/>
                  </a:lnTo>
                  <a:lnTo>
                    <a:pt x="198723" y="175993"/>
                  </a:lnTo>
                  <a:lnTo>
                    <a:pt x="180914" y="169793"/>
                  </a:lnTo>
                  <a:lnTo>
                    <a:pt x="181395" y="177635"/>
                  </a:lnTo>
                  <a:lnTo>
                    <a:pt x="187043" y="192038"/>
                  </a:lnTo>
                  <a:lnTo>
                    <a:pt x="176064" y="197263"/>
                  </a:lnTo>
                  <a:lnTo>
                    <a:pt x="175103" y="180853"/>
                  </a:lnTo>
                  <a:lnTo>
                    <a:pt x="168153" y="179641"/>
                  </a:lnTo>
                  <a:lnTo>
                    <a:pt x="164539" y="165493"/>
                  </a:lnTo>
                  <a:lnTo>
                    <a:pt x="178123" y="167359"/>
                  </a:lnTo>
                  <a:lnTo>
                    <a:pt x="177822" y="158503"/>
                  </a:lnTo>
                  <a:close/>
                  <a:moveTo>
                    <a:pt x="72691" y="119295"/>
                  </a:moveTo>
                  <a:lnTo>
                    <a:pt x="92466" y="120158"/>
                  </a:lnTo>
                  <a:lnTo>
                    <a:pt x="100482" y="128614"/>
                  </a:lnTo>
                  <a:lnTo>
                    <a:pt x="94360" y="148873"/>
                  </a:lnTo>
                  <a:lnTo>
                    <a:pt x="84474" y="137180"/>
                  </a:lnTo>
                  <a:close/>
                  <a:moveTo>
                    <a:pt x="81750" y="0"/>
                  </a:moveTo>
                  <a:lnTo>
                    <a:pt x="95725" y="27"/>
                  </a:lnTo>
                  <a:lnTo>
                    <a:pt x="109951" y="6840"/>
                  </a:lnTo>
                  <a:lnTo>
                    <a:pt x="117070" y="627"/>
                  </a:lnTo>
                  <a:lnTo>
                    <a:pt x="119169" y="6690"/>
                  </a:lnTo>
                  <a:lnTo>
                    <a:pt x="115414" y="16571"/>
                  </a:lnTo>
                  <a:lnTo>
                    <a:pt x="123294" y="33619"/>
                  </a:lnTo>
                  <a:lnTo>
                    <a:pt x="117215" y="53335"/>
                  </a:lnTo>
                  <a:lnTo>
                    <a:pt x="103607" y="61183"/>
                  </a:lnTo>
                  <a:lnTo>
                    <a:pt x="99967" y="80238"/>
                  </a:lnTo>
                  <a:lnTo>
                    <a:pt x="105131" y="99018"/>
                  </a:lnTo>
                  <a:lnTo>
                    <a:pt x="117368" y="101612"/>
                  </a:lnTo>
                  <a:lnTo>
                    <a:pt x="127578" y="98826"/>
                  </a:lnTo>
                  <a:lnTo>
                    <a:pt x="156409" y="111873"/>
                  </a:lnTo>
                  <a:lnTo>
                    <a:pt x="154212" y="124665"/>
                  </a:lnTo>
                  <a:lnTo>
                    <a:pt x="161741" y="130305"/>
                  </a:lnTo>
                  <a:lnTo>
                    <a:pt x="159344" y="141114"/>
                  </a:lnTo>
                  <a:lnTo>
                    <a:pt x="141353" y="129601"/>
                  </a:lnTo>
                  <a:lnTo>
                    <a:pt x="132827" y="117262"/>
                  </a:lnTo>
                  <a:lnTo>
                    <a:pt x="126888" y="125885"/>
                  </a:lnTo>
                  <a:lnTo>
                    <a:pt x="112191" y="111818"/>
                  </a:lnTo>
                  <a:lnTo>
                    <a:pt x="91225" y="115293"/>
                  </a:lnTo>
                  <a:lnTo>
                    <a:pt x="79736" y="110097"/>
                  </a:lnTo>
                  <a:lnTo>
                    <a:pt x="80907" y="100368"/>
                  </a:lnTo>
                  <a:lnTo>
                    <a:pt x="88119" y="94376"/>
                  </a:lnTo>
                  <a:lnTo>
                    <a:pt x="81230" y="88924"/>
                  </a:lnTo>
                  <a:lnTo>
                    <a:pt x="78248" y="97418"/>
                  </a:lnTo>
                  <a:lnTo>
                    <a:pt x="66851" y="83871"/>
                  </a:lnTo>
                  <a:lnTo>
                    <a:pt x="63400" y="73589"/>
                  </a:lnTo>
                  <a:lnTo>
                    <a:pt x="62543" y="50935"/>
                  </a:lnTo>
                  <a:lnTo>
                    <a:pt x="71838" y="58730"/>
                  </a:lnTo>
                  <a:lnTo>
                    <a:pt x="74229" y="2159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6" name="Freeform 130">
              <a:extLst>
                <a:ext uri="{FF2B5EF4-FFF2-40B4-BE49-F238E27FC236}">
                  <a16:creationId xmlns:a16="http://schemas.microsoft.com/office/drawing/2014/main" id="{4D9F45AD-5D5B-4CAF-8AAD-C2DEC31A5AE3}"/>
                </a:ext>
              </a:extLst>
            </p:cNvPr>
            <p:cNvSpPr>
              <a:spLocks noChangeAspect="1"/>
            </p:cNvSpPr>
            <p:nvPr>
              <p:custDataLst>
                <p:tags r:id="rId138"/>
              </p:custDataLst>
            </p:nvPr>
          </p:nvSpPr>
          <p:spPr>
            <a:xfrm>
              <a:off x="7615348" y="4585689"/>
              <a:ext cx="346697" cy="189081"/>
            </a:xfrm>
            <a:custGeom>
              <a:avLst/>
              <a:gdLst/>
              <a:ahLst/>
              <a:cxnLst/>
              <a:rect l="l" t="t" r="r" b="b"/>
              <a:pathLst>
                <a:path w="346697" h="189081">
                  <a:moveTo>
                    <a:pt x="315131" y="58771"/>
                  </a:moveTo>
                  <a:lnTo>
                    <a:pt x="317614" y="65657"/>
                  </a:lnTo>
                  <a:lnTo>
                    <a:pt x="324605" y="70908"/>
                  </a:lnTo>
                  <a:lnTo>
                    <a:pt x="335797" y="85588"/>
                  </a:lnTo>
                  <a:lnTo>
                    <a:pt x="346697" y="93453"/>
                  </a:lnTo>
                  <a:lnTo>
                    <a:pt x="343466" y="99944"/>
                  </a:lnTo>
                  <a:lnTo>
                    <a:pt x="337002" y="102262"/>
                  </a:lnTo>
                  <a:lnTo>
                    <a:pt x="327008" y="93358"/>
                  </a:lnTo>
                  <a:lnTo>
                    <a:pt x="316902" y="78643"/>
                  </a:lnTo>
                  <a:lnTo>
                    <a:pt x="311938" y="61008"/>
                  </a:lnTo>
                  <a:close/>
                  <a:moveTo>
                    <a:pt x="257063" y="38100"/>
                  </a:moveTo>
                  <a:lnTo>
                    <a:pt x="261725" y="41897"/>
                  </a:lnTo>
                  <a:lnTo>
                    <a:pt x="261262" y="54727"/>
                  </a:lnTo>
                  <a:lnTo>
                    <a:pt x="253508" y="68853"/>
                  </a:lnTo>
                  <a:lnTo>
                    <a:pt x="241420" y="70757"/>
                  </a:lnTo>
                  <a:lnTo>
                    <a:pt x="237780" y="77251"/>
                  </a:lnTo>
                  <a:lnTo>
                    <a:pt x="225155" y="82880"/>
                  </a:lnTo>
                  <a:lnTo>
                    <a:pt x="213307" y="88302"/>
                  </a:lnTo>
                  <a:lnTo>
                    <a:pt x="201045" y="88273"/>
                  </a:lnTo>
                  <a:lnTo>
                    <a:pt x="182119" y="81543"/>
                  </a:lnTo>
                  <a:lnTo>
                    <a:pt x="168937" y="75083"/>
                  </a:lnTo>
                  <a:lnTo>
                    <a:pt x="170850" y="67920"/>
                  </a:lnTo>
                  <a:lnTo>
                    <a:pt x="191545" y="71300"/>
                  </a:lnTo>
                  <a:lnTo>
                    <a:pt x="204175" y="69489"/>
                  </a:lnTo>
                  <a:lnTo>
                    <a:pt x="207653" y="58393"/>
                  </a:lnTo>
                  <a:lnTo>
                    <a:pt x="210966" y="57820"/>
                  </a:lnTo>
                  <a:lnTo>
                    <a:pt x="213208" y="70107"/>
                  </a:lnTo>
                  <a:lnTo>
                    <a:pt x="226378" y="68339"/>
                  </a:lnTo>
                  <a:lnTo>
                    <a:pt x="232892" y="60420"/>
                  </a:lnTo>
                  <a:lnTo>
                    <a:pt x="245778" y="52169"/>
                  </a:lnTo>
                  <a:lnTo>
                    <a:pt x="243237" y="38540"/>
                  </a:lnTo>
                  <a:close/>
                  <a:moveTo>
                    <a:pt x="0" y="2313"/>
                  </a:moveTo>
                  <a:lnTo>
                    <a:pt x="40050" y="18231"/>
                  </a:lnTo>
                  <a:lnTo>
                    <a:pt x="82723" y="31457"/>
                  </a:lnTo>
                  <a:lnTo>
                    <a:pt x="98632" y="43302"/>
                  </a:lnTo>
                  <a:lnTo>
                    <a:pt x="111480" y="54931"/>
                  </a:lnTo>
                  <a:lnTo>
                    <a:pt x="114992" y="68565"/>
                  </a:lnTo>
                  <a:lnTo>
                    <a:pt x="153451" y="82878"/>
                  </a:lnTo>
                  <a:lnTo>
                    <a:pt x="159061" y="95168"/>
                  </a:lnTo>
                  <a:lnTo>
                    <a:pt x="137820" y="97664"/>
                  </a:lnTo>
                  <a:lnTo>
                    <a:pt x="142921" y="113120"/>
                  </a:lnTo>
                  <a:lnTo>
                    <a:pt x="163528" y="128353"/>
                  </a:lnTo>
                  <a:lnTo>
                    <a:pt x="178520" y="153010"/>
                  </a:lnTo>
                  <a:lnTo>
                    <a:pt x="191740" y="152237"/>
                  </a:lnTo>
                  <a:lnTo>
                    <a:pt x="190812" y="162548"/>
                  </a:lnTo>
                  <a:lnTo>
                    <a:pt x="208633" y="166506"/>
                  </a:lnTo>
                  <a:lnTo>
                    <a:pt x="201711" y="170901"/>
                  </a:lnTo>
                  <a:lnTo>
                    <a:pt x="226243" y="180710"/>
                  </a:lnTo>
                  <a:lnTo>
                    <a:pt x="223680" y="187453"/>
                  </a:lnTo>
                  <a:lnTo>
                    <a:pt x="208395" y="189081"/>
                  </a:lnTo>
                  <a:lnTo>
                    <a:pt x="202715" y="183032"/>
                  </a:lnTo>
                  <a:lnTo>
                    <a:pt x="182883" y="180412"/>
                  </a:lnTo>
                  <a:lnTo>
                    <a:pt x="159567" y="176903"/>
                  </a:lnTo>
                  <a:lnTo>
                    <a:pt x="141618" y="162037"/>
                  </a:lnTo>
                  <a:lnTo>
                    <a:pt x="128517" y="149238"/>
                  </a:lnTo>
                  <a:lnTo>
                    <a:pt x="116528" y="128894"/>
                  </a:lnTo>
                  <a:lnTo>
                    <a:pt x="86421" y="118739"/>
                  </a:lnTo>
                  <a:lnTo>
                    <a:pt x="66868" y="125362"/>
                  </a:lnTo>
                  <a:lnTo>
                    <a:pt x="52772" y="133032"/>
                  </a:lnTo>
                  <a:lnTo>
                    <a:pt x="55716" y="150181"/>
                  </a:lnTo>
                  <a:lnTo>
                    <a:pt x="37584" y="158181"/>
                  </a:lnTo>
                  <a:lnTo>
                    <a:pt x="24654" y="154288"/>
                  </a:lnTo>
                  <a:lnTo>
                    <a:pt x="777" y="153318"/>
                  </a:lnTo>
                  <a:lnTo>
                    <a:pt x="389" y="77674"/>
                  </a:lnTo>
                  <a:close/>
                  <a:moveTo>
                    <a:pt x="229437" y="0"/>
                  </a:moveTo>
                  <a:lnTo>
                    <a:pt x="241902" y="6467"/>
                  </a:lnTo>
                  <a:lnTo>
                    <a:pt x="249751" y="11549"/>
                  </a:lnTo>
                  <a:lnTo>
                    <a:pt x="259445" y="17095"/>
                  </a:lnTo>
                  <a:lnTo>
                    <a:pt x="268679" y="26801"/>
                  </a:lnTo>
                  <a:lnTo>
                    <a:pt x="277449" y="34198"/>
                  </a:lnTo>
                  <a:lnTo>
                    <a:pt x="280220" y="46222"/>
                  </a:lnTo>
                  <a:lnTo>
                    <a:pt x="273002" y="52385"/>
                  </a:lnTo>
                  <a:lnTo>
                    <a:pt x="268648" y="38733"/>
                  </a:lnTo>
                  <a:lnTo>
                    <a:pt x="263277" y="29800"/>
                  </a:lnTo>
                  <a:lnTo>
                    <a:pt x="252825" y="22226"/>
                  </a:lnTo>
                  <a:lnTo>
                    <a:pt x="239693" y="12368"/>
                  </a:lnTo>
                  <a:lnTo>
                    <a:pt x="223022" y="557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7" name="Freeform 131">
              <a:extLst>
                <a:ext uri="{FF2B5EF4-FFF2-40B4-BE49-F238E27FC236}">
                  <a16:creationId xmlns:a16="http://schemas.microsoft.com/office/drawing/2014/main" id="{9E668AA8-4290-493C-B833-F49DDE780601}"/>
                </a:ext>
              </a:extLst>
            </p:cNvPr>
            <p:cNvSpPr>
              <a:spLocks noChangeAspect="1"/>
            </p:cNvSpPr>
            <p:nvPr>
              <p:custDataLst>
                <p:tags r:id="rId139"/>
              </p:custDataLst>
            </p:nvPr>
          </p:nvSpPr>
          <p:spPr>
            <a:xfrm>
              <a:off x="4685564" y="3116120"/>
              <a:ext cx="229800" cy="179771"/>
            </a:xfrm>
            <a:custGeom>
              <a:avLst/>
              <a:gdLst/>
              <a:ahLst/>
              <a:cxnLst/>
              <a:rect l="0" t="0" r="0" b="0"/>
              <a:pathLst>
                <a:path w="229800" h="179771">
                  <a:moveTo>
                    <a:pt x="21755" y="117061"/>
                  </a:moveTo>
                  <a:lnTo>
                    <a:pt x="12293" y="97491"/>
                  </a:lnTo>
                  <a:lnTo>
                    <a:pt x="14092" y="86859"/>
                  </a:lnTo>
                  <a:lnTo>
                    <a:pt x="8381" y="70275"/>
                  </a:lnTo>
                  <a:lnTo>
                    <a:pt x="0" y="59162"/>
                  </a:lnTo>
                  <a:lnTo>
                    <a:pt x="6435" y="50806"/>
                  </a:lnTo>
                  <a:lnTo>
                    <a:pt x="1043" y="34797"/>
                  </a:lnTo>
                  <a:lnTo>
                    <a:pt x="16813" y="25510"/>
                  </a:lnTo>
                  <a:lnTo>
                    <a:pt x="52835" y="10812"/>
                  </a:lnTo>
                  <a:lnTo>
                    <a:pt x="81905" y="0"/>
                  </a:lnTo>
                  <a:lnTo>
                    <a:pt x="104942" y="5404"/>
                  </a:lnTo>
                  <a:lnTo>
                    <a:pt x="106682" y="13184"/>
                  </a:lnTo>
                  <a:lnTo>
                    <a:pt x="128943" y="13586"/>
                  </a:lnTo>
                  <a:lnTo>
                    <a:pt x="157371" y="17200"/>
                  </a:lnTo>
                  <a:lnTo>
                    <a:pt x="199817" y="16722"/>
                  </a:lnTo>
                  <a:lnTo>
                    <a:pt x="211656" y="20122"/>
                  </a:lnTo>
                  <a:lnTo>
                    <a:pt x="217199" y="29885"/>
                  </a:lnTo>
                  <a:lnTo>
                    <a:pt x="218201" y="43837"/>
                  </a:lnTo>
                  <a:lnTo>
                    <a:pt x="224604" y="55770"/>
                  </a:lnTo>
                  <a:lnTo>
                    <a:pt x="224472" y="68213"/>
                  </a:lnTo>
                  <a:lnTo>
                    <a:pt x="210629" y="74560"/>
                  </a:lnTo>
                  <a:lnTo>
                    <a:pt x="217750" y="88908"/>
                  </a:lnTo>
                  <a:lnTo>
                    <a:pt x="218190" y="102616"/>
                  </a:lnTo>
                  <a:lnTo>
                    <a:pt x="229799" y="129283"/>
                  </a:lnTo>
                  <a:lnTo>
                    <a:pt x="227324" y="137793"/>
                  </a:lnTo>
                  <a:lnTo>
                    <a:pt x="215869" y="141315"/>
                  </a:lnTo>
                  <a:lnTo>
                    <a:pt x="194909" y="166346"/>
                  </a:lnTo>
                  <a:lnTo>
                    <a:pt x="200863" y="179770"/>
                  </a:lnTo>
                  <a:lnTo>
                    <a:pt x="195824" y="178030"/>
                  </a:lnTo>
                  <a:lnTo>
                    <a:pt x="173889" y="166545"/>
                  </a:lnTo>
                  <a:lnTo>
                    <a:pt x="157272" y="170774"/>
                  </a:lnTo>
                  <a:lnTo>
                    <a:pt x="146375" y="167702"/>
                  </a:lnTo>
                  <a:lnTo>
                    <a:pt x="132737" y="174110"/>
                  </a:lnTo>
                  <a:lnTo>
                    <a:pt x="121096" y="163505"/>
                  </a:lnTo>
                  <a:lnTo>
                    <a:pt x="111606" y="167571"/>
                  </a:lnTo>
                  <a:lnTo>
                    <a:pt x="110303" y="165763"/>
                  </a:lnTo>
                  <a:lnTo>
                    <a:pt x="99680" y="150970"/>
                  </a:lnTo>
                  <a:lnTo>
                    <a:pt x="82519" y="149149"/>
                  </a:lnTo>
                  <a:lnTo>
                    <a:pt x="80329" y="139692"/>
                  </a:lnTo>
                  <a:lnTo>
                    <a:pt x="64499" y="136306"/>
                  </a:lnTo>
                  <a:lnTo>
                    <a:pt x="61053" y="144118"/>
                  </a:lnTo>
                  <a:lnTo>
                    <a:pt x="48514" y="137862"/>
                  </a:lnTo>
                  <a:lnTo>
                    <a:pt x="49954" y="129517"/>
                  </a:lnTo>
                  <a:lnTo>
                    <a:pt x="32696" y="12687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8" name="Freeform 132">
              <a:extLst>
                <a:ext uri="{FF2B5EF4-FFF2-40B4-BE49-F238E27FC236}">
                  <a16:creationId xmlns:a16="http://schemas.microsoft.com/office/drawing/2014/main" id="{316A4F83-6F5E-4DB0-AFB4-533B1C2606B2}"/>
                </a:ext>
              </a:extLst>
            </p:cNvPr>
            <p:cNvSpPr>
              <a:spLocks noChangeAspect="1"/>
            </p:cNvSpPr>
            <p:nvPr>
              <p:custDataLst>
                <p:tags r:id="rId140"/>
              </p:custDataLst>
            </p:nvPr>
          </p:nvSpPr>
          <p:spPr>
            <a:xfrm>
              <a:off x="7229070" y="3470184"/>
              <a:ext cx="150370" cy="145179"/>
            </a:xfrm>
            <a:custGeom>
              <a:avLst/>
              <a:gdLst/>
              <a:ahLst/>
              <a:cxnLst/>
              <a:rect l="0" t="0" r="0" b="0"/>
              <a:pathLst>
                <a:path w="150370" h="145179">
                  <a:moveTo>
                    <a:pt x="147138" y="16467"/>
                  </a:moveTo>
                  <a:lnTo>
                    <a:pt x="150369" y="21331"/>
                  </a:lnTo>
                  <a:lnTo>
                    <a:pt x="141598" y="19664"/>
                  </a:lnTo>
                  <a:lnTo>
                    <a:pt x="131578" y="29059"/>
                  </a:lnTo>
                  <a:lnTo>
                    <a:pt x="124686" y="38468"/>
                  </a:lnTo>
                  <a:lnTo>
                    <a:pt x="125559" y="58236"/>
                  </a:lnTo>
                  <a:lnTo>
                    <a:pt x="113624" y="64293"/>
                  </a:lnTo>
                  <a:lnTo>
                    <a:pt x="109522" y="69118"/>
                  </a:lnTo>
                  <a:lnTo>
                    <a:pt x="100819" y="77187"/>
                  </a:lnTo>
                  <a:lnTo>
                    <a:pt x="85447" y="81667"/>
                  </a:lnTo>
                  <a:lnTo>
                    <a:pt x="75429" y="88970"/>
                  </a:lnTo>
                  <a:lnTo>
                    <a:pt x="74707" y="100707"/>
                  </a:lnTo>
                  <a:lnTo>
                    <a:pt x="72013" y="103694"/>
                  </a:lnTo>
                  <a:lnTo>
                    <a:pt x="81198" y="108087"/>
                  </a:lnTo>
                  <a:lnTo>
                    <a:pt x="94271" y="119907"/>
                  </a:lnTo>
                  <a:lnTo>
                    <a:pt x="90948" y="126406"/>
                  </a:lnTo>
                  <a:lnTo>
                    <a:pt x="81122" y="128173"/>
                  </a:lnTo>
                  <a:lnTo>
                    <a:pt x="64808" y="129472"/>
                  </a:lnTo>
                  <a:lnTo>
                    <a:pt x="55816" y="141554"/>
                  </a:lnTo>
                  <a:lnTo>
                    <a:pt x="45512" y="140603"/>
                  </a:lnTo>
                  <a:lnTo>
                    <a:pt x="44067" y="143026"/>
                  </a:lnTo>
                  <a:lnTo>
                    <a:pt x="32857" y="137939"/>
                  </a:lnTo>
                  <a:lnTo>
                    <a:pt x="30072" y="142961"/>
                  </a:lnTo>
                  <a:lnTo>
                    <a:pt x="23306" y="145178"/>
                  </a:lnTo>
                  <a:lnTo>
                    <a:pt x="22493" y="140152"/>
                  </a:lnTo>
                  <a:lnTo>
                    <a:pt x="16513" y="137703"/>
                  </a:lnTo>
                  <a:lnTo>
                    <a:pt x="10307" y="133433"/>
                  </a:lnTo>
                  <a:lnTo>
                    <a:pt x="16627" y="121622"/>
                  </a:lnTo>
                  <a:lnTo>
                    <a:pt x="22074" y="118465"/>
                  </a:lnTo>
                  <a:lnTo>
                    <a:pt x="20018" y="113545"/>
                  </a:lnTo>
                  <a:lnTo>
                    <a:pt x="25875" y="98974"/>
                  </a:lnTo>
                  <a:lnTo>
                    <a:pt x="24363" y="94546"/>
                  </a:lnTo>
                  <a:lnTo>
                    <a:pt x="10891" y="91590"/>
                  </a:lnTo>
                  <a:lnTo>
                    <a:pt x="0" y="84305"/>
                  </a:lnTo>
                  <a:lnTo>
                    <a:pt x="18796" y="66810"/>
                  </a:lnTo>
                  <a:lnTo>
                    <a:pt x="44236" y="52071"/>
                  </a:lnTo>
                  <a:lnTo>
                    <a:pt x="60094" y="32513"/>
                  </a:lnTo>
                  <a:lnTo>
                    <a:pt x="71052" y="41172"/>
                  </a:lnTo>
                  <a:lnTo>
                    <a:pt x="91010" y="42175"/>
                  </a:lnTo>
                  <a:lnTo>
                    <a:pt x="87404" y="27592"/>
                  </a:lnTo>
                  <a:lnTo>
                    <a:pt x="123054" y="15633"/>
                  </a:lnTo>
                  <a:lnTo>
                    <a:pt x="132232"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9" name="Freeform 133">
              <a:extLst>
                <a:ext uri="{FF2B5EF4-FFF2-40B4-BE49-F238E27FC236}">
                  <a16:creationId xmlns:a16="http://schemas.microsoft.com/office/drawing/2014/main" id="{2DA32E6E-D3FB-4FCC-AC1D-995D713EC72B}"/>
                </a:ext>
              </a:extLst>
            </p:cNvPr>
            <p:cNvSpPr>
              <a:spLocks noChangeAspect="1"/>
            </p:cNvSpPr>
            <p:nvPr>
              <p:custDataLst>
                <p:tags r:id="rId141"/>
              </p:custDataLst>
            </p:nvPr>
          </p:nvSpPr>
          <p:spPr>
            <a:xfrm>
              <a:off x="4140788" y="3489835"/>
              <a:ext cx="72422" cy="147628"/>
            </a:xfrm>
            <a:custGeom>
              <a:avLst/>
              <a:gdLst/>
              <a:ahLst/>
              <a:cxnLst/>
              <a:rect l="0" t="0" r="0" b="0"/>
              <a:pathLst>
                <a:path w="72422" h="147628">
                  <a:moveTo>
                    <a:pt x="11351" y="11091"/>
                  </a:moveTo>
                  <a:lnTo>
                    <a:pt x="19727" y="4048"/>
                  </a:lnTo>
                  <a:lnTo>
                    <a:pt x="29147" y="0"/>
                  </a:lnTo>
                  <a:lnTo>
                    <a:pt x="34933" y="13572"/>
                  </a:lnTo>
                  <a:lnTo>
                    <a:pt x="48567" y="13540"/>
                  </a:lnTo>
                  <a:lnTo>
                    <a:pt x="52519" y="10045"/>
                  </a:lnTo>
                  <a:lnTo>
                    <a:pt x="65969" y="11013"/>
                  </a:lnTo>
                  <a:lnTo>
                    <a:pt x="72421" y="24866"/>
                  </a:lnTo>
                  <a:lnTo>
                    <a:pt x="61756" y="32317"/>
                  </a:lnTo>
                  <a:lnTo>
                    <a:pt x="61459" y="53689"/>
                  </a:lnTo>
                  <a:lnTo>
                    <a:pt x="57710" y="57681"/>
                  </a:lnTo>
                  <a:lnTo>
                    <a:pt x="56783" y="70540"/>
                  </a:lnTo>
                  <a:lnTo>
                    <a:pt x="46810" y="72774"/>
                  </a:lnTo>
                  <a:lnTo>
                    <a:pt x="56057" y="88998"/>
                  </a:lnTo>
                  <a:lnTo>
                    <a:pt x="49685" y="106683"/>
                  </a:lnTo>
                  <a:lnTo>
                    <a:pt x="57644" y="114654"/>
                  </a:lnTo>
                  <a:lnTo>
                    <a:pt x="54476" y="121927"/>
                  </a:lnTo>
                  <a:lnTo>
                    <a:pt x="45922" y="131931"/>
                  </a:lnTo>
                  <a:lnTo>
                    <a:pt x="47847" y="140740"/>
                  </a:lnTo>
                  <a:lnTo>
                    <a:pt x="38570" y="147627"/>
                  </a:lnTo>
                  <a:lnTo>
                    <a:pt x="26401" y="143897"/>
                  </a:lnTo>
                  <a:lnTo>
                    <a:pt x="14489" y="146817"/>
                  </a:lnTo>
                  <a:lnTo>
                    <a:pt x="18015" y="126000"/>
                  </a:lnTo>
                  <a:lnTo>
                    <a:pt x="15848" y="109550"/>
                  </a:lnTo>
                  <a:lnTo>
                    <a:pt x="5519" y="107075"/>
                  </a:lnTo>
                  <a:lnTo>
                    <a:pt x="0" y="96887"/>
                  </a:lnTo>
                  <a:lnTo>
                    <a:pt x="1837" y="79211"/>
                  </a:lnTo>
                  <a:lnTo>
                    <a:pt x="11039" y="69367"/>
                  </a:lnTo>
                  <a:lnTo>
                    <a:pt x="12677" y="58369"/>
                  </a:lnTo>
                  <a:lnTo>
                    <a:pt x="17494" y="41935"/>
                  </a:lnTo>
                  <a:lnTo>
                    <a:pt x="16982" y="30303"/>
                  </a:lnTo>
                  <a:lnTo>
                    <a:pt x="12367" y="2040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0" name="Freeform 134">
              <a:extLst>
                <a:ext uri="{FF2B5EF4-FFF2-40B4-BE49-F238E27FC236}">
                  <a16:creationId xmlns:a16="http://schemas.microsoft.com/office/drawing/2014/main" id="{8D590B76-DF3F-49D2-BF26-6A3A4E4BBE15}"/>
                </a:ext>
              </a:extLst>
            </p:cNvPr>
            <p:cNvSpPr>
              <a:spLocks noChangeAspect="1"/>
            </p:cNvSpPr>
            <p:nvPr>
              <p:custDataLst>
                <p:tags r:id="rId142"/>
              </p:custDataLst>
            </p:nvPr>
          </p:nvSpPr>
          <p:spPr>
            <a:xfrm>
              <a:off x="5531992" y="3911357"/>
              <a:ext cx="19916" cy="38345"/>
            </a:xfrm>
            <a:custGeom>
              <a:avLst/>
              <a:gdLst/>
              <a:ahLst/>
              <a:cxnLst/>
              <a:rect l="0" t="0" r="0" b="0"/>
              <a:pathLst>
                <a:path w="19916" h="38345">
                  <a:moveTo>
                    <a:pt x="1528" y="33479"/>
                  </a:moveTo>
                  <a:lnTo>
                    <a:pt x="0" y="15592"/>
                  </a:lnTo>
                  <a:lnTo>
                    <a:pt x="6219" y="2658"/>
                  </a:lnTo>
                  <a:lnTo>
                    <a:pt x="12523" y="0"/>
                  </a:lnTo>
                  <a:lnTo>
                    <a:pt x="19508" y="7738"/>
                  </a:lnTo>
                  <a:lnTo>
                    <a:pt x="19915" y="22157"/>
                  </a:lnTo>
                  <a:lnTo>
                    <a:pt x="14904" y="36602"/>
                  </a:lnTo>
                  <a:lnTo>
                    <a:pt x="8506" y="3834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1" name="Freeform 135">
              <a:extLst>
                <a:ext uri="{FF2B5EF4-FFF2-40B4-BE49-F238E27FC236}">
                  <a16:creationId xmlns:a16="http://schemas.microsoft.com/office/drawing/2014/main" id="{453052CF-49F7-4756-9967-935537007BC5}"/>
                </a:ext>
              </a:extLst>
            </p:cNvPr>
            <p:cNvSpPr>
              <a:spLocks noChangeAspect="1"/>
            </p:cNvSpPr>
            <p:nvPr>
              <p:custDataLst>
                <p:tags r:id="rId143"/>
              </p:custDataLst>
            </p:nvPr>
          </p:nvSpPr>
          <p:spPr>
            <a:xfrm>
              <a:off x="4827423" y="3319811"/>
              <a:ext cx="217124" cy="130641"/>
            </a:xfrm>
            <a:custGeom>
              <a:avLst/>
              <a:gdLst/>
              <a:ahLst/>
              <a:cxnLst/>
              <a:rect l="0" t="0" r="0" b="0"/>
              <a:pathLst>
                <a:path w="217124" h="130641">
                  <a:moveTo>
                    <a:pt x="57483" y="9981"/>
                  </a:moveTo>
                  <a:lnTo>
                    <a:pt x="67448" y="3675"/>
                  </a:lnTo>
                  <a:lnTo>
                    <a:pt x="81730" y="6937"/>
                  </a:lnTo>
                  <a:lnTo>
                    <a:pt x="96528" y="7047"/>
                  </a:lnTo>
                  <a:lnTo>
                    <a:pt x="107245" y="14233"/>
                  </a:lnTo>
                  <a:lnTo>
                    <a:pt x="115126" y="9720"/>
                  </a:lnTo>
                  <a:lnTo>
                    <a:pt x="132165" y="6892"/>
                  </a:lnTo>
                  <a:lnTo>
                    <a:pt x="137971" y="0"/>
                  </a:lnTo>
                  <a:lnTo>
                    <a:pt x="147709" y="4"/>
                  </a:lnTo>
                  <a:lnTo>
                    <a:pt x="154745" y="2880"/>
                  </a:lnTo>
                  <a:lnTo>
                    <a:pt x="161894" y="11611"/>
                  </a:lnTo>
                  <a:lnTo>
                    <a:pt x="169218" y="23978"/>
                  </a:lnTo>
                  <a:lnTo>
                    <a:pt x="182534" y="41322"/>
                  </a:lnTo>
                  <a:lnTo>
                    <a:pt x="183272" y="54054"/>
                  </a:lnTo>
                  <a:lnTo>
                    <a:pt x="180835" y="66383"/>
                  </a:lnTo>
                  <a:lnTo>
                    <a:pt x="184969" y="79498"/>
                  </a:lnTo>
                  <a:lnTo>
                    <a:pt x="195270" y="84776"/>
                  </a:lnTo>
                  <a:lnTo>
                    <a:pt x="206117" y="80168"/>
                  </a:lnTo>
                  <a:lnTo>
                    <a:pt x="216587" y="85083"/>
                  </a:lnTo>
                  <a:lnTo>
                    <a:pt x="217123" y="92454"/>
                  </a:lnTo>
                  <a:lnTo>
                    <a:pt x="205930" y="98589"/>
                  </a:lnTo>
                  <a:lnTo>
                    <a:pt x="198918" y="95920"/>
                  </a:lnTo>
                  <a:lnTo>
                    <a:pt x="192461" y="130105"/>
                  </a:lnTo>
                  <a:lnTo>
                    <a:pt x="178888" y="127146"/>
                  </a:lnTo>
                  <a:lnTo>
                    <a:pt x="162091" y="116878"/>
                  </a:lnTo>
                  <a:lnTo>
                    <a:pt x="134917" y="123449"/>
                  </a:lnTo>
                  <a:lnTo>
                    <a:pt x="123471" y="130640"/>
                  </a:lnTo>
                  <a:lnTo>
                    <a:pt x="89571" y="129159"/>
                  </a:lnTo>
                  <a:lnTo>
                    <a:pt x="71835" y="124761"/>
                  </a:lnTo>
                  <a:lnTo>
                    <a:pt x="62892" y="126827"/>
                  </a:lnTo>
                  <a:lnTo>
                    <a:pt x="56251" y="115210"/>
                  </a:lnTo>
                  <a:lnTo>
                    <a:pt x="52024" y="110270"/>
                  </a:lnTo>
                  <a:lnTo>
                    <a:pt x="57372" y="105479"/>
                  </a:lnTo>
                  <a:lnTo>
                    <a:pt x="51678" y="101939"/>
                  </a:lnTo>
                  <a:lnTo>
                    <a:pt x="44432" y="108307"/>
                  </a:lnTo>
                  <a:lnTo>
                    <a:pt x="30973" y="100049"/>
                  </a:lnTo>
                  <a:lnTo>
                    <a:pt x="29161" y="88290"/>
                  </a:lnTo>
                  <a:lnTo>
                    <a:pt x="15098" y="81559"/>
                  </a:lnTo>
                  <a:lnTo>
                    <a:pt x="12510" y="72427"/>
                  </a:lnTo>
                  <a:lnTo>
                    <a:pt x="0" y="61109"/>
                  </a:lnTo>
                  <a:lnTo>
                    <a:pt x="18506" y="55659"/>
                  </a:lnTo>
                  <a:lnTo>
                    <a:pt x="32461" y="35974"/>
                  </a:lnTo>
                  <a:lnTo>
                    <a:pt x="43385" y="1614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2" name="Freeform 136">
              <a:extLst>
                <a:ext uri="{FF2B5EF4-FFF2-40B4-BE49-F238E27FC236}">
                  <a16:creationId xmlns:a16="http://schemas.microsoft.com/office/drawing/2014/main" id="{C4A95D6E-095D-4318-90F1-2C20A0E594B3}"/>
                </a:ext>
              </a:extLst>
            </p:cNvPr>
            <p:cNvSpPr>
              <a:spLocks noChangeAspect="1"/>
            </p:cNvSpPr>
            <p:nvPr>
              <p:custDataLst>
                <p:tags r:id="rId144"/>
              </p:custDataLst>
            </p:nvPr>
          </p:nvSpPr>
          <p:spPr>
            <a:xfrm>
              <a:off x="4814506" y="2037516"/>
              <a:ext cx="3934206" cy="1483526"/>
            </a:xfrm>
            <a:custGeom>
              <a:avLst/>
              <a:gdLst/>
              <a:ahLst/>
              <a:cxnLst/>
              <a:rect l="l" t="t" r="r" b="b"/>
              <a:pathLst>
                <a:path w="3934206" h="1483526">
                  <a:moveTo>
                    <a:pt x="2839034" y="1094106"/>
                  </a:moveTo>
                  <a:lnTo>
                    <a:pt x="2845032" y="1115055"/>
                  </a:lnTo>
                  <a:lnTo>
                    <a:pt x="2853023" y="1145269"/>
                  </a:lnTo>
                  <a:lnTo>
                    <a:pt x="2852433" y="1175741"/>
                  </a:lnTo>
                  <a:lnTo>
                    <a:pt x="2861960" y="1206604"/>
                  </a:lnTo>
                  <a:lnTo>
                    <a:pt x="2885184" y="1259892"/>
                  </a:lnTo>
                  <a:lnTo>
                    <a:pt x="2851017" y="1250042"/>
                  </a:lnTo>
                  <a:lnTo>
                    <a:pt x="2836815" y="1292882"/>
                  </a:lnTo>
                  <a:lnTo>
                    <a:pt x="2859317" y="1322853"/>
                  </a:lnTo>
                  <a:lnTo>
                    <a:pt x="2858666" y="1343101"/>
                  </a:lnTo>
                  <a:lnTo>
                    <a:pt x="2841178" y="1325642"/>
                  </a:lnTo>
                  <a:lnTo>
                    <a:pt x="2826044" y="1348038"/>
                  </a:lnTo>
                  <a:lnTo>
                    <a:pt x="2821771" y="1323749"/>
                  </a:lnTo>
                  <a:lnTo>
                    <a:pt x="2824345" y="1295276"/>
                  </a:lnTo>
                  <a:lnTo>
                    <a:pt x="2821714" y="1263380"/>
                  </a:lnTo>
                  <a:lnTo>
                    <a:pt x="2827054" y="1240801"/>
                  </a:lnTo>
                  <a:lnTo>
                    <a:pt x="2828074" y="1200372"/>
                  </a:lnTo>
                  <a:lnTo>
                    <a:pt x="2814550" y="1170233"/>
                  </a:lnTo>
                  <a:lnTo>
                    <a:pt x="2816592" y="1127722"/>
                  </a:lnTo>
                  <a:lnTo>
                    <a:pt x="2837929" y="1113239"/>
                  </a:lnTo>
                  <a:lnTo>
                    <a:pt x="2828761" y="1098569"/>
                  </a:lnTo>
                  <a:close/>
                  <a:moveTo>
                    <a:pt x="37112" y="1067723"/>
                  </a:moveTo>
                  <a:lnTo>
                    <a:pt x="61286" y="1073353"/>
                  </a:lnTo>
                  <a:lnTo>
                    <a:pt x="71490" y="1078441"/>
                  </a:lnTo>
                  <a:lnTo>
                    <a:pt x="69026" y="1087196"/>
                  </a:lnTo>
                  <a:lnTo>
                    <a:pt x="70874" y="1095325"/>
                  </a:lnTo>
                  <a:lnTo>
                    <a:pt x="28428" y="1095803"/>
                  </a:lnTo>
                  <a:lnTo>
                    <a:pt x="0" y="1092189"/>
                  </a:lnTo>
                  <a:lnTo>
                    <a:pt x="5259" y="1078134"/>
                  </a:lnTo>
                  <a:close/>
                  <a:moveTo>
                    <a:pt x="3704019" y="465997"/>
                  </a:moveTo>
                  <a:lnTo>
                    <a:pt x="3723583" y="466086"/>
                  </a:lnTo>
                  <a:lnTo>
                    <a:pt x="3756969" y="478252"/>
                  </a:lnTo>
                  <a:lnTo>
                    <a:pt x="3754992" y="484040"/>
                  </a:lnTo>
                  <a:lnTo>
                    <a:pt x="3731212" y="494149"/>
                  </a:lnTo>
                  <a:lnTo>
                    <a:pt x="3701062" y="496705"/>
                  </a:lnTo>
                  <a:lnTo>
                    <a:pt x="3675749" y="498849"/>
                  </a:lnTo>
                  <a:lnTo>
                    <a:pt x="3671638" y="485475"/>
                  </a:lnTo>
                  <a:lnTo>
                    <a:pt x="3701062" y="467783"/>
                  </a:lnTo>
                  <a:close/>
                  <a:moveTo>
                    <a:pt x="2825352" y="365319"/>
                  </a:moveTo>
                  <a:lnTo>
                    <a:pt x="2858147" y="382421"/>
                  </a:lnTo>
                  <a:lnTo>
                    <a:pt x="2860941" y="394089"/>
                  </a:lnTo>
                  <a:lnTo>
                    <a:pt x="2825942" y="394399"/>
                  </a:lnTo>
                  <a:lnTo>
                    <a:pt x="2778635" y="389459"/>
                  </a:lnTo>
                  <a:lnTo>
                    <a:pt x="2774594" y="387110"/>
                  </a:lnTo>
                  <a:lnTo>
                    <a:pt x="2796490" y="369471"/>
                  </a:lnTo>
                  <a:close/>
                  <a:moveTo>
                    <a:pt x="2924525" y="290217"/>
                  </a:moveTo>
                  <a:lnTo>
                    <a:pt x="2967545" y="297259"/>
                  </a:lnTo>
                  <a:lnTo>
                    <a:pt x="3025469" y="309407"/>
                  </a:lnTo>
                  <a:lnTo>
                    <a:pt x="2998792" y="327599"/>
                  </a:lnTo>
                  <a:lnTo>
                    <a:pt x="2961895" y="323497"/>
                  </a:lnTo>
                  <a:lnTo>
                    <a:pt x="2919002" y="305289"/>
                  </a:lnTo>
                  <a:close/>
                  <a:moveTo>
                    <a:pt x="2750772" y="260076"/>
                  </a:moveTo>
                  <a:lnTo>
                    <a:pt x="2811723" y="262158"/>
                  </a:lnTo>
                  <a:lnTo>
                    <a:pt x="2895160" y="287140"/>
                  </a:lnTo>
                  <a:lnTo>
                    <a:pt x="2877010" y="321584"/>
                  </a:lnTo>
                  <a:lnTo>
                    <a:pt x="2791923" y="320311"/>
                  </a:lnTo>
                  <a:lnTo>
                    <a:pt x="2753643" y="331144"/>
                  </a:lnTo>
                  <a:lnTo>
                    <a:pt x="2707915" y="301173"/>
                  </a:lnTo>
                  <a:lnTo>
                    <a:pt x="2720319" y="268961"/>
                  </a:lnTo>
                  <a:close/>
                  <a:moveTo>
                    <a:pt x="1119427" y="221565"/>
                  </a:moveTo>
                  <a:lnTo>
                    <a:pt x="1135473" y="240603"/>
                  </a:lnTo>
                  <a:lnTo>
                    <a:pt x="1119970" y="255471"/>
                  </a:lnTo>
                  <a:lnTo>
                    <a:pt x="1038182" y="278925"/>
                  </a:lnTo>
                  <a:lnTo>
                    <a:pt x="967692" y="301210"/>
                  </a:lnTo>
                  <a:lnTo>
                    <a:pt x="895987" y="344926"/>
                  </a:lnTo>
                  <a:lnTo>
                    <a:pt x="861587" y="388743"/>
                  </a:lnTo>
                  <a:lnTo>
                    <a:pt x="825406" y="430972"/>
                  </a:lnTo>
                  <a:lnTo>
                    <a:pt x="830103" y="466723"/>
                  </a:lnTo>
                  <a:lnTo>
                    <a:pt x="874257" y="501393"/>
                  </a:lnTo>
                  <a:lnTo>
                    <a:pt x="860622" y="505066"/>
                  </a:lnTo>
                  <a:lnTo>
                    <a:pt x="785197" y="499624"/>
                  </a:lnTo>
                  <a:lnTo>
                    <a:pt x="779072" y="480913"/>
                  </a:lnTo>
                  <a:lnTo>
                    <a:pt x="737289" y="469528"/>
                  </a:lnTo>
                  <a:lnTo>
                    <a:pt x="733916" y="446390"/>
                  </a:lnTo>
                  <a:lnTo>
                    <a:pt x="757518" y="437122"/>
                  </a:lnTo>
                  <a:lnTo>
                    <a:pt x="756731" y="413368"/>
                  </a:lnTo>
                  <a:lnTo>
                    <a:pt x="802514" y="375627"/>
                  </a:lnTo>
                  <a:lnTo>
                    <a:pt x="781294" y="370154"/>
                  </a:lnTo>
                  <a:lnTo>
                    <a:pt x="836558" y="330412"/>
                  </a:lnTo>
                  <a:lnTo>
                    <a:pt x="830313" y="309530"/>
                  </a:lnTo>
                  <a:lnTo>
                    <a:pt x="881943" y="284949"/>
                  </a:lnTo>
                  <a:lnTo>
                    <a:pt x="958148" y="254602"/>
                  </a:lnTo>
                  <a:lnTo>
                    <a:pt x="1034974" y="245669"/>
                  </a:lnTo>
                  <a:lnTo>
                    <a:pt x="1074506" y="227850"/>
                  </a:lnTo>
                  <a:close/>
                  <a:moveTo>
                    <a:pt x="1954894" y="184460"/>
                  </a:moveTo>
                  <a:lnTo>
                    <a:pt x="1994481" y="200407"/>
                  </a:lnTo>
                  <a:lnTo>
                    <a:pt x="1963051" y="212448"/>
                  </a:lnTo>
                  <a:lnTo>
                    <a:pt x="2015337" y="219893"/>
                  </a:lnTo>
                  <a:lnTo>
                    <a:pt x="2021566" y="243709"/>
                  </a:lnTo>
                  <a:lnTo>
                    <a:pt x="2042658" y="232019"/>
                  </a:lnTo>
                  <a:lnTo>
                    <a:pt x="2110140" y="232662"/>
                  </a:lnTo>
                  <a:lnTo>
                    <a:pt x="2162174" y="256013"/>
                  </a:lnTo>
                  <a:lnTo>
                    <a:pt x="2180702" y="273753"/>
                  </a:lnTo>
                  <a:lnTo>
                    <a:pt x="2174959" y="298099"/>
                  </a:lnTo>
                  <a:lnTo>
                    <a:pt x="2149425" y="311820"/>
                  </a:lnTo>
                  <a:lnTo>
                    <a:pt x="2088765" y="337297"/>
                  </a:lnTo>
                  <a:lnTo>
                    <a:pt x="2071424" y="350778"/>
                  </a:lnTo>
                  <a:lnTo>
                    <a:pt x="2100047" y="357105"/>
                  </a:lnTo>
                  <a:lnTo>
                    <a:pt x="2134191" y="368454"/>
                  </a:lnTo>
                  <a:lnTo>
                    <a:pt x="2154973" y="359949"/>
                  </a:lnTo>
                  <a:lnTo>
                    <a:pt x="2166746" y="388654"/>
                  </a:lnTo>
                  <a:lnTo>
                    <a:pt x="2176885" y="377086"/>
                  </a:lnTo>
                  <a:lnTo>
                    <a:pt x="2213793" y="370018"/>
                  </a:lnTo>
                  <a:lnTo>
                    <a:pt x="2287855" y="377406"/>
                  </a:lnTo>
                  <a:lnTo>
                    <a:pt x="2293479" y="398177"/>
                  </a:lnTo>
                  <a:lnTo>
                    <a:pt x="2389980" y="404738"/>
                  </a:lnTo>
                  <a:lnTo>
                    <a:pt x="2391299" y="370817"/>
                  </a:lnTo>
                  <a:lnTo>
                    <a:pt x="2440285" y="378643"/>
                  </a:lnTo>
                  <a:lnTo>
                    <a:pt x="2477136" y="378398"/>
                  </a:lnTo>
                  <a:lnTo>
                    <a:pt x="2514410" y="401764"/>
                  </a:lnTo>
                  <a:lnTo>
                    <a:pt x="2525035" y="429779"/>
                  </a:lnTo>
                  <a:lnTo>
                    <a:pt x="2511380" y="447893"/>
                  </a:lnTo>
                  <a:lnTo>
                    <a:pt x="2540372" y="481490"/>
                  </a:lnTo>
                  <a:lnTo>
                    <a:pt x="2576671" y="498604"/>
                  </a:lnTo>
                  <a:lnTo>
                    <a:pt x="2598944" y="454071"/>
                  </a:lnTo>
                  <a:lnTo>
                    <a:pt x="2635972" y="473287"/>
                  </a:lnTo>
                  <a:lnTo>
                    <a:pt x="2675312" y="461827"/>
                  </a:lnTo>
                  <a:lnTo>
                    <a:pt x="2719990" y="474935"/>
                  </a:lnTo>
                  <a:lnTo>
                    <a:pt x="2736992" y="462990"/>
                  </a:lnTo>
                  <a:lnTo>
                    <a:pt x="2774749" y="468972"/>
                  </a:lnTo>
                  <a:lnTo>
                    <a:pt x="2758086" y="429020"/>
                  </a:lnTo>
                  <a:lnTo>
                    <a:pt x="2788561" y="410093"/>
                  </a:lnTo>
                  <a:lnTo>
                    <a:pt x="2997039" y="438397"/>
                  </a:lnTo>
                  <a:lnTo>
                    <a:pt x="3016687" y="463913"/>
                  </a:lnTo>
                  <a:lnTo>
                    <a:pt x="3077111" y="496285"/>
                  </a:lnTo>
                  <a:lnTo>
                    <a:pt x="3170319" y="488320"/>
                  </a:lnTo>
                  <a:lnTo>
                    <a:pt x="3216274" y="495255"/>
                  </a:lnTo>
                  <a:lnTo>
                    <a:pt x="3235491" y="512560"/>
                  </a:lnTo>
                  <a:lnTo>
                    <a:pt x="3232682" y="542801"/>
                  </a:lnTo>
                  <a:lnTo>
                    <a:pt x="3261118" y="554452"/>
                  </a:lnTo>
                  <a:lnTo>
                    <a:pt x="3292014" y="546079"/>
                  </a:lnTo>
                  <a:lnTo>
                    <a:pt x="3332949" y="545006"/>
                  </a:lnTo>
                  <a:lnTo>
                    <a:pt x="3376527" y="553035"/>
                  </a:lnTo>
                  <a:lnTo>
                    <a:pt x="3420276" y="548510"/>
                  </a:lnTo>
                  <a:lnTo>
                    <a:pt x="3460486" y="584562"/>
                  </a:lnTo>
                  <a:lnTo>
                    <a:pt x="3489090" y="571664"/>
                  </a:lnTo>
                  <a:lnTo>
                    <a:pt x="3470424" y="545640"/>
                  </a:lnTo>
                  <a:lnTo>
                    <a:pt x="3480701" y="527348"/>
                  </a:lnTo>
                  <a:lnTo>
                    <a:pt x="3554345" y="538880"/>
                  </a:lnTo>
                  <a:lnTo>
                    <a:pt x="3602361" y="536418"/>
                  </a:lnTo>
                  <a:lnTo>
                    <a:pt x="3668746" y="555972"/>
                  </a:lnTo>
                  <a:lnTo>
                    <a:pt x="3701062" y="573686"/>
                  </a:lnTo>
                  <a:lnTo>
                    <a:pt x="3757613" y="604316"/>
                  </a:lnTo>
                  <a:lnTo>
                    <a:pt x="3818130" y="643510"/>
                  </a:lnTo>
                  <a:lnTo>
                    <a:pt x="3816145" y="667638"/>
                  </a:lnTo>
                  <a:lnTo>
                    <a:pt x="3831713" y="677218"/>
                  </a:lnTo>
                  <a:lnTo>
                    <a:pt x="3826358" y="649113"/>
                  </a:lnTo>
                  <a:lnTo>
                    <a:pt x="3889016" y="654912"/>
                  </a:lnTo>
                  <a:lnTo>
                    <a:pt x="3934206" y="690938"/>
                  </a:lnTo>
                  <a:lnTo>
                    <a:pt x="3911320" y="707505"/>
                  </a:lnTo>
                  <a:lnTo>
                    <a:pt x="3873483" y="711419"/>
                  </a:lnTo>
                  <a:lnTo>
                    <a:pt x="3872912" y="748022"/>
                  </a:lnTo>
                  <a:lnTo>
                    <a:pt x="3863671" y="755735"/>
                  </a:lnTo>
                  <a:lnTo>
                    <a:pt x="3842054" y="754628"/>
                  </a:lnTo>
                  <a:lnTo>
                    <a:pt x="3824463" y="741682"/>
                  </a:lnTo>
                  <a:lnTo>
                    <a:pt x="3793772" y="730791"/>
                  </a:lnTo>
                  <a:lnTo>
                    <a:pt x="3788611" y="714487"/>
                  </a:lnTo>
                  <a:lnTo>
                    <a:pt x="3765169" y="708305"/>
                  </a:lnTo>
                  <a:lnTo>
                    <a:pt x="3738918" y="713209"/>
                  </a:lnTo>
                  <a:lnTo>
                    <a:pt x="3726376" y="699955"/>
                  </a:lnTo>
                  <a:lnTo>
                    <a:pt x="3731389" y="685785"/>
                  </a:lnTo>
                  <a:lnTo>
                    <a:pt x="3703744" y="694853"/>
                  </a:lnTo>
                  <a:lnTo>
                    <a:pt x="3714156" y="712696"/>
                  </a:lnTo>
                  <a:lnTo>
                    <a:pt x="3701062" y="728662"/>
                  </a:lnTo>
                  <a:lnTo>
                    <a:pt x="3700896" y="728864"/>
                  </a:lnTo>
                  <a:lnTo>
                    <a:pt x="3671220" y="745267"/>
                  </a:lnTo>
                  <a:lnTo>
                    <a:pt x="3641306" y="742540"/>
                  </a:lnTo>
                  <a:lnTo>
                    <a:pt x="3662121" y="762266"/>
                  </a:lnTo>
                  <a:lnTo>
                    <a:pt x="3675861" y="792443"/>
                  </a:lnTo>
                  <a:lnTo>
                    <a:pt x="3686527" y="802216"/>
                  </a:lnTo>
                  <a:lnTo>
                    <a:pt x="3689205" y="817140"/>
                  </a:lnTo>
                  <a:lnTo>
                    <a:pt x="3683247" y="826641"/>
                  </a:lnTo>
                  <a:lnTo>
                    <a:pt x="3640222" y="818831"/>
                  </a:lnTo>
                  <a:lnTo>
                    <a:pt x="3575706" y="845705"/>
                  </a:lnTo>
                  <a:lnTo>
                    <a:pt x="3555181" y="849836"/>
                  </a:lnTo>
                  <a:lnTo>
                    <a:pt x="3519862" y="874577"/>
                  </a:lnTo>
                  <a:lnTo>
                    <a:pt x="3486358" y="895966"/>
                  </a:lnTo>
                  <a:lnTo>
                    <a:pt x="3477871" y="911668"/>
                  </a:lnTo>
                  <a:lnTo>
                    <a:pt x="3444854" y="887719"/>
                  </a:lnTo>
                  <a:lnTo>
                    <a:pt x="3384713" y="914876"/>
                  </a:lnTo>
                  <a:lnTo>
                    <a:pt x="3374210" y="902067"/>
                  </a:lnTo>
                  <a:lnTo>
                    <a:pt x="3351976" y="916833"/>
                  </a:lnTo>
                  <a:lnTo>
                    <a:pt x="3321104" y="912118"/>
                  </a:lnTo>
                  <a:lnTo>
                    <a:pt x="3313667" y="934646"/>
                  </a:lnTo>
                  <a:lnTo>
                    <a:pt x="3285973" y="967389"/>
                  </a:lnTo>
                  <a:lnTo>
                    <a:pt x="3286795" y="980926"/>
                  </a:lnTo>
                  <a:lnTo>
                    <a:pt x="3313085" y="988396"/>
                  </a:lnTo>
                  <a:lnTo>
                    <a:pt x="3309993" y="1036350"/>
                  </a:lnTo>
                  <a:lnTo>
                    <a:pt x="3288564" y="1037557"/>
                  </a:lnTo>
                  <a:lnTo>
                    <a:pt x="3278682" y="1064659"/>
                  </a:lnTo>
                  <a:lnTo>
                    <a:pt x="3288285" y="1078488"/>
                  </a:lnTo>
                  <a:lnTo>
                    <a:pt x="3247919" y="1094791"/>
                  </a:lnTo>
                  <a:lnTo>
                    <a:pt x="3239909" y="1130839"/>
                  </a:lnTo>
                  <a:lnTo>
                    <a:pt x="3205498" y="1138470"/>
                  </a:lnTo>
                  <a:lnTo>
                    <a:pt x="3198578" y="1170009"/>
                  </a:lnTo>
                  <a:lnTo>
                    <a:pt x="3165307" y="1198582"/>
                  </a:lnTo>
                  <a:lnTo>
                    <a:pt x="3156772" y="1177484"/>
                  </a:lnTo>
                  <a:lnTo>
                    <a:pt x="3146888" y="1132205"/>
                  </a:lnTo>
                  <a:lnTo>
                    <a:pt x="3134004" y="1061586"/>
                  </a:lnTo>
                  <a:lnTo>
                    <a:pt x="3145101" y="1016420"/>
                  </a:lnTo>
                  <a:lnTo>
                    <a:pt x="3164577" y="996713"/>
                  </a:lnTo>
                  <a:lnTo>
                    <a:pt x="3165782" y="981162"/>
                  </a:lnTo>
                  <a:lnTo>
                    <a:pt x="3201652" y="973680"/>
                  </a:lnTo>
                  <a:lnTo>
                    <a:pt x="3242885" y="931107"/>
                  </a:lnTo>
                  <a:lnTo>
                    <a:pt x="3282620" y="895730"/>
                  </a:lnTo>
                  <a:lnTo>
                    <a:pt x="3324114" y="867882"/>
                  </a:lnTo>
                  <a:lnTo>
                    <a:pt x="3342670" y="817799"/>
                  </a:lnTo>
                  <a:lnTo>
                    <a:pt x="3314621" y="820828"/>
                  </a:lnTo>
                  <a:lnTo>
                    <a:pt x="3300759" y="850194"/>
                  </a:lnTo>
                  <a:lnTo>
                    <a:pt x="3242211" y="888739"/>
                  </a:lnTo>
                  <a:lnTo>
                    <a:pt x="3223303" y="845534"/>
                  </a:lnTo>
                  <a:lnTo>
                    <a:pt x="3163712" y="857549"/>
                  </a:lnTo>
                  <a:lnTo>
                    <a:pt x="3105945" y="915920"/>
                  </a:lnTo>
                  <a:lnTo>
                    <a:pt x="3125005" y="936897"/>
                  </a:lnTo>
                  <a:lnTo>
                    <a:pt x="3073486" y="945769"/>
                  </a:lnTo>
                  <a:lnTo>
                    <a:pt x="3037797" y="949258"/>
                  </a:lnTo>
                  <a:lnTo>
                    <a:pt x="3039469" y="924640"/>
                  </a:lnTo>
                  <a:lnTo>
                    <a:pt x="3003589" y="919438"/>
                  </a:lnTo>
                  <a:lnTo>
                    <a:pt x="2974991" y="936232"/>
                  </a:lnTo>
                  <a:lnTo>
                    <a:pt x="2904413" y="930370"/>
                  </a:lnTo>
                  <a:lnTo>
                    <a:pt x="2828485" y="940468"/>
                  </a:lnTo>
                  <a:lnTo>
                    <a:pt x="2753713" y="1005870"/>
                  </a:lnTo>
                  <a:lnTo>
                    <a:pt x="2665253" y="1082505"/>
                  </a:lnTo>
                  <a:lnTo>
                    <a:pt x="2701620" y="1086531"/>
                  </a:lnTo>
                  <a:lnTo>
                    <a:pt x="2712971" y="1106437"/>
                  </a:lnTo>
                  <a:lnTo>
                    <a:pt x="2735390" y="1113464"/>
                  </a:lnTo>
                  <a:lnTo>
                    <a:pt x="2750161" y="1097645"/>
                  </a:lnTo>
                  <a:lnTo>
                    <a:pt x="2775481" y="1099705"/>
                  </a:lnTo>
                  <a:lnTo>
                    <a:pt x="2808808" y="1134378"/>
                  </a:lnTo>
                  <a:lnTo>
                    <a:pt x="2809590" y="1160859"/>
                  </a:lnTo>
                  <a:lnTo>
                    <a:pt x="2791544" y="1191601"/>
                  </a:lnTo>
                  <a:lnTo>
                    <a:pt x="2789597" y="1227858"/>
                  </a:lnTo>
                  <a:lnTo>
                    <a:pt x="2779184" y="1275618"/>
                  </a:lnTo>
                  <a:lnTo>
                    <a:pt x="2744393" y="1318111"/>
                  </a:lnTo>
                  <a:lnTo>
                    <a:pt x="2736660" y="1338188"/>
                  </a:lnTo>
                  <a:lnTo>
                    <a:pt x="2705328" y="1371661"/>
                  </a:lnTo>
                  <a:lnTo>
                    <a:pt x="2674237" y="1404458"/>
                  </a:lnTo>
                  <a:lnTo>
                    <a:pt x="2659326" y="1421097"/>
                  </a:lnTo>
                  <a:lnTo>
                    <a:pt x="2628567" y="1437527"/>
                  </a:lnTo>
                  <a:lnTo>
                    <a:pt x="2614012" y="1437890"/>
                  </a:lnTo>
                  <a:lnTo>
                    <a:pt x="2599512" y="1424286"/>
                  </a:lnTo>
                  <a:lnTo>
                    <a:pt x="2568530" y="1444743"/>
                  </a:lnTo>
                  <a:lnTo>
                    <a:pt x="2564932" y="1453998"/>
                  </a:lnTo>
                  <a:lnTo>
                    <a:pt x="2561700" y="1449134"/>
                  </a:lnTo>
                  <a:lnTo>
                    <a:pt x="2561559" y="1434970"/>
                  </a:lnTo>
                  <a:lnTo>
                    <a:pt x="2573350" y="1434216"/>
                  </a:lnTo>
                  <a:lnTo>
                    <a:pt x="2576671" y="1400995"/>
                  </a:lnTo>
                  <a:lnTo>
                    <a:pt x="2570592" y="1376672"/>
                  </a:lnTo>
                  <a:lnTo>
                    <a:pt x="2590402" y="1366580"/>
                  </a:lnTo>
                  <a:lnTo>
                    <a:pt x="2618418" y="1371644"/>
                  </a:lnTo>
                  <a:lnTo>
                    <a:pt x="2633941" y="1343707"/>
                  </a:lnTo>
                  <a:lnTo>
                    <a:pt x="2641851" y="1311903"/>
                  </a:lnTo>
                  <a:lnTo>
                    <a:pt x="2650818" y="1301195"/>
                  </a:lnTo>
                  <a:lnTo>
                    <a:pt x="2662948" y="1274684"/>
                  </a:lnTo>
                  <a:lnTo>
                    <a:pt x="2624799" y="1283399"/>
                  </a:lnTo>
                  <a:lnTo>
                    <a:pt x="2604788" y="1295016"/>
                  </a:lnTo>
                  <a:lnTo>
                    <a:pt x="2569716" y="1294982"/>
                  </a:lnTo>
                  <a:lnTo>
                    <a:pt x="2560368" y="1267228"/>
                  </a:lnTo>
                  <a:lnTo>
                    <a:pt x="2533027" y="1246032"/>
                  </a:lnTo>
                  <a:lnTo>
                    <a:pt x="2492854" y="1236444"/>
                  </a:lnTo>
                  <a:lnTo>
                    <a:pt x="2484314" y="1206841"/>
                  </a:lnTo>
                  <a:lnTo>
                    <a:pt x="2476275" y="1188105"/>
                  </a:lnTo>
                  <a:lnTo>
                    <a:pt x="2467624" y="1174891"/>
                  </a:lnTo>
                  <a:lnTo>
                    <a:pt x="2453359" y="1143647"/>
                  </a:lnTo>
                  <a:lnTo>
                    <a:pt x="2433089" y="1132140"/>
                  </a:lnTo>
                  <a:lnTo>
                    <a:pt x="2398540" y="1122796"/>
                  </a:lnTo>
                  <a:lnTo>
                    <a:pt x="2367938" y="1123647"/>
                  </a:lnTo>
                  <a:lnTo>
                    <a:pt x="2339255" y="1129308"/>
                  </a:lnTo>
                  <a:lnTo>
                    <a:pt x="2320189" y="1144860"/>
                  </a:lnTo>
                  <a:lnTo>
                    <a:pt x="2332854" y="1152255"/>
                  </a:lnTo>
                  <a:lnTo>
                    <a:pt x="2333140" y="1169348"/>
                  </a:lnTo>
                  <a:lnTo>
                    <a:pt x="2320303" y="1179219"/>
                  </a:lnTo>
                  <a:lnTo>
                    <a:pt x="2299467" y="1211605"/>
                  </a:lnTo>
                  <a:lnTo>
                    <a:pt x="2299677" y="1224921"/>
                  </a:lnTo>
                  <a:lnTo>
                    <a:pt x="2267148" y="1243924"/>
                  </a:lnTo>
                  <a:lnTo>
                    <a:pt x="2239438" y="1232587"/>
                  </a:lnTo>
                  <a:lnTo>
                    <a:pt x="2211898" y="1235094"/>
                  </a:lnTo>
                  <a:lnTo>
                    <a:pt x="2199813" y="1225001"/>
                  </a:lnTo>
                  <a:lnTo>
                    <a:pt x="2185971" y="1221738"/>
                  </a:lnTo>
                  <a:lnTo>
                    <a:pt x="2152162" y="1242947"/>
                  </a:lnTo>
                  <a:lnTo>
                    <a:pt x="2121773" y="1247906"/>
                  </a:lnTo>
                  <a:lnTo>
                    <a:pt x="2100555" y="1255310"/>
                  </a:lnTo>
                  <a:lnTo>
                    <a:pt x="2071481" y="1250448"/>
                  </a:lnTo>
                  <a:lnTo>
                    <a:pt x="2050076" y="1250759"/>
                  </a:lnTo>
                  <a:lnTo>
                    <a:pt x="2036066" y="1235439"/>
                  </a:lnTo>
                  <a:lnTo>
                    <a:pt x="2013459" y="1220952"/>
                  </a:lnTo>
                  <a:lnTo>
                    <a:pt x="1990326" y="1216967"/>
                  </a:lnTo>
                  <a:lnTo>
                    <a:pt x="1961125" y="1220921"/>
                  </a:lnTo>
                  <a:lnTo>
                    <a:pt x="1939312" y="1226518"/>
                  </a:lnTo>
                  <a:lnTo>
                    <a:pt x="1906519" y="1213800"/>
                  </a:lnTo>
                  <a:lnTo>
                    <a:pt x="1902118" y="1190981"/>
                  </a:lnTo>
                  <a:lnTo>
                    <a:pt x="1874978" y="1183110"/>
                  </a:lnTo>
                  <a:lnTo>
                    <a:pt x="1854025" y="1179512"/>
                  </a:lnTo>
                  <a:lnTo>
                    <a:pt x="1828167" y="1166778"/>
                  </a:lnTo>
                  <a:lnTo>
                    <a:pt x="1804260" y="1198584"/>
                  </a:lnTo>
                  <a:lnTo>
                    <a:pt x="1813631" y="1216471"/>
                  </a:lnTo>
                  <a:lnTo>
                    <a:pt x="1791195" y="1237472"/>
                  </a:lnTo>
                  <a:lnTo>
                    <a:pt x="1757824" y="1229910"/>
                  </a:lnTo>
                  <a:lnTo>
                    <a:pt x="1734785" y="1228826"/>
                  </a:lnTo>
                  <a:lnTo>
                    <a:pt x="1719357" y="1214710"/>
                  </a:lnTo>
                  <a:lnTo>
                    <a:pt x="1695274" y="1214263"/>
                  </a:lnTo>
                  <a:lnTo>
                    <a:pt x="1675203" y="1204944"/>
                  </a:lnTo>
                  <a:lnTo>
                    <a:pt x="1640094" y="1219213"/>
                  </a:lnTo>
                  <a:lnTo>
                    <a:pt x="1596050" y="1245136"/>
                  </a:lnTo>
                  <a:lnTo>
                    <a:pt x="1571714" y="1250321"/>
                  </a:lnTo>
                  <a:lnTo>
                    <a:pt x="1562681" y="1252777"/>
                  </a:lnTo>
                  <a:lnTo>
                    <a:pt x="1550433" y="1234448"/>
                  </a:lnTo>
                  <a:lnTo>
                    <a:pt x="1520701" y="1238469"/>
                  </a:lnTo>
                  <a:lnTo>
                    <a:pt x="1510874" y="1225694"/>
                  </a:lnTo>
                  <a:lnTo>
                    <a:pt x="1494735" y="1219830"/>
                  </a:lnTo>
                  <a:lnTo>
                    <a:pt x="1483626" y="1202294"/>
                  </a:lnTo>
                  <a:lnTo>
                    <a:pt x="1470882" y="1196809"/>
                  </a:lnTo>
                  <a:lnTo>
                    <a:pt x="1437712" y="1204640"/>
                  </a:lnTo>
                  <a:lnTo>
                    <a:pt x="1405914" y="1187050"/>
                  </a:lnTo>
                  <a:lnTo>
                    <a:pt x="1393614" y="1203040"/>
                  </a:lnTo>
                  <a:lnTo>
                    <a:pt x="1342033" y="1124505"/>
                  </a:lnTo>
                  <a:lnTo>
                    <a:pt x="1312585" y="1100108"/>
                  </a:lnTo>
                  <a:lnTo>
                    <a:pt x="1321032" y="1090136"/>
                  </a:lnTo>
                  <a:lnTo>
                    <a:pt x="1263180" y="1120026"/>
                  </a:lnTo>
                  <a:lnTo>
                    <a:pt x="1241041" y="1121820"/>
                  </a:lnTo>
                  <a:lnTo>
                    <a:pt x="1242953" y="1104591"/>
                  </a:lnTo>
                  <a:lnTo>
                    <a:pt x="1213306" y="1093763"/>
                  </a:lnTo>
                  <a:lnTo>
                    <a:pt x="1189208" y="1101495"/>
                  </a:lnTo>
                  <a:lnTo>
                    <a:pt x="1181939" y="1068391"/>
                  </a:lnTo>
                  <a:lnTo>
                    <a:pt x="1140458" y="1061449"/>
                  </a:lnTo>
                  <a:lnTo>
                    <a:pt x="1119705" y="1074794"/>
                  </a:lnTo>
                  <a:lnTo>
                    <a:pt x="1061947" y="1086605"/>
                  </a:lnTo>
                  <a:lnTo>
                    <a:pt x="1050675" y="1094476"/>
                  </a:lnTo>
                  <a:lnTo>
                    <a:pt x="964301" y="1105521"/>
                  </a:lnTo>
                  <a:lnTo>
                    <a:pt x="953716" y="1116304"/>
                  </a:lnTo>
                  <a:lnTo>
                    <a:pt x="970380" y="1137804"/>
                  </a:lnTo>
                  <a:lnTo>
                    <a:pt x="948221" y="1145916"/>
                  </a:lnTo>
                  <a:lnTo>
                    <a:pt x="952544" y="1154387"/>
                  </a:lnTo>
                  <a:lnTo>
                    <a:pt x="930390" y="1169462"/>
                  </a:lnTo>
                  <a:lnTo>
                    <a:pt x="967795" y="1190592"/>
                  </a:lnTo>
                  <a:lnTo>
                    <a:pt x="962011" y="1205039"/>
                  </a:lnTo>
                  <a:lnTo>
                    <a:pt x="929589" y="1203727"/>
                  </a:lnTo>
                  <a:lnTo>
                    <a:pt x="922883" y="1212742"/>
                  </a:lnTo>
                  <a:lnTo>
                    <a:pt x="893361" y="1196978"/>
                  </a:lnTo>
                  <a:lnTo>
                    <a:pt x="856767" y="1197591"/>
                  </a:lnTo>
                  <a:lnTo>
                    <a:pt x="832275" y="1210428"/>
                  </a:lnTo>
                  <a:lnTo>
                    <a:pt x="804944" y="1198119"/>
                  </a:lnTo>
                  <a:lnTo>
                    <a:pt x="754066" y="1176910"/>
                  </a:lnTo>
                  <a:lnTo>
                    <a:pt x="718010" y="1177706"/>
                  </a:lnTo>
                  <a:lnTo>
                    <a:pt x="670361" y="1210931"/>
                  </a:lnTo>
                  <a:lnTo>
                    <a:pt x="667486" y="1233002"/>
                  </a:lnTo>
                  <a:lnTo>
                    <a:pt x="643749" y="1215493"/>
                  </a:lnTo>
                  <a:lnTo>
                    <a:pt x="625332" y="1248563"/>
                  </a:lnTo>
                  <a:lnTo>
                    <a:pt x="632073" y="1254656"/>
                  </a:lnTo>
                  <a:lnTo>
                    <a:pt x="618749" y="1277173"/>
                  </a:lnTo>
                  <a:lnTo>
                    <a:pt x="638342" y="1297164"/>
                  </a:lnTo>
                  <a:lnTo>
                    <a:pt x="655470" y="1296344"/>
                  </a:lnTo>
                  <a:lnTo>
                    <a:pt x="670184" y="1315896"/>
                  </a:lnTo>
                  <a:lnTo>
                    <a:pt x="667842" y="1330859"/>
                  </a:lnTo>
                  <a:lnTo>
                    <a:pt x="679565" y="1335544"/>
                  </a:lnTo>
                  <a:lnTo>
                    <a:pt x="669046" y="1352658"/>
                  </a:lnTo>
                  <a:lnTo>
                    <a:pt x="646667" y="1357396"/>
                  </a:lnTo>
                  <a:lnTo>
                    <a:pt x="623725" y="1386886"/>
                  </a:lnTo>
                  <a:lnTo>
                    <a:pt x="644706" y="1413731"/>
                  </a:lnTo>
                  <a:lnTo>
                    <a:pt x="642434" y="1432633"/>
                  </a:lnTo>
                  <a:lnTo>
                    <a:pt x="667637" y="1465393"/>
                  </a:lnTo>
                  <a:lnTo>
                    <a:pt x="653854" y="1476522"/>
                  </a:lnTo>
                  <a:lnTo>
                    <a:pt x="649893" y="1483526"/>
                  </a:lnTo>
                  <a:lnTo>
                    <a:pt x="639682" y="1481647"/>
                  </a:lnTo>
                  <a:lnTo>
                    <a:pt x="623819" y="1464888"/>
                  </a:lnTo>
                  <a:lnTo>
                    <a:pt x="617330" y="1463960"/>
                  </a:lnTo>
                  <a:lnTo>
                    <a:pt x="602821" y="1457538"/>
                  </a:lnTo>
                  <a:lnTo>
                    <a:pt x="595755" y="1446135"/>
                  </a:lnTo>
                  <a:lnTo>
                    <a:pt x="574227" y="1440304"/>
                  </a:lnTo>
                  <a:lnTo>
                    <a:pt x="560229" y="1444682"/>
                  </a:lnTo>
                  <a:lnTo>
                    <a:pt x="556185" y="1439499"/>
                  </a:lnTo>
                  <a:lnTo>
                    <a:pt x="524756" y="1426089"/>
                  </a:lnTo>
                  <a:lnTo>
                    <a:pt x="490773" y="1421547"/>
                  </a:lnTo>
                  <a:lnTo>
                    <a:pt x="471263" y="1416743"/>
                  </a:lnTo>
                  <a:lnTo>
                    <a:pt x="468448" y="1420063"/>
                  </a:lnTo>
                  <a:lnTo>
                    <a:pt x="439017" y="1396227"/>
                  </a:lnTo>
                  <a:lnTo>
                    <a:pt x="412683" y="1385522"/>
                  </a:lnTo>
                  <a:lnTo>
                    <a:pt x="392747" y="1368768"/>
                  </a:lnTo>
                  <a:lnTo>
                    <a:pt x="409545" y="1364193"/>
                  </a:lnTo>
                  <a:lnTo>
                    <a:pt x="428698" y="1340128"/>
                  </a:lnTo>
                  <a:lnTo>
                    <a:pt x="415790" y="1328668"/>
                  </a:lnTo>
                  <a:lnTo>
                    <a:pt x="449812" y="1316796"/>
                  </a:lnTo>
                  <a:lnTo>
                    <a:pt x="449202" y="1310417"/>
                  </a:lnTo>
                  <a:lnTo>
                    <a:pt x="428481" y="1315122"/>
                  </a:lnTo>
                  <a:lnTo>
                    <a:pt x="429210" y="1302134"/>
                  </a:lnTo>
                  <a:lnTo>
                    <a:pt x="441108" y="1293939"/>
                  </a:lnTo>
                  <a:lnTo>
                    <a:pt x="463445" y="1291782"/>
                  </a:lnTo>
                  <a:lnTo>
                    <a:pt x="467077" y="1281953"/>
                  </a:lnTo>
                  <a:lnTo>
                    <a:pt x="461976" y="1265620"/>
                  </a:lnTo>
                  <a:lnTo>
                    <a:pt x="471351" y="1250015"/>
                  </a:lnTo>
                  <a:lnTo>
                    <a:pt x="471080" y="1241224"/>
                  </a:lnTo>
                  <a:lnTo>
                    <a:pt x="437055" y="1231445"/>
                  </a:lnTo>
                  <a:lnTo>
                    <a:pt x="423567" y="1231771"/>
                  </a:lnTo>
                  <a:lnTo>
                    <a:pt x="409321" y="1217635"/>
                  </a:lnTo>
                  <a:lnTo>
                    <a:pt x="391609" y="1222424"/>
                  </a:lnTo>
                  <a:lnTo>
                    <a:pt x="362293" y="1211779"/>
                  </a:lnTo>
                  <a:lnTo>
                    <a:pt x="362796" y="1205803"/>
                  </a:lnTo>
                  <a:lnTo>
                    <a:pt x="354585" y="1192582"/>
                  </a:lnTo>
                  <a:lnTo>
                    <a:pt x="336180" y="1191101"/>
                  </a:lnTo>
                  <a:lnTo>
                    <a:pt x="334267" y="1181589"/>
                  </a:lnTo>
                  <a:lnTo>
                    <a:pt x="340033" y="1175364"/>
                  </a:lnTo>
                  <a:lnTo>
                    <a:pt x="325282" y="1157876"/>
                  </a:lnTo>
                  <a:lnTo>
                    <a:pt x="301347" y="1160869"/>
                  </a:lnTo>
                  <a:lnTo>
                    <a:pt x="294337" y="1159313"/>
                  </a:lnTo>
                  <a:lnTo>
                    <a:pt x="288506" y="1166349"/>
                  </a:lnTo>
                  <a:lnTo>
                    <a:pt x="279885" y="1165100"/>
                  </a:lnTo>
                  <a:lnTo>
                    <a:pt x="274208" y="1145229"/>
                  </a:lnTo>
                  <a:lnTo>
                    <a:pt x="268787" y="1134865"/>
                  </a:lnTo>
                  <a:lnTo>
                    <a:pt x="273229" y="1131940"/>
                  </a:lnTo>
                  <a:lnTo>
                    <a:pt x="291854" y="1133027"/>
                  </a:lnTo>
                  <a:lnTo>
                    <a:pt x="300836" y="1126170"/>
                  </a:lnTo>
                  <a:lnTo>
                    <a:pt x="294187" y="1117783"/>
                  </a:lnTo>
                  <a:lnTo>
                    <a:pt x="278622" y="1112232"/>
                  </a:lnTo>
                  <a:lnTo>
                    <a:pt x="280011" y="1106522"/>
                  </a:lnTo>
                  <a:lnTo>
                    <a:pt x="270617" y="1100741"/>
                  </a:lnTo>
                  <a:lnTo>
                    <a:pt x="256146" y="1079876"/>
                  </a:lnTo>
                  <a:lnTo>
                    <a:pt x="261092" y="1071225"/>
                  </a:lnTo>
                  <a:lnTo>
                    <a:pt x="258832" y="1056097"/>
                  </a:lnTo>
                  <a:lnTo>
                    <a:pt x="236266" y="1048374"/>
                  </a:lnTo>
                  <a:lnTo>
                    <a:pt x="224154" y="1052243"/>
                  </a:lnTo>
                  <a:lnTo>
                    <a:pt x="220875" y="1044191"/>
                  </a:lnTo>
                  <a:lnTo>
                    <a:pt x="196573" y="1036027"/>
                  </a:lnTo>
                  <a:lnTo>
                    <a:pt x="189154" y="1016703"/>
                  </a:lnTo>
                  <a:lnTo>
                    <a:pt x="187186" y="1000704"/>
                  </a:lnTo>
                  <a:lnTo>
                    <a:pt x="176064" y="993068"/>
                  </a:lnTo>
                  <a:lnTo>
                    <a:pt x="185955" y="982502"/>
                  </a:lnTo>
                  <a:lnTo>
                    <a:pt x="179110" y="951164"/>
                  </a:lnTo>
                  <a:lnTo>
                    <a:pt x="195534" y="931583"/>
                  </a:lnTo>
                  <a:lnTo>
                    <a:pt x="192059" y="925618"/>
                  </a:lnTo>
                  <a:lnTo>
                    <a:pt x="218294" y="906626"/>
                  </a:lnTo>
                  <a:lnTo>
                    <a:pt x="194110" y="890155"/>
                  </a:lnTo>
                  <a:lnTo>
                    <a:pt x="243533" y="845319"/>
                  </a:lnTo>
                  <a:lnTo>
                    <a:pt x="264974" y="824722"/>
                  </a:lnTo>
                  <a:lnTo>
                    <a:pt x="273655" y="806373"/>
                  </a:lnTo>
                  <a:lnTo>
                    <a:pt x="239488" y="781474"/>
                  </a:lnTo>
                  <a:lnTo>
                    <a:pt x="248924" y="757519"/>
                  </a:lnTo>
                  <a:lnTo>
                    <a:pt x="228144" y="729825"/>
                  </a:lnTo>
                  <a:lnTo>
                    <a:pt x="243683" y="697463"/>
                  </a:lnTo>
                  <a:lnTo>
                    <a:pt x="216837" y="653700"/>
                  </a:lnTo>
                  <a:lnTo>
                    <a:pt x="238139" y="624190"/>
                  </a:lnTo>
                  <a:lnTo>
                    <a:pt x="202788" y="597752"/>
                  </a:lnTo>
                  <a:lnTo>
                    <a:pt x="206158" y="569594"/>
                  </a:lnTo>
                  <a:lnTo>
                    <a:pt x="224800" y="565859"/>
                  </a:lnTo>
                  <a:lnTo>
                    <a:pt x="264076" y="549515"/>
                  </a:lnTo>
                  <a:lnTo>
                    <a:pt x="287889" y="535236"/>
                  </a:lnTo>
                  <a:lnTo>
                    <a:pt x="325808" y="559988"/>
                  </a:lnTo>
                  <a:lnTo>
                    <a:pt x="389020" y="569649"/>
                  </a:lnTo>
                  <a:lnTo>
                    <a:pt x="476234" y="614940"/>
                  </a:lnTo>
                  <a:lnTo>
                    <a:pt x="493951" y="633675"/>
                  </a:lnTo>
                  <a:lnTo>
                    <a:pt x="495476" y="659625"/>
                  </a:lnTo>
                  <a:lnTo>
                    <a:pt x="469852" y="679882"/>
                  </a:lnTo>
                  <a:lnTo>
                    <a:pt x="432161" y="690087"/>
                  </a:lnTo>
                  <a:lnTo>
                    <a:pt x="329114" y="660863"/>
                  </a:lnTo>
                  <a:lnTo>
                    <a:pt x="312165" y="665778"/>
                  </a:lnTo>
                  <a:lnTo>
                    <a:pt x="349798" y="693878"/>
                  </a:lnTo>
                  <a:lnTo>
                    <a:pt x="351270" y="711483"/>
                  </a:lnTo>
                  <a:lnTo>
                    <a:pt x="352778" y="749745"/>
                  </a:lnTo>
                  <a:lnTo>
                    <a:pt x="382494" y="761029"/>
                  </a:lnTo>
                  <a:lnTo>
                    <a:pt x="400532" y="770589"/>
                  </a:lnTo>
                  <a:lnTo>
                    <a:pt x="403516" y="752698"/>
                  </a:lnTo>
                  <a:lnTo>
                    <a:pt x="389611" y="736714"/>
                  </a:lnTo>
                  <a:lnTo>
                    <a:pt x="404302" y="722525"/>
                  </a:lnTo>
                  <a:lnTo>
                    <a:pt x="460102" y="745792"/>
                  </a:lnTo>
                  <a:lnTo>
                    <a:pt x="479541" y="736714"/>
                  </a:lnTo>
                  <a:lnTo>
                    <a:pt x="464006" y="709192"/>
                  </a:lnTo>
                  <a:lnTo>
                    <a:pt x="517800" y="671807"/>
                  </a:lnTo>
                  <a:lnTo>
                    <a:pt x="539105" y="674026"/>
                  </a:lnTo>
                  <a:lnTo>
                    <a:pt x="560657" y="687430"/>
                  </a:lnTo>
                  <a:lnTo>
                    <a:pt x="574103" y="660990"/>
                  </a:lnTo>
                  <a:lnTo>
                    <a:pt x="554855" y="637778"/>
                  </a:lnTo>
                  <a:lnTo>
                    <a:pt x="566156" y="614223"/>
                  </a:lnTo>
                  <a:lnTo>
                    <a:pt x="549187" y="589501"/>
                  </a:lnTo>
                  <a:lnTo>
                    <a:pt x="613753" y="602324"/>
                  </a:lnTo>
                  <a:lnTo>
                    <a:pt x="626941" y="624518"/>
                  </a:lnTo>
                  <a:lnTo>
                    <a:pt x="597715" y="629378"/>
                  </a:lnTo>
                  <a:lnTo>
                    <a:pt x="597873" y="651143"/>
                  </a:lnTo>
                  <a:lnTo>
                    <a:pt x="616042" y="664420"/>
                  </a:lnTo>
                  <a:lnTo>
                    <a:pt x="651705" y="656020"/>
                  </a:lnTo>
                  <a:lnTo>
                    <a:pt x="657351" y="631113"/>
                  </a:lnTo>
                  <a:lnTo>
                    <a:pt x="705568" y="612314"/>
                  </a:lnTo>
                  <a:lnTo>
                    <a:pt x="786121" y="577976"/>
                  </a:lnTo>
                  <a:lnTo>
                    <a:pt x="803532" y="579960"/>
                  </a:lnTo>
                  <a:lnTo>
                    <a:pt x="780776" y="604264"/>
                  </a:lnTo>
                  <a:lnTo>
                    <a:pt x="809408" y="608411"/>
                  </a:lnTo>
                  <a:lnTo>
                    <a:pt x="825945" y="594793"/>
                  </a:lnTo>
                  <a:lnTo>
                    <a:pt x="869210" y="593688"/>
                  </a:lnTo>
                  <a:lnTo>
                    <a:pt x="903487" y="577030"/>
                  </a:lnTo>
                  <a:lnTo>
                    <a:pt x="929788" y="601191"/>
                  </a:lnTo>
                  <a:lnTo>
                    <a:pt x="956019" y="574613"/>
                  </a:lnTo>
                  <a:lnTo>
                    <a:pt x="931833" y="551074"/>
                  </a:lnTo>
                  <a:lnTo>
                    <a:pt x="943835" y="537540"/>
                  </a:lnTo>
                  <a:lnTo>
                    <a:pt x="1012022" y="549954"/>
                  </a:lnTo>
                  <a:lnTo>
                    <a:pt x="1043971" y="562696"/>
                  </a:lnTo>
                  <a:lnTo>
                    <a:pt x="1127623" y="608597"/>
                  </a:lnTo>
                  <a:lnTo>
                    <a:pt x="1143055" y="587702"/>
                  </a:lnTo>
                  <a:lnTo>
                    <a:pt x="1119597" y="566369"/>
                  </a:lnTo>
                  <a:lnTo>
                    <a:pt x="1118923" y="557746"/>
                  </a:lnTo>
                  <a:lnTo>
                    <a:pt x="1091105" y="553744"/>
                  </a:lnTo>
                  <a:lnTo>
                    <a:pt x="1098715" y="534297"/>
                  </a:lnTo>
                  <a:lnTo>
                    <a:pt x="1086369" y="501878"/>
                  </a:lnTo>
                  <a:lnTo>
                    <a:pt x="1085671" y="488423"/>
                  </a:lnTo>
                  <a:lnTo>
                    <a:pt x="1128267" y="449851"/>
                  </a:lnTo>
                  <a:lnTo>
                    <a:pt x="1143417" y="410359"/>
                  </a:lnTo>
                  <a:lnTo>
                    <a:pt x="1160582" y="401708"/>
                  </a:lnTo>
                  <a:lnTo>
                    <a:pt x="1221694" y="413300"/>
                  </a:lnTo>
                  <a:lnTo>
                    <a:pt x="1226506" y="437528"/>
                  </a:lnTo>
                  <a:lnTo>
                    <a:pt x="1204626" y="472328"/>
                  </a:lnTo>
                  <a:lnTo>
                    <a:pt x="1218984" y="485839"/>
                  </a:lnTo>
                  <a:lnTo>
                    <a:pt x="1226411" y="515146"/>
                  </a:lnTo>
                  <a:lnTo>
                    <a:pt x="1221167" y="571373"/>
                  </a:lnTo>
                  <a:lnTo>
                    <a:pt x="1246631" y="596023"/>
                  </a:lnTo>
                  <a:lnTo>
                    <a:pt x="1236724" y="622529"/>
                  </a:lnTo>
                  <a:lnTo>
                    <a:pt x="1191512" y="677816"/>
                  </a:lnTo>
                  <a:lnTo>
                    <a:pt x="1217896" y="683466"/>
                  </a:lnTo>
                  <a:lnTo>
                    <a:pt x="1227078" y="669632"/>
                  </a:lnTo>
                  <a:lnTo>
                    <a:pt x="1252474" y="659707"/>
                  </a:lnTo>
                  <a:lnTo>
                    <a:pt x="1258603" y="640446"/>
                  </a:lnTo>
                  <a:lnTo>
                    <a:pt x="1278580" y="621738"/>
                  </a:lnTo>
                  <a:lnTo>
                    <a:pt x="1265129" y="599174"/>
                  </a:lnTo>
                  <a:lnTo>
                    <a:pt x="1275899" y="572654"/>
                  </a:lnTo>
                  <a:lnTo>
                    <a:pt x="1250659" y="569324"/>
                  </a:lnTo>
                  <a:lnTo>
                    <a:pt x="1245108" y="546669"/>
                  </a:lnTo>
                  <a:lnTo>
                    <a:pt x="1263526" y="505107"/>
                  </a:lnTo>
                  <a:lnTo>
                    <a:pt x="1233548" y="470703"/>
                  </a:lnTo>
                  <a:lnTo>
                    <a:pt x="1274860" y="441804"/>
                  </a:lnTo>
                  <a:lnTo>
                    <a:pt x="1269515" y="410845"/>
                  </a:lnTo>
                  <a:lnTo>
                    <a:pt x="1281028" y="409849"/>
                  </a:lnTo>
                  <a:lnTo>
                    <a:pt x="1293157" y="434041"/>
                  </a:lnTo>
                  <a:lnTo>
                    <a:pt x="1284051" y="475448"/>
                  </a:lnTo>
                  <a:lnTo>
                    <a:pt x="1308752" y="483190"/>
                  </a:lnTo>
                  <a:lnTo>
                    <a:pt x="1298227" y="452452"/>
                  </a:lnTo>
                  <a:lnTo>
                    <a:pt x="1336856" y="435488"/>
                  </a:lnTo>
                  <a:lnTo>
                    <a:pt x="1384761" y="433193"/>
                  </a:lnTo>
                  <a:lnTo>
                    <a:pt x="1427418" y="457772"/>
                  </a:lnTo>
                  <a:lnTo>
                    <a:pt x="1406890" y="421761"/>
                  </a:lnTo>
                  <a:lnTo>
                    <a:pt x="1404591" y="374703"/>
                  </a:lnTo>
                  <a:lnTo>
                    <a:pt x="1444730" y="365660"/>
                  </a:lnTo>
                  <a:lnTo>
                    <a:pt x="1500249" y="367639"/>
                  </a:lnTo>
                  <a:lnTo>
                    <a:pt x="1550271" y="361752"/>
                  </a:lnTo>
                  <a:lnTo>
                    <a:pt x="1531510" y="338075"/>
                  </a:lnTo>
                  <a:lnTo>
                    <a:pt x="1558223" y="307909"/>
                  </a:lnTo>
                  <a:lnTo>
                    <a:pt x="1584742" y="306636"/>
                  </a:lnTo>
                  <a:lnTo>
                    <a:pt x="1629622" y="283515"/>
                  </a:lnTo>
                  <a:lnTo>
                    <a:pt x="1690573" y="277252"/>
                  </a:lnTo>
                  <a:lnTo>
                    <a:pt x="1698275" y="264323"/>
                  </a:lnTo>
                  <a:lnTo>
                    <a:pt x="1758885" y="259922"/>
                  </a:lnTo>
                  <a:lnTo>
                    <a:pt x="1777771" y="270552"/>
                  </a:lnTo>
                  <a:lnTo>
                    <a:pt x="1829577" y="245294"/>
                  </a:lnTo>
                  <a:lnTo>
                    <a:pt x="1871983" y="246089"/>
                  </a:lnTo>
                  <a:lnTo>
                    <a:pt x="1878345" y="225332"/>
                  </a:lnTo>
                  <a:lnTo>
                    <a:pt x="1900401" y="204634"/>
                  </a:lnTo>
                  <a:close/>
                  <a:moveTo>
                    <a:pt x="1902605" y="101148"/>
                  </a:moveTo>
                  <a:lnTo>
                    <a:pt x="1919952" y="104512"/>
                  </a:lnTo>
                  <a:lnTo>
                    <a:pt x="1978457" y="133586"/>
                  </a:lnTo>
                  <a:lnTo>
                    <a:pt x="1971603" y="154117"/>
                  </a:lnTo>
                  <a:lnTo>
                    <a:pt x="1841478" y="173402"/>
                  </a:lnTo>
                  <a:lnTo>
                    <a:pt x="1883645" y="106950"/>
                  </a:lnTo>
                  <a:close/>
                  <a:moveTo>
                    <a:pt x="701231" y="18017"/>
                  </a:moveTo>
                  <a:lnTo>
                    <a:pt x="735467" y="29832"/>
                  </a:lnTo>
                  <a:lnTo>
                    <a:pt x="726539" y="38005"/>
                  </a:lnTo>
                  <a:lnTo>
                    <a:pt x="695551" y="45045"/>
                  </a:lnTo>
                  <a:lnTo>
                    <a:pt x="674793" y="49083"/>
                  </a:lnTo>
                  <a:lnTo>
                    <a:pt x="671574" y="57788"/>
                  </a:lnTo>
                  <a:lnTo>
                    <a:pt x="644594" y="66515"/>
                  </a:lnTo>
                  <a:lnTo>
                    <a:pt x="619589" y="53986"/>
                  </a:lnTo>
                  <a:lnTo>
                    <a:pt x="632738" y="37355"/>
                  </a:lnTo>
                  <a:lnTo>
                    <a:pt x="581367" y="35728"/>
                  </a:lnTo>
                  <a:lnTo>
                    <a:pt x="626429" y="25948"/>
                  </a:lnTo>
                  <a:lnTo>
                    <a:pt x="661499" y="25297"/>
                  </a:lnTo>
                  <a:lnTo>
                    <a:pt x="666216" y="39754"/>
                  </a:lnTo>
                  <a:lnTo>
                    <a:pt x="679474" y="26914"/>
                  </a:lnTo>
                  <a:close/>
                  <a:moveTo>
                    <a:pt x="1760752" y="0"/>
                  </a:moveTo>
                  <a:lnTo>
                    <a:pt x="1805601" y="27291"/>
                  </a:lnTo>
                  <a:lnTo>
                    <a:pt x="1858755" y="78592"/>
                  </a:lnTo>
                  <a:lnTo>
                    <a:pt x="1853057" y="125054"/>
                  </a:lnTo>
                  <a:lnTo>
                    <a:pt x="1802695" y="131408"/>
                  </a:lnTo>
                  <a:lnTo>
                    <a:pt x="1738401" y="116676"/>
                  </a:lnTo>
                  <a:lnTo>
                    <a:pt x="1700091" y="97004"/>
                  </a:lnTo>
                  <a:lnTo>
                    <a:pt x="1682375" y="59464"/>
                  </a:lnTo>
                  <a:lnTo>
                    <a:pt x="1650882" y="48982"/>
                  </a:lnTo>
                  <a:lnTo>
                    <a:pt x="1710819" y="122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3" name="Freeform 137">
              <a:extLst>
                <a:ext uri="{FF2B5EF4-FFF2-40B4-BE49-F238E27FC236}">
                  <a16:creationId xmlns:a16="http://schemas.microsoft.com/office/drawing/2014/main" id="{01E53860-7C73-428F-B273-B18995DCAD0C}"/>
                </a:ext>
              </a:extLst>
            </p:cNvPr>
            <p:cNvSpPr>
              <a:spLocks noChangeAspect="1"/>
            </p:cNvSpPr>
            <p:nvPr>
              <p:custDataLst>
                <p:tags r:id="rId145"/>
              </p:custDataLst>
            </p:nvPr>
          </p:nvSpPr>
          <p:spPr>
            <a:xfrm>
              <a:off x="5030660" y="4554163"/>
              <a:ext cx="41347" cy="41179"/>
            </a:xfrm>
            <a:custGeom>
              <a:avLst/>
              <a:gdLst/>
              <a:ahLst/>
              <a:cxnLst/>
              <a:rect l="0" t="0" r="0" b="0"/>
              <a:pathLst>
                <a:path w="41347" h="41179">
                  <a:moveTo>
                    <a:pt x="32181" y="0"/>
                  </a:moveTo>
                  <a:lnTo>
                    <a:pt x="41346" y="13027"/>
                  </a:lnTo>
                  <a:lnTo>
                    <a:pt x="40011" y="26612"/>
                  </a:lnTo>
                  <a:lnTo>
                    <a:pt x="33349" y="29536"/>
                  </a:lnTo>
                  <a:lnTo>
                    <a:pt x="21084" y="28027"/>
                  </a:lnTo>
                  <a:lnTo>
                    <a:pt x="14016" y="41178"/>
                  </a:lnTo>
                  <a:lnTo>
                    <a:pt x="0" y="39362"/>
                  </a:lnTo>
                  <a:lnTo>
                    <a:pt x="2136" y="26727"/>
                  </a:lnTo>
                  <a:lnTo>
                    <a:pt x="5306" y="24946"/>
                  </a:lnTo>
                  <a:lnTo>
                    <a:pt x="6162" y="11206"/>
                  </a:lnTo>
                  <a:lnTo>
                    <a:pt x="12800" y="4770"/>
                  </a:lnTo>
                  <a:lnTo>
                    <a:pt x="18387" y="712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4" name="Freeform 138">
              <a:extLst>
                <a:ext uri="{FF2B5EF4-FFF2-40B4-BE49-F238E27FC236}">
                  <a16:creationId xmlns:a16="http://schemas.microsoft.com/office/drawing/2014/main" id="{CA352C95-1A34-42B2-8D93-920AC9B73B68}"/>
                </a:ext>
              </a:extLst>
            </p:cNvPr>
            <p:cNvSpPr>
              <a:spLocks noChangeAspect="1"/>
            </p:cNvSpPr>
            <p:nvPr>
              <p:custDataLst>
                <p:tags r:id="rId146"/>
              </p:custDataLst>
            </p:nvPr>
          </p:nvSpPr>
          <p:spPr>
            <a:xfrm>
              <a:off x="3966817" y="3873102"/>
              <a:ext cx="193856" cy="163040"/>
            </a:xfrm>
            <a:custGeom>
              <a:avLst/>
              <a:gdLst/>
              <a:ahLst/>
              <a:cxnLst/>
              <a:rect l="0" t="0" r="0" b="0"/>
              <a:pathLst>
                <a:path w="193856" h="163040">
                  <a:moveTo>
                    <a:pt x="190860" y="13329"/>
                  </a:moveTo>
                  <a:lnTo>
                    <a:pt x="190330" y="0"/>
                  </a:lnTo>
                  <a:lnTo>
                    <a:pt x="193845" y="0"/>
                  </a:lnTo>
                  <a:lnTo>
                    <a:pt x="193855" y="1668"/>
                  </a:lnTo>
                  <a:lnTo>
                    <a:pt x="193410" y="6491"/>
                  </a:lnTo>
                  <a:lnTo>
                    <a:pt x="193343" y="44021"/>
                  </a:lnTo>
                  <a:lnTo>
                    <a:pt x="117583" y="42730"/>
                  </a:lnTo>
                  <a:lnTo>
                    <a:pt x="118326" y="105478"/>
                  </a:lnTo>
                  <a:lnTo>
                    <a:pt x="96698" y="107665"/>
                  </a:lnTo>
                  <a:lnTo>
                    <a:pt x="91054" y="120162"/>
                  </a:lnTo>
                  <a:lnTo>
                    <a:pt x="95431" y="155142"/>
                  </a:lnTo>
                  <a:lnTo>
                    <a:pt x="5037" y="154991"/>
                  </a:lnTo>
                  <a:lnTo>
                    <a:pt x="0" y="163039"/>
                  </a:lnTo>
                  <a:lnTo>
                    <a:pt x="992" y="152841"/>
                  </a:lnTo>
                  <a:lnTo>
                    <a:pt x="1395" y="152880"/>
                  </a:lnTo>
                  <a:lnTo>
                    <a:pt x="53378" y="150950"/>
                  </a:lnTo>
                  <a:lnTo>
                    <a:pt x="56151" y="142236"/>
                  </a:lnTo>
                  <a:lnTo>
                    <a:pt x="65607" y="131354"/>
                  </a:lnTo>
                  <a:lnTo>
                    <a:pt x="73226" y="97762"/>
                  </a:lnTo>
                  <a:lnTo>
                    <a:pt x="105314" y="71356"/>
                  </a:lnTo>
                  <a:lnTo>
                    <a:pt x="116168" y="40323"/>
                  </a:lnTo>
                  <a:lnTo>
                    <a:pt x="123381" y="38514"/>
                  </a:lnTo>
                  <a:lnTo>
                    <a:pt x="130899" y="19220"/>
                  </a:lnTo>
                  <a:lnTo>
                    <a:pt x="150318" y="16555"/>
                  </a:lnTo>
                  <a:lnTo>
                    <a:pt x="158670" y="19777"/>
                  </a:lnTo>
                  <a:lnTo>
                    <a:pt x="169152" y="19777"/>
                  </a:lnTo>
                  <a:lnTo>
                    <a:pt x="176591" y="1413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5" name="Freeform 139">
              <a:extLst>
                <a:ext uri="{FF2B5EF4-FFF2-40B4-BE49-F238E27FC236}">
                  <a16:creationId xmlns:a16="http://schemas.microsoft.com/office/drawing/2014/main" id="{508162EB-935A-40AB-A467-6B05DF973A5E}"/>
                </a:ext>
              </a:extLst>
            </p:cNvPr>
            <p:cNvSpPr>
              <a:spLocks noChangeAspect="1"/>
            </p:cNvSpPr>
            <p:nvPr>
              <p:custDataLst>
                <p:tags r:id="rId147"/>
              </p:custDataLst>
            </p:nvPr>
          </p:nvSpPr>
          <p:spPr>
            <a:xfrm>
              <a:off x="5160094" y="3759323"/>
              <a:ext cx="485529" cy="387975"/>
            </a:xfrm>
            <a:custGeom>
              <a:avLst/>
              <a:gdLst/>
              <a:ahLst/>
              <a:cxnLst/>
              <a:rect l="0" t="0" r="0" b="0"/>
              <a:pathLst>
                <a:path w="485529" h="387975">
                  <a:moveTo>
                    <a:pt x="188054" y="387974"/>
                  </a:moveTo>
                  <a:lnTo>
                    <a:pt x="185059" y="377855"/>
                  </a:lnTo>
                  <a:lnTo>
                    <a:pt x="178097" y="370704"/>
                  </a:lnTo>
                  <a:lnTo>
                    <a:pt x="176318" y="361222"/>
                  </a:lnTo>
                  <a:lnTo>
                    <a:pt x="164395" y="352693"/>
                  </a:lnTo>
                  <a:lnTo>
                    <a:pt x="152093" y="332690"/>
                  </a:lnTo>
                  <a:lnTo>
                    <a:pt x="145582" y="313193"/>
                  </a:lnTo>
                  <a:lnTo>
                    <a:pt x="129616" y="296679"/>
                  </a:lnTo>
                  <a:lnTo>
                    <a:pt x="119322" y="292732"/>
                  </a:lnTo>
                  <a:lnTo>
                    <a:pt x="104035" y="269770"/>
                  </a:lnTo>
                  <a:lnTo>
                    <a:pt x="101364" y="252967"/>
                  </a:lnTo>
                  <a:lnTo>
                    <a:pt x="102348" y="238593"/>
                  </a:lnTo>
                  <a:lnTo>
                    <a:pt x="89108" y="211604"/>
                  </a:lnTo>
                  <a:lnTo>
                    <a:pt x="78285" y="202070"/>
                  </a:lnTo>
                  <a:lnTo>
                    <a:pt x="65815" y="197011"/>
                  </a:lnTo>
                  <a:lnTo>
                    <a:pt x="58225" y="182967"/>
                  </a:lnTo>
                  <a:lnTo>
                    <a:pt x="59487" y="177415"/>
                  </a:lnTo>
                  <a:lnTo>
                    <a:pt x="53073" y="164658"/>
                  </a:lnTo>
                  <a:lnTo>
                    <a:pt x="46332" y="159153"/>
                  </a:lnTo>
                  <a:lnTo>
                    <a:pt x="37320" y="140765"/>
                  </a:lnTo>
                  <a:lnTo>
                    <a:pt x="23263" y="120748"/>
                  </a:lnTo>
                  <a:lnTo>
                    <a:pt x="11491" y="103628"/>
                  </a:lnTo>
                  <a:lnTo>
                    <a:pt x="0" y="103748"/>
                  </a:lnTo>
                  <a:lnTo>
                    <a:pt x="3587" y="90018"/>
                  </a:lnTo>
                  <a:lnTo>
                    <a:pt x="4613" y="81238"/>
                  </a:lnTo>
                  <a:lnTo>
                    <a:pt x="7471" y="71206"/>
                  </a:lnTo>
                  <a:lnTo>
                    <a:pt x="33160" y="75208"/>
                  </a:lnTo>
                  <a:lnTo>
                    <a:pt x="43138" y="67462"/>
                  </a:lnTo>
                  <a:lnTo>
                    <a:pt x="48662" y="58383"/>
                  </a:lnTo>
                  <a:lnTo>
                    <a:pt x="66275" y="54885"/>
                  </a:lnTo>
                  <a:lnTo>
                    <a:pt x="70074" y="46414"/>
                  </a:lnTo>
                  <a:lnTo>
                    <a:pt x="77708" y="42112"/>
                  </a:lnTo>
                  <a:lnTo>
                    <a:pt x="54702" y="16685"/>
                  </a:lnTo>
                  <a:lnTo>
                    <a:pt x="100930" y="3862"/>
                  </a:lnTo>
                  <a:lnTo>
                    <a:pt x="105329" y="0"/>
                  </a:lnTo>
                  <a:lnTo>
                    <a:pt x="133133" y="6938"/>
                  </a:lnTo>
                  <a:lnTo>
                    <a:pt x="167525" y="24800"/>
                  </a:lnTo>
                  <a:lnTo>
                    <a:pt x="232607" y="75675"/>
                  </a:lnTo>
                  <a:lnTo>
                    <a:pt x="275523" y="77683"/>
                  </a:lnTo>
                  <a:lnTo>
                    <a:pt x="296092" y="80107"/>
                  </a:lnTo>
                  <a:lnTo>
                    <a:pt x="301840" y="92056"/>
                  </a:lnTo>
                  <a:lnTo>
                    <a:pt x="318165" y="91406"/>
                  </a:lnTo>
                  <a:lnTo>
                    <a:pt x="327202" y="112952"/>
                  </a:lnTo>
                  <a:lnTo>
                    <a:pt x="338558" y="118641"/>
                  </a:lnTo>
                  <a:lnTo>
                    <a:pt x="342514" y="127374"/>
                  </a:lnTo>
                  <a:lnTo>
                    <a:pt x="358245" y="137803"/>
                  </a:lnTo>
                  <a:lnTo>
                    <a:pt x="359642" y="148019"/>
                  </a:lnTo>
                  <a:lnTo>
                    <a:pt x="357342" y="156247"/>
                  </a:lnTo>
                  <a:lnTo>
                    <a:pt x="360263" y="164532"/>
                  </a:lnTo>
                  <a:lnTo>
                    <a:pt x="366900" y="171432"/>
                  </a:lnTo>
                  <a:lnTo>
                    <a:pt x="369974" y="179494"/>
                  </a:lnTo>
                  <a:lnTo>
                    <a:pt x="373426" y="185513"/>
                  </a:lnTo>
                  <a:lnTo>
                    <a:pt x="380404" y="190378"/>
                  </a:lnTo>
                  <a:lnTo>
                    <a:pt x="386802" y="188636"/>
                  </a:lnTo>
                  <a:lnTo>
                    <a:pt x="391186" y="197990"/>
                  </a:lnTo>
                  <a:lnTo>
                    <a:pt x="392067" y="203647"/>
                  </a:lnTo>
                  <a:lnTo>
                    <a:pt x="400908" y="228350"/>
                  </a:lnTo>
                  <a:lnTo>
                    <a:pt x="470297" y="240601"/>
                  </a:lnTo>
                  <a:lnTo>
                    <a:pt x="474949" y="235468"/>
                  </a:lnTo>
                  <a:lnTo>
                    <a:pt x="485528" y="252649"/>
                  </a:lnTo>
                  <a:lnTo>
                    <a:pt x="470139" y="300875"/>
                  </a:lnTo>
                  <a:lnTo>
                    <a:pt x="400892" y="324840"/>
                  </a:lnTo>
                  <a:lnTo>
                    <a:pt x="334337" y="334002"/>
                  </a:lnTo>
                  <a:lnTo>
                    <a:pt x="312793" y="344742"/>
                  </a:lnTo>
                  <a:lnTo>
                    <a:pt x="296251" y="369733"/>
                  </a:lnTo>
                  <a:lnTo>
                    <a:pt x="285478" y="373692"/>
                  </a:lnTo>
                  <a:lnTo>
                    <a:pt x="279707" y="365772"/>
                  </a:lnTo>
                  <a:lnTo>
                    <a:pt x="270859" y="366962"/>
                  </a:lnTo>
                  <a:lnTo>
                    <a:pt x="248546" y="364584"/>
                  </a:lnTo>
                  <a:lnTo>
                    <a:pt x="244314" y="362206"/>
                  </a:lnTo>
                  <a:lnTo>
                    <a:pt x="217675" y="362752"/>
                  </a:lnTo>
                  <a:lnTo>
                    <a:pt x="211418" y="364901"/>
                  </a:lnTo>
                  <a:lnTo>
                    <a:pt x="201937" y="358717"/>
                  </a:lnTo>
                  <a:lnTo>
                    <a:pt x="195821" y="370404"/>
                  </a:lnTo>
                  <a:lnTo>
                    <a:pt x="198188" y="38041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6" name="Freeform 140">
              <a:extLst>
                <a:ext uri="{FF2B5EF4-FFF2-40B4-BE49-F238E27FC236}">
                  <a16:creationId xmlns:a16="http://schemas.microsoft.com/office/drawing/2014/main" id="{CDD6E3FE-6BC8-45B3-BB8D-F99710F0633F}"/>
                </a:ext>
              </a:extLst>
            </p:cNvPr>
            <p:cNvSpPr>
              <a:spLocks noChangeAspect="1"/>
            </p:cNvSpPr>
            <p:nvPr>
              <p:custDataLst>
                <p:tags r:id="rId148"/>
              </p:custDataLst>
            </p:nvPr>
          </p:nvSpPr>
          <p:spPr>
            <a:xfrm>
              <a:off x="4867047" y="4011972"/>
              <a:ext cx="380248" cy="316551"/>
            </a:xfrm>
            <a:custGeom>
              <a:avLst/>
              <a:gdLst/>
              <a:ahLst/>
              <a:cxnLst/>
              <a:rect l="0" t="0" r="0" b="0"/>
              <a:pathLst>
                <a:path w="380248" h="316551">
                  <a:moveTo>
                    <a:pt x="277606" y="296899"/>
                  </a:moveTo>
                  <a:lnTo>
                    <a:pt x="274410" y="296438"/>
                  </a:lnTo>
                  <a:lnTo>
                    <a:pt x="274807" y="284840"/>
                  </a:lnTo>
                  <a:lnTo>
                    <a:pt x="272032" y="276834"/>
                  </a:lnTo>
                  <a:lnTo>
                    <a:pt x="260144" y="267621"/>
                  </a:lnTo>
                  <a:lnTo>
                    <a:pt x="257370" y="250776"/>
                  </a:lnTo>
                  <a:lnTo>
                    <a:pt x="260144" y="233502"/>
                  </a:lnTo>
                  <a:lnTo>
                    <a:pt x="249445" y="231894"/>
                  </a:lnTo>
                  <a:lnTo>
                    <a:pt x="247860" y="237120"/>
                  </a:lnTo>
                  <a:lnTo>
                    <a:pt x="233991" y="238326"/>
                  </a:lnTo>
                  <a:lnTo>
                    <a:pt x="239539" y="245155"/>
                  </a:lnTo>
                  <a:lnTo>
                    <a:pt x="241520" y="259201"/>
                  </a:lnTo>
                  <a:lnTo>
                    <a:pt x="228839" y="272028"/>
                  </a:lnTo>
                  <a:lnTo>
                    <a:pt x="217347" y="288841"/>
                  </a:lnTo>
                  <a:lnTo>
                    <a:pt x="205459" y="291241"/>
                  </a:lnTo>
                  <a:lnTo>
                    <a:pt x="186042" y="277635"/>
                  </a:lnTo>
                  <a:lnTo>
                    <a:pt x="177324" y="282439"/>
                  </a:lnTo>
                  <a:lnTo>
                    <a:pt x="174947" y="289241"/>
                  </a:lnTo>
                  <a:lnTo>
                    <a:pt x="163059" y="293640"/>
                  </a:lnTo>
                  <a:lnTo>
                    <a:pt x="162266" y="298437"/>
                  </a:lnTo>
                  <a:lnTo>
                    <a:pt x="139282" y="298437"/>
                  </a:lnTo>
                  <a:lnTo>
                    <a:pt x="136112" y="293640"/>
                  </a:lnTo>
                  <a:lnTo>
                    <a:pt x="119469" y="292840"/>
                  </a:lnTo>
                  <a:lnTo>
                    <a:pt x="111147" y="296838"/>
                  </a:lnTo>
                  <a:lnTo>
                    <a:pt x="104807" y="294839"/>
                  </a:lnTo>
                  <a:lnTo>
                    <a:pt x="92919" y="281238"/>
                  </a:lnTo>
                  <a:lnTo>
                    <a:pt x="88956" y="274832"/>
                  </a:lnTo>
                  <a:lnTo>
                    <a:pt x="72313" y="278035"/>
                  </a:lnTo>
                  <a:lnTo>
                    <a:pt x="65973" y="288841"/>
                  </a:lnTo>
                  <a:lnTo>
                    <a:pt x="60029" y="309624"/>
                  </a:lnTo>
                  <a:lnTo>
                    <a:pt x="52103" y="314016"/>
                  </a:lnTo>
                  <a:lnTo>
                    <a:pt x="45015" y="316550"/>
                  </a:lnTo>
                  <a:lnTo>
                    <a:pt x="43141" y="315467"/>
                  </a:lnTo>
                  <a:lnTo>
                    <a:pt x="35136" y="308769"/>
                  </a:lnTo>
                  <a:lnTo>
                    <a:pt x="33653" y="301537"/>
                  </a:lnTo>
                  <a:lnTo>
                    <a:pt x="37404" y="291846"/>
                  </a:lnTo>
                  <a:lnTo>
                    <a:pt x="37336" y="282338"/>
                  </a:lnTo>
                  <a:lnTo>
                    <a:pt x="24023" y="267752"/>
                  </a:lnTo>
                  <a:lnTo>
                    <a:pt x="21406" y="257758"/>
                  </a:lnTo>
                  <a:lnTo>
                    <a:pt x="21684" y="252098"/>
                  </a:lnTo>
                  <a:lnTo>
                    <a:pt x="13200" y="245205"/>
                  </a:lnTo>
                  <a:lnTo>
                    <a:pt x="12945" y="231607"/>
                  </a:lnTo>
                  <a:lnTo>
                    <a:pt x="8106" y="222565"/>
                  </a:lnTo>
                  <a:lnTo>
                    <a:pt x="0" y="223922"/>
                  </a:lnTo>
                  <a:lnTo>
                    <a:pt x="2326" y="215308"/>
                  </a:lnTo>
                  <a:lnTo>
                    <a:pt x="8304" y="205521"/>
                  </a:lnTo>
                  <a:lnTo>
                    <a:pt x="5689" y="195786"/>
                  </a:lnTo>
                  <a:lnTo>
                    <a:pt x="13277" y="188570"/>
                  </a:lnTo>
                  <a:lnTo>
                    <a:pt x="8464" y="183069"/>
                  </a:lnTo>
                  <a:lnTo>
                    <a:pt x="14568" y="168514"/>
                  </a:lnTo>
                  <a:lnTo>
                    <a:pt x="25109" y="151118"/>
                  </a:lnTo>
                  <a:lnTo>
                    <a:pt x="45013" y="152771"/>
                  </a:lnTo>
                  <a:lnTo>
                    <a:pt x="43876" y="58291"/>
                  </a:lnTo>
                  <a:lnTo>
                    <a:pt x="44161" y="48225"/>
                  </a:lnTo>
                  <a:lnTo>
                    <a:pt x="70706" y="48152"/>
                  </a:lnTo>
                  <a:lnTo>
                    <a:pt x="70706" y="0"/>
                  </a:lnTo>
                  <a:lnTo>
                    <a:pt x="163499" y="0"/>
                  </a:lnTo>
                  <a:lnTo>
                    <a:pt x="253059" y="0"/>
                  </a:lnTo>
                  <a:lnTo>
                    <a:pt x="344611" y="0"/>
                  </a:lnTo>
                  <a:lnTo>
                    <a:pt x="352055" y="23709"/>
                  </a:lnTo>
                  <a:lnTo>
                    <a:pt x="346992" y="28082"/>
                  </a:lnTo>
                  <a:lnTo>
                    <a:pt x="350346" y="52835"/>
                  </a:lnTo>
                  <a:lnTo>
                    <a:pt x="358819" y="81415"/>
                  </a:lnTo>
                  <a:lnTo>
                    <a:pt x="367613" y="87294"/>
                  </a:lnTo>
                  <a:lnTo>
                    <a:pt x="380247" y="96106"/>
                  </a:lnTo>
                  <a:lnTo>
                    <a:pt x="368565" y="109695"/>
                  </a:lnTo>
                  <a:lnTo>
                    <a:pt x="351564" y="113604"/>
                  </a:lnTo>
                  <a:lnTo>
                    <a:pt x="344295" y="120887"/>
                  </a:lnTo>
                  <a:lnTo>
                    <a:pt x="342018" y="136653"/>
                  </a:lnTo>
                  <a:lnTo>
                    <a:pt x="332077" y="171387"/>
                  </a:lnTo>
                  <a:lnTo>
                    <a:pt x="334530" y="180825"/>
                  </a:lnTo>
                  <a:lnTo>
                    <a:pt x="330853" y="201032"/>
                  </a:lnTo>
                  <a:lnTo>
                    <a:pt x="321468" y="224154"/>
                  </a:lnTo>
                  <a:lnTo>
                    <a:pt x="307546" y="235761"/>
                  </a:lnTo>
                  <a:lnTo>
                    <a:pt x="297647" y="253632"/>
                  </a:lnTo>
                  <a:lnTo>
                    <a:pt x="295327" y="263183"/>
                  </a:lnTo>
                  <a:lnTo>
                    <a:pt x="284393" y="269722"/>
                  </a:lnTo>
                  <a:lnTo>
                    <a:pt x="277565" y="29412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7" name="Freeform 141">
              <a:extLst>
                <a:ext uri="{FF2B5EF4-FFF2-40B4-BE49-F238E27FC236}">
                  <a16:creationId xmlns:a16="http://schemas.microsoft.com/office/drawing/2014/main" id="{BC7E5197-BA44-4207-82BA-778813FEA084}"/>
                </a:ext>
              </a:extLst>
            </p:cNvPr>
            <p:cNvSpPr>
              <a:spLocks noChangeAspect="1"/>
            </p:cNvSpPr>
            <p:nvPr>
              <p:custDataLst>
                <p:tags r:id="rId149"/>
              </p:custDataLst>
            </p:nvPr>
          </p:nvSpPr>
          <p:spPr>
            <a:xfrm>
              <a:off x="4912062" y="4243866"/>
              <a:ext cx="263398" cy="203072"/>
            </a:xfrm>
            <a:custGeom>
              <a:avLst/>
              <a:gdLst/>
              <a:ahLst/>
              <a:cxnLst/>
              <a:rect l="0" t="0" r="0" b="0"/>
              <a:pathLst>
                <a:path w="263398" h="203072">
                  <a:moveTo>
                    <a:pt x="232591" y="65005"/>
                  </a:moveTo>
                  <a:lnTo>
                    <a:pt x="232858" y="83149"/>
                  </a:lnTo>
                  <a:lnTo>
                    <a:pt x="229408" y="90249"/>
                  </a:lnTo>
                  <a:lnTo>
                    <a:pt x="217157" y="90820"/>
                  </a:lnTo>
                  <a:lnTo>
                    <a:pt x="209295" y="104052"/>
                  </a:lnTo>
                  <a:lnTo>
                    <a:pt x="223470" y="105715"/>
                  </a:lnTo>
                  <a:lnTo>
                    <a:pt x="235169" y="117027"/>
                  </a:lnTo>
                  <a:lnTo>
                    <a:pt x="239213" y="126301"/>
                  </a:lnTo>
                  <a:lnTo>
                    <a:pt x="249755" y="131677"/>
                  </a:lnTo>
                  <a:lnTo>
                    <a:pt x="263397" y="156886"/>
                  </a:lnTo>
                  <a:lnTo>
                    <a:pt x="247751" y="172135"/>
                  </a:lnTo>
                  <a:lnTo>
                    <a:pt x="233551" y="185948"/>
                  </a:lnTo>
                  <a:lnTo>
                    <a:pt x="219355" y="196580"/>
                  </a:lnTo>
                  <a:lnTo>
                    <a:pt x="203115" y="196527"/>
                  </a:lnTo>
                  <a:lnTo>
                    <a:pt x="184533" y="201936"/>
                  </a:lnTo>
                  <a:lnTo>
                    <a:pt x="169856" y="196768"/>
                  </a:lnTo>
                  <a:lnTo>
                    <a:pt x="160352" y="203071"/>
                  </a:lnTo>
                  <a:lnTo>
                    <a:pt x="140031" y="187710"/>
                  </a:lnTo>
                  <a:lnTo>
                    <a:pt x="134549" y="177833"/>
                  </a:lnTo>
                  <a:lnTo>
                    <a:pt x="121694" y="182725"/>
                  </a:lnTo>
                  <a:lnTo>
                    <a:pt x="111021" y="181203"/>
                  </a:lnTo>
                  <a:lnTo>
                    <a:pt x="104842" y="185087"/>
                  </a:lnTo>
                  <a:lnTo>
                    <a:pt x="94477" y="182282"/>
                  </a:lnTo>
                  <a:lnTo>
                    <a:pt x="80495" y="163184"/>
                  </a:lnTo>
                  <a:lnTo>
                    <a:pt x="76783" y="155845"/>
                  </a:lnTo>
                  <a:lnTo>
                    <a:pt x="59528" y="146680"/>
                  </a:lnTo>
                  <a:lnTo>
                    <a:pt x="53700" y="132780"/>
                  </a:lnTo>
                  <a:lnTo>
                    <a:pt x="44080" y="122748"/>
                  </a:lnTo>
                  <a:lnTo>
                    <a:pt x="28557" y="110665"/>
                  </a:lnTo>
                  <a:lnTo>
                    <a:pt x="28344" y="103120"/>
                  </a:lnTo>
                  <a:lnTo>
                    <a:pt x="15705" y="93734"/>
                  </a:lnTo>
                  <a:lnTo>
                    <a:pt x="0" y="84656"/>
                  </a:lnTo>
                  <a:lnTo>
                    <a:pt x="7088" y="82122"/>
                  </a:lnTo>
                  <a:lnTo>
                    <a:pt x="15014" y="77730"/>
                  </a:lnTo>
                  <a:lnTo>
                    <a:pt x="20958" y="56947"/>
                  </a:lnTo>
                  <a:lnTo>
                    <a:pt x="27298" y="46141"/>
                  </a:lnTo>
                  <a:lnTo>
                    <a:pt x="43941" y="42938"/>
                  </a:lnTo>
                  <a:lnTo>
                    <a:pt x="47904" y="49344"/>
                  </a:lnTo>
                  <a:lnTo>
                    <a:pt x="59792" y="62945"/>
                  </a:lnTo>
                  <a:lnTo>
                    <a:pt x="66132" y="64944"/>
                  </a:lnTo>
                  <a:lnTo>
                    <a:pt x="74454" y="60946"/>
                  </a:lnTo>
                  <a:lnTo>
                    <a:pt x="91097" y="61746"/>
                  </a:lnTo>
                  <a:lnTo>
                    <a:pt x="94267" y="66543"/>
                  </a:lnTo>
                  <a:lnTo>
                    <a:pt x="117251" y="66543"/>
                  </a:lnTo>
                  <a:lnTo>
                    <a:pt x="118044" y="61746"/>
                  </a:lnTo>
                  <a:lnTo>
                    <a:pt x="129932" y="57347"/>
                  </a:lnTo>
                  <a:lnTo>
                    <a:pt x="132309" y="50545"/>
                  </a:lnTo>
                  <a:lnTo>
                    <a:pt x="141027" y="45741"/>
                  </a:lnTo>
                  <a:lnTo>
                    <a:pt x="160444" y="59347"/>
                  </a:lnTo>
                  <a:lnTo>
                    <a:pt x="172332" y="56947"/>
                  </a:lnTo>
                  <a:lnTo>
                    <a:pt x="183824" y="40134"/>
                  </a:lnTo>
                  <a:lnTo>
                    <a:pt x="196505" y="27307"/>
                  </a:lnTo>
                  <a:lnTo>
                    <a:pt x="194524" y="13261"/>
                  </a:lnTo>
                  <a:lnTo>
                    <a:pt x="188976" y="6432"/>
                  </a:lnTo>
                  <a:lnTo>
                    <a:pt x="202845" y="5226"/>
                  </a:lnTo>
                  <a:lnTo>
                    <a:pt x="204430" y="0"/>
                  </a:lnTo>
                  <a:lnTo>
                    <a:pt x="215129" y="1608"/>
                  </a:lnTo>
                  <a:lnTo>
                    <a:pt x="212355" y="18882"/>
                  </a:lnTo>
                  <a:lnTo>
                    <a:pt x="215129" y="35727"/>
                  </a:lnTo>
                  <a:lnTo>
                    <a:pt x="227017" y="44940"/>
                  </a:lnTo>
                  <a:lnTo>
                    <a:pt x="229792" y="52946"/>
                  </a:lnTo>
                  <a:lnTo>
                    <a:pt x="229395" y="6454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8" name="Freeform 142">
              <a:extLst>
                <a:ext uri="{FF2B5EF4-FFF2-40B4-BE49-F238E27FC236}">
                  <a16:creationId xmlns:a16="http://schemas.microsoft.com/office/drawing/2014/main" id="{C59BBA4A-6EE4-4855-8141-A46EE2A2D09B}"/>
                </a:ext>
              </a:extLst>
            </p:cNvPr>
            <p:cNvSpPr>
              <a:spLocks noChangeAspect="1"/>
            </p:cNvSpPr>
            <p:nvPr>
              <p:custDataLst>
                <p:tags r:id="rId150"/>
              </p:custDataLst>
            </p:nvPr>
          </p:nvSpPr>
          <p:spPr>
            <a:xfrm>
              <a:off x="3953853" y="4141362"/>
              <a:ext cx="142125" cy="100535"/>
            </a:xfrm>
            <a:custGeom>
              <a:avLst/>
              <a:gdLst/>
              <a:ahLst/>
              <a:cxnLst/>
              <a:rect l="0" t="0" r="0" b="0"/>
              <a:pathLst>
                <a:path w="142125" h="100535">
                  <a:moveTo>
                    <a:pt x="21036" y="70899"/>
                  </a:moveTo>
                  <a:lnTo>
                    <a:pt x="11517" y="52580"/>
                  </a:lnTo>
                  <a:lnTo>
                    <a:pt x="0" y="44189"/>
                  </a:lnTo>
                  <a:lnTo>
                    <a:pt x="10154" y="39709"/>
                  </a:lnTo>
                  <a:lnTo>
                    <a:pt x="21337" y="23128"/>
                  </a:lnTo>
                  <a:lnTo>
                    <a:pt x="26821" y="10978"/>
                  </a:lnTo>
                  <a:lnTo>
                    <a:pt x="34725" y="3381"/>
                  </a:lnTo>
                  <a:lnTo>
                    <a:pt x="46197" y="5427"/>
                  </a:lnTo>
                  <a:lnTo>
                    <a:pt x="57460" y="260"/>
                  </a:lnTo>
                  <a:lnTo>
                    <a:pt x="70349" y="0"/>
                  </a:lnTo>
                  <a:lnTo>
                    <a:pt x="81379" y="6968"/>
                  </a:lnTo>
                  <a:lnTo>
                    <a:pt x="96701" y="13243"/>
                  </a:lnTo>
                  <a:lnTo>
                    <a:pt x="110668" y="30639"/>
                  </a:lnTo>
                  <a:lnTo>
                    <a:pt x="125900" y="46846"/>
                  </a:lnTo>
                  <a:lnTo>
                    <a:pt x="126959" y="61497"/>
                  </a:lnTo>
                  <a:lnTo>
                    <a:pt x="131510" y="74962"/>
                  </a:lnTo>
                  <a:lnTo>
                    <a:pt x="140150" y="81558"/>
                  </a:lnTo>
                  <a:lnTo>
                    <a:pt x="142124" y="90632"/>
                  </a:lnTo>
                  <a:lnTo>
                    <a:pt x="141061" y="97935"/>
                  </a:lnTo>
                  <a:lnTo>
                    <a:pt x="137729" y="99257"/>
                  </a:lnTo>
                  <a:lnTo>
                    <a:pt x="125143" y="97404"/>
                  </a:lnTo>
                  <a:lnTo>
                    <a:pt x="123411" y="100010"/>
                  </a:lnTo>
                  <a:lnTo>
                    <a:pt x="118322" y="100534"/>
                  </a:lnTo>
                  <a:lnTo>
                    <a:pt x="101731" y="94821"/>
                  </a:lnTo>
                  <a:lnTo>
                    <a:pt x="90590" y="94579"/>
                  </a:lnTo>
                  <a:lnTo>
                    <a:pt x="47933" y="93594"/>
                  </a:lnTo>
                  <a:lnTo>
                    <a:pt x="41745" y="96234"/>
                  </a:lnTo>
                  <a:lnTo>
                    <a:pt x="34101" y="95479"/>
                  </a:lnTo>
                  <a:lnTo>
                    <a:pt x="21873" y="99298"/>
                  </a:lnTo>
                  <a:lnTo>
                    <a:pt x="18086" y="81319"/>
                  </a:lnTo>
                  <a:lnTo>
                    <a:pt x="39097" y="81814"/>
                  </a:lnTo>
                  <a:lnTo>
                    <a:pt x="44643" y="78525"/>
                  </a:lnTo>
                  <a:lnTo>
                    <a:pt x="48779" y="78332"/>
                  </a:lnTo>
                  <a:lnTo>
                    <a:pt x="57335" y="72907"/>
                  </a:lnTo>
                  <a:lnTo>
                    <a:pt x="67236" y="77871"/>
                  </a:lnTo>
                  <a:lnTo>
                    <a:pt x="77266" y="78285"/>
                  </a:lnTo>
                  <a:lnTo>
                    <a:pt x="87255" y="73012"/>
                  </a:lnTo>
                  <a:lnTo>
                    <a:pt x="82591" y="66218"/>
                  </a:lnTo>
                  <a:lnTo>
                    <a:pt x="74981" y="70177"/>
                  </a:lnTo>
                  <a:lnTo>
                    <a:pt x="67817" y="70067"/>
                  </a:lnTo>
                  <a:lnTo>
                    <a:pt x="58707" y="64279"/>
                  </a:lnTo>
                  <a:lnTo>
                    <a:pt x="51389" y="64658"/>
                  </a:lnTo>
                  <a:lnTo>
                    <a:pt x="46176" y="7022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9" name="Freeform 143">
              <a:extLst>
                <a:ext uri="{FF2B5EF4-FFF2-40B4-BE49-F238E27FC236}">
                  <a16:creationId xmlns:a16="http://schemas.microsoft.com/office/drawing/2014/main" id="{764C7B54-895B-4E4F-8AE4-0474336B2CAE}"/>
                </a:ext>
              </a:extLst>
            </p:cNvPr>
            <p:cNvSpPr>
              <a:spLocks noChangeAspect="1"/>
            </p:cNvSpPr>
            <p:nvPr>
              <p:custDataLst>
                <p:tags r:id="rId151"/>
              </p:custDataLst>
            </p:nvPr>
          </p:nvSpPr>
          <p:spPr>
            <a:xfrm>
              <a:off x="7972926" y="4680516"/>
              <a:ext cx="136356" cy="98312"/>
            </a:xfrm>
            <a:custGeom>
              <a:avLst/>
              <a:gdLst/>
              <a:ahLst/>
              <a:cxnLst/>
              <a:rect l="l" t="t" r="r" b="b"/>
              <a:pathLst>
                <a:path w="136356" h="98312">
                  <a:moveTo>
                    <a:pt x="111453" y="83808"/>
                  </a:moveTo>
                  <a:lnTo>
                    <a:pt x="125247" y="89451"/>
                  </a:lnTo>
                  <a:lnTo>
                    <a:pt x="129901" y="90291"/>
                  </a:lnTo>
                  <a:lnTo>
                    <a:pt x="136356" y="98312"/>
                  </a:lnTo>
                  <a:lnTo>
                    <a:pt x="120230" y="98164"/>
                  </a:lnTo>
                  <a:close/>
                  <a:moveTo>
                    <a:pt x="74132" y="61400"/>
                  </a:moveTo>
                  <a:lnTo>
                    <a:pt x="89367" y="65063"/>
                  </a:lnTo>
                  <a:lnTo>
                    <a:pt x="96881" y="69950"/>
                  </a:lnTo>
                  <a:lnTo>
                    <a:pt x="100660" y="76073"/>
                  </a:lnTo>
                  <a:lnTo>
                    <a:pt x="91666" y="76592"/>
                  </a:lnTo>
                  <a:lnTo>
                    <a:pt x="77514" y="74234"/>
                  </a:lnTo>
                  <a:lnTo>
                    <a:pt x="72679" y="70645"/>
                  </a:lnTo>
                  <a:close/>
                  <a:moveTo>
                    <a:pt x="94377" y="39935"/>
                  </a:moveTo>
                  <a:lnTo>
                    <a:pt x="102225" y="39935"/>
                  </a:lnTo>
                  <a:lnTo>
                    <a:pt x="110534" y="58539"/>
                  </a:lnTo>
                  <a:lnTo>
                    <a:pt x="119767" y="69714"/>
                  </a:lnTo>
                  <a:lnTo>
                    <a:pt x="116291" y="74008"/>
                  </a:lnTo>
                  <a:lnTo>
                    <a:pt x="99184" y="53828"/>
                  </a:lnTo>
                  <a:close/>
                  <a:moveTo>
                    <a:pt x="43132" y="16714"/>
                  </a:moveTo>
                  <a:lnTo>
                    <a:pt x="53752" y="22284"/>
                  </a:lnTo>
                  <a:lnTo>
                    <a:pt x="72679" y="32965"/>
                  </a:lnTo>
                  <a:lnTo>
                    <a:pt x="78104" y="40337"/>
                  </a:lnTo>
                  <a:lnTo>
                    <a:pt x="79082" y="45009"/>
                  </a:lnTo>
                  <a:lnTo>
                    <a:pt x="60991" y="35153"/>
                  </a:lnTo>
                  <a:lnTo>
                    <a:pt x="48353" y="26807"/>
                  </a:lnTo>
                  <a:lnTo>
                    <a:pt x="39697" y="19078"/>
                  </a:lnTo>
                  <a:close/>
                  <a:moveTo>
                    <a:pt x="1188" y="0"/>
                  </a:moveTo>
                  <a:lnTo>
                    <a:pt x="14972" y="9792"/>
                  </a:lnTo>
                  <a:lnTo>
                    <a:pt x="24169" y="17359"/>
                  </a:lnTo>
                  <a:lnTo>
                    <a:pt x="19575" y="18681"/>
                  </a:lnTo>
                  <a:lnTo>
                    <a:pt x="9479" y="13393"/>
                  </a:lnTo>
                  <a:lnTo>
                    <a:pt x="0" y="386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0" name="Freeform 144">
              <a:extLst>
                <a:ext uri="{FF2B5EF4-FFF2-40B4-BE49-F238E27FC236}">
                  <a16:creationId xmlns:a16="http://schemas.microsoft.com/office/drawing/2014/main" id="{54499F4C-5E65-49A8-BFD1-4D6FB8032E49}"/>
                </a:ext>
              </a:extLst>
            </p:cNvPr>
            <p:cNvSpPr>
              <a:spLocks noChangeAspect="1"/>
            </p:cNvSpPr>
            <p:nvPr>
              <p:custDataLst>
                <p:tags r:id="rId152"/>
              </p:custDataLst>
            </p:nvPr>
          </p:nvSpPr>
          <p:spPr>
            <a:xfrm>
              <a:off x="4054921" y="4295295"/>
              <a:ext cx="69629" cy="75805"/>
            </a:xfrm>
            <a:custGeom>
              <a:avLst/>
              <a:gdLst/>
              <a:ahLst/>
              <a:cxnLst/>
              <a:rect l="0" t="0" r="0" b="0"/>
              <a:pathLst>
                <a:path w="69629" h="75805">
                  <a:moveTo>
                    <a:pt x="41728" y="75804"/>
                  </a:moveTo>
                  <a:lnTo>
                    <a:pt x="35509" y="74084"/>
                  </a:lnTo>
                  <a:lnTo>
                    <a:pt x="18892" y="64739"/>
                  </a:lnTo>
                  <a:lnTo>
                    <a:pt x="6867" y="52305"/>
                  </a:lnTo>
                  <a:lnTo>
                    <a:pt x="2828" y="43820"/>
                  </a:lnTo>
                  <a:lnTo>
                    <a:pt x="0" y="26638"/>
                  </a:lnTo>
                  <a:lnTo>
                    <a:pt x="12340" y="16407"/>
                  </a:lnTo>
                  <a:lnTo>
                    <a:pt x="15000" y="9945"/>
                  </a:lnTo>
                  <a:lnTo>
                    <a:pt x="18942" y="4921"/>
                  </a:lnTo>
                  <a:lnTo>
                    <a:pt x="25303" y="4391"/>
                  </a:lnTo>
                  <a:lnTo>
                    <a:pt x="30683" y="0"/>
                  </a:lnTo>
                  <a:lnTo>
                    <a:pt x="49144" y="26"/>
                  </a:lnTo>
                  <a:lnTo>
                    <a:pt x="55569" y="8360"/>
                  </a:lnTo>
                  <a:lnTo>
                    <a:pt x="60572" y="18148"/>
                  </a:lnTo>
                  <a:lnTo>
                    <a:pt x="59825" y="24913"/>
                  </a:lnTo>
                  <a:lnTo>
                    <a:pt x="63529" y="30999"/>
                  </a:lnTo>
                  <a:lnTo>
                    <a:pt x="63271" y="39523"/>
                  </a:lnTo>
                  <a:lnTo>
                    <a:pt x="69628" y="38191"/>
                  </a:lnTo>
                  <a:lnTo>
                    <a:pt x="58883" y="49035"/>
                  </a:lnTo>
                  <a:lnTo>
                    <a:pt x="48470" y="61636"/>
                  </a:lnTo>
                  <a:lnTo>
                    <a:pt x="47244" y="6838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1" name="Freeform 145">
              <a:extLst>
                <a:ext uri="{FF2B5EF4-FFF2-40B4-BE49-F238E27FC236}">
                  <a16:creationId xmlns:a16="http://schemas.microsoft.com/office/drawing/2014/main" id="{320C13C2-46AC-4B11-92B0-A8014748B605}"/>
                </a:ext>
              </a:extLst>
            </p:cNvPr>
            <p:cNvSpPr>
              <a:spLocks noChangeAspect="1"/>
            </p:cNvSpPr>
            <p:nvPr>
              <p:custDataLst>
                <p:tags r:id="rId153"/>
              </p:custDataLst>
            </p:nvPr>
          </p:nvSpPr>
          <p:spPr>
            <a:xfrm>
              <a:off x="5343056" y="4262259"/>
              <a:ext cx="147487" cy="80739"/>
            </a:xfrm>
            <a:custGeom>
              <a:avLst/>
              <a:gdLst/>
              <a:ahLst/>
              <a:cxnLst/>
              <a:rect l="0" t="0" r="0" b="0"/>
              <a:pathLst>
                <a:path w="147487" h="80739">
                  <a:moveTo>
                    <a:pt x="147253" y="46904"/>
                  </a:moveTo>
                  <a:lnTo>
                    <a:pt x="136834" y="61196"/>
                  </a:lnTo>
                  <a:lnTo>
                    <a:pt x="120738" y="80595"/>
                  </a:lnTo>
                  <a:lnTo>
                    <a:pt x="101324" y="80738"/>
                  </a:lnTo>
                  <a:lnTo>
                    <a:pt x="25853" y="53147"/>
                  </a:lnTo>
                  <a:lnTo>
                    <a:pt x="17040" y="44838"/>
                  </a:lnTo>
                  <a:lnTo>
                    <a:pt x="8526" y="33620"/>
                  </a:lnTo>
                  <a:lnTo>
                    <a:pt x="0" y="20777"/>
                  </a:lnTo>
                  <a:lnTo>
                    <a:pt x="5035" y="12506"/>
                  </a:lnTo>
                  <a:lnTo>
                    <a:pt x="13540" y="0"/>
                  </a:lnTo>
                  <a:lnTo>
                    <a:pt x="21050" y="4309"/>
                  </a:lnTo>
                  <a:lnTo>
                    <a:pt x="25574" y="13970"/>
                  </a:lnTo>
                  <a:lnTo>
                    <a:pt x="35987" y="23741"/>
                  </a:lnTo>
                  <a:lnTo>
                    <a:pt x="47447" y="23819"/>
                  </a:lnTo>
                  <a:lnTo>
                    <a:pt x="69207" y="17849"/>
                  </a:lnTo>
                  <a:lnTo>
                    <a:pt x="94331" y="15082"/>
                  </a:lnTo>
                  <a:lnTo>
                    <a:pt x="114650" y="7826"/>
                  </a:lnTo>
                  <a:lnTo>
                    <a:pt x="126097" y="6287"/>
                  </a:lnTo>
                  <a:lnTo>
                    <a:pt x="134342" y="2024"/>
                  </a:lnTo>
                  <a:lnTo>
                    <a:pt x="147486" y="1202"/>
                  </a:lnTo>
                  <a:lnTo>
                    <a:pt x="147343" y="1585"/>
                  </a:lnTo>
                  <a:lnTo>
                    <a:pt x="147262" y="11211"/>
                  </a:lnTo>
                  <a:lnTo>
                    <a:pt x="147256" y="3474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2" name="Freeform 146">
              <a:extLst>
                <a:ext uri="{FF2B5EF4-FFF2-40B4-BE49-F238E27FC236}">
                  <a16:creationId xmlns:a16="http://schemas.microsoft.com/office/drawing/2014/main" id="{BCCB4B53-9705-49B2-824D-7F1145DD8625}"/>
                </a:ext>
              </a:extLst>
            </p:cNvPr>
            <p:cNvSpPr>
              <a:spLocks noChangeAspect="1"/>
            </p:cNvSpPr>
            <p:nvPr>
              <p:custDataLst>
                <p:tags r:id="rId154"/>
              </p:custDataLst>
            </p:nvPr>
          </p:nvSpPr>
          <p:spPr>
            <a:xfrm>
              <a:off x="5306639" y="4249096"/>
              <a:ext cx="234355" cy="317733"/>
            </a:xfrm>
            <a:custGeom>
              <a:avLst/>
              <a:gdLst/>
              <a:ahLst/>
              <a:cxnLst/>
              <a:rect l="0" t="0" r="0" b="0"/>
              <a:pathLst>
                <a:path w="234355" h="317733">
                  <a:moveTo>
                    <a:pt x="201917" y="10430"/>
                  </a:moveTo>
                  <a:lnTo>
                    <a:pt x="214155" y="8076"/>
                  </a:lnTo>
                  <a:lnTo>
                    <a:pt x="225078" y="64"/>
                  </a:lnTo>
                  <a:lnTo>
                    <a:pt x="233831" y="0"/>
                  </a:lnTo>
                  <a:lnTo>
                    <a:pt x="234354" y="6471"/>
                  </a:lnTo>
                  <a:lnTo>
                    <a:pt x="232223" y="20071"/>
                  </a:lnTo>
                  <a:lnTo>
                    <a:pt x="232310" y="32345"/>
                  </a:lnTo>
                  <a:lnTo>
                    <a:pt x="227436" y="40772"/>
                  </a:lnTo>
                  <a:lnTo>
                    <a:pt x="220932" y="65957"/>
                  </a:lnTo>
                  <a:lnTo>
                    <a:pt x="209818" y="91929"/>
                  </a:lnTo>
                  <a:lnTo>
                    <a:pt x="195548" y="121568"/>
                  </a:lnTo>
                  <a:lnTo>
                    <a:pt x="175740" y="155519"/>
                  </a:lnTo>
                  <a:lnTo>
                    <a:pt x="156033" y="181423"/>
                  </a:lnTo>
                  <a:lnTo>
                    <a:pt x="128887" y="212949"/>
                  </a:lnTo>
                  <a:lnTo>
                    <a:pt x="105786" y="231646"/>
                  </a:lnTo>
                  <a:lnTo>
                    <a:pt x="71258" y="254572"/>
                  </a:lnTo>
                  <a:lnTo>
                    <a:pt x="49741" y="272130"/>
                  </a:lnTo>
                  <a:lnTo>
                    <a:pt x="24479" y="300092"/>
                  </a:lnTo>
                  <a:lnTo>
                    <a:pt x="19156" y="312265"/>
                  </a:lnTo>
                  <a:lnTo>
                    <a:pt x="13944" y="317732"/>
                  </a:lnTo>
                  <a:lnTo>
                    <a:pt x="275" y="298687"/>
                  </a:lnTo>
                  <a:lnTo>
                    <a:pt x="0" y="214584"/>
                  </a:lnTo>
                  <a:lnTo>
                    <a:pt x="20175" y="188370"/>
                  </a:lnTo>
                  <a:lnTo>
                    <a:pt x="26489" y="181082"/>
                  </a:lnTo>
                  <a:lnTo>
                    <a:pt x="41286" y="180656"/>
                  </a:lnTo>
                  <a:lnTo>
                    <a:pt x="61857" y="164350"/>
                  </a:lnTo>
                  <a:lnTo>
                    <a:pt x="91928" y="163330"/>
                  </a:lnTo>
                  <a:lnTo>
                    <a:pt x="157155" y="93758"/>
                  </a:lnTo>
                  <a:lnTo>
                    <a:pt x="173251" y="74359"/>
                  </a:lnTo>
                  <a:lnTo>
                    <a:pt x="183670" y="60067"/>
                  </a:lnTo>
                  <a:lnTo>
                    <a:pt x="183673" y="47912"/>
                  </a:lnTo>
                  <a:lnTo>
                    <a:pt x="183679" y="24374"/>
                  </a:lnTo>
                  <a:lnTo>
                    <a:pt x="183760" y="14748"/>
                  </a:lnTo>
                  <a:lnTo>
                    <a:pt x="183903" y="14365"/>
                  </a:lnTo>
                  <a:lnTo>
                    <a:pt x="191279" y="1390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3" name="Freeform 147">
              <a:extLst>
                <a:ext uri="{FF2B5EF4-FFF2-40B4-BE49-F238E27FC236}">
                  <a16:creationId xmlns:a16="http://schemas.microsoft.com/office/drawing/2014/main" id="{805E2FE9-D9B6-41AF-80C7-F6277AEEC545}"/>
                </a:ext>
              </a:extLst>
            </p:cNvPr>
            <p:cNvSpPr>
              <a:spLocks noChangeAspect="1"/>
            </p:cNvSpPr>
            <p:nvPr>
              <p:custDataLst>
                <p:tags r:id="rId155"/>
              </p:custDataLst>
            </p:nvPr>
          </p:nvSpPr>
          <p:spPr>
            <a:xfrm>
              <a:off x="4795329" y="3379642"/>
              <a:ext cx="95937" cy="111173"/>
            </a:xfrm>
            <a:custGeom>
              <a:avLst/>
              <a:gdLst/>
              <a:ahLst/>
              <a:cxnLst/>
              <a:rect l="0" t="0" r="0" b="0"/>
              <a:pathLst>
                <a:path w="95937" h="111173">
                  <a:moveTo>
                    <a:pt x="47192" y="21728"/>
                  </a:moveTo>
                  <a:lnTo>
                    <a:pt x="61255" y="28459"/>
                  </a:lnTo>
                  <a:lnTo>
                    <a:pt x="63067" y="40218"/>
                  </a:lnTo>
                  <a:lnTo>
                    <a:pt x="76526" y="48476"/>
                  </a:lnTo>
                  <a:lnTo>
                    <a:pt x="83772" y="42108"/>
                  </a:lnTo>
                  <a:lnTo>
                    <a:pt x="89466" y="45648"/>
                  </a:lnTo>
                  <a:lnTo>
                    <a:pt x="84118" y="50439"/>
                  </a:lnTo>
                  <a:lnTo>
                    <a:pt x="88345" y="55379"/>
                  </a:lnTo>
                  <a:lnTo>
                    <a:pt x="82650" y="61794"/>
                  </a:lnTo>
                  <a:lnTo>
                    <a:pt x="84721" y="72094"/>
                  </a:lnTo>
                  <a:lnTo>
                    <a:pt x="95936" y="84219"/>
                  </a:lnTo>
                  <a:lnTo>
                    <a:pt x="87137" y="92970"/>
                  </a:lnTo>
                  <a:lnTo>
                    <a:pt x="83254" y="101850"/>
                  </a:lnTo>
                  <a:lnTo>
                    <a:pt x="85757" y="105163"/>
                  </a:lnTo>
                  <a:lnTo>
                    <a:pt x="81960" y="109087"/>
                  </a:lnTo>
                  <a:lnTo>
                    <a:pt x="71262" y="109549"/>
                  </a:lnTo>
                  <a:lnTo>
                    <a:pt x="63404" y="111172"/>
                  </a:lnTo>
                  <a:lnTo>
                    <a:pt x="62635" y="109088"/>
                  </a:lnTo>
                  <a:lnTo>
                    <a:pt x="65396" y="105779"/>
                  </a:lnTo>
                  <a:lnTo>
                    <a:pt x="67984" y="98996"/>
                  </a:lnTo>
                  <a:lnTo>
                    <a:pt x="64705" y="99150"/>
                  </a:lnTo>
                  <a:lnTo>
                    <a:pt x="60219" y="93975"/>
                  </a:lnTo>
                  <a:lnTo>
                    <a:pt x="56423" y="92661"/>
                  </a:lnTo>
                  <a:lnTo>
                    <a:pt x="53404" y="88211"/>
                  </a:lnTo>
                  <a:lnTo>
                    <a:pt x="49090" y="86467"/>
                  </a:lnTo>
                  <a:lnTo>
                    <a:pt x="45811" y="82512"/>
                  </a:lnTo>
                  <a:lnTo>
                    <a:pt x="41670" y="84064"/>
                  </a:lnTo>
                  <a:lnTo>
                    <a:pt x="38478" y="93357"/>
                  </a:lnTo>
                  <a:lnTo>
                    <a:pt x="32957" y="95366"/>
                  </a:lnTo>
                  <a:lnTo>
                    <a:pt x="34854" y="92970"/>
                  </a:lnTo>
                  <a:lnTo>
                    <a:pt x="26055" y="87165"/>
                  </a:lnTo>
                  <a:lnTo>
                    <a:pt x="18470" y="84146"/>
                  </a:lnTo>
                  <a:lnTo>
                    <a:pt x="15098" y="80261"/>
                  </a:lnTo>
                  <a:lnTo>
                    <a:pt x="8972" y="75441"/>
                  </a:lnTo>
                  <a:lnTo>
                    <a:pt x="14408" y="74197"/>
                  </a:lnTo>
                  <a:lnTo>
                    <a:pt x="17773" y="60935"/>
                  </a:lnTo>
                  <a:lnTo>
                    <a:pt x="6643" y="50046"/>
                  </a:lnTo>
                  <a:lnTo>
                    <a:pt x="12423" y="37539"/>
                  </a:lnTo>
                  <a:lnTo>
                    <a:pt x="4055" y="37618"/>
                  </a:lnTo>
                  <a:lnTo>
                    <a:pt x="12941" y="26877"/>
                  </a:lnTo>
                  <a:lnTo>
                    <a:pt x="5608" y="18714"/>
                  </a:lnTo>
                  <a:lnTo>
                    <a:pt x="0" y="7580"/>
                  </a:lnTo>
                  <a:lnTo>
                    <a:pt x="17687" y="0"/>
                  </a:lnTo>
                  <a:lnTo>
                    <a:pt x="32094" y="1278"/>
                  </a:lnTo>
                  <a:lnTo>
                    <a:pt x="44604" y="1259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4" name="Freeform 148">
              <a:extLst>
                <a:ext uri="{FF2B5EF4-FFF2-40B4-BE49-F238E27FC236}">
                  <a16:creationId xmlns:a16="http://schemas.microsoft.com/office/drawing/2014/main" id="{2E936B60-3C57-42B7-954D-9A8142FA1E38}"/>
                </a:ext>
              </a:extLst>
            </p:cNvPr>
            <p:cNvSpPr>
              <a:spLocks noChangeAspect="1"/>
            </p:cNvSpPr>
            <p:nvPr>
              <p:custDataLst>
                <p:tags r:id="rId156"/>
              </p:custDataLst>
            </p:nvPr>
          </p:nvSpPr>
          <p:spPr>
            <a:xfrm>
              <a:off x="4750322" y="3279625"/>
              <a:ext cx="131067" cy="53806"/>
            </a:xfrm>
            <a:custGeom>
              <a:avLst/>
              <a:gdLst/>
              <a:ahLst/>
              <a:cxnLst/>
              <a:rect l="0" t="0" r="0" b="0"/>
              <a:pathLst>
                <a:path w="131067" h="53806">
                  <a:moveTo>
                    <a:pt x="45545" y="2258"/>
                  </a:moveTo>
                  <a:lnTo>
                    <a:pt x="46848" y="4066"/>
                  </a:lnTo>
                  <a:lnTo>
                    <a:pt x="56338" y="0"/>
                  </a:lnTo>
                  <a:lnTo>
                    <a:pt x="67979" y="10605"/>
                  </a:lnTo>
                  <a:lnTo>
                    <a:pt x="81617" y="4197"/>
                  </a:lnTo>
                  <a:lnTo>
                    <a:pt x="92514" y="7269"/>
                  </a:lnTo>
                  <a:lnTo>
                    <a:pt x="109131" y="3040"/>
                  </a:lnTo>
                  <a:lnTo>
                    <a:pt x="131066" y="14525"/>
                  </a:lnTo>
                  <a:lnTo>
                    <a:pt x="124666" y="22276"/>
                  </a:lnTo>
                  <a:lnTo>
                    <a:pt x="120159" y="34233"/>
                  </a:lnTo>
                  <a:lnTo>
                    <a:pt x="115234" y="37259"/>
                  </a:lnTo>
                  <a:lnTo>
                    <a:pt x="90514" y="28261"/>
                  </a:lnTo>
                  <a:lnTo>
                    <a:pt x="82949" y="30069"/>
                  </a:lnTo>
                  <a:lnTo>
                    <a:pt x="77536" y="37034"/>
                  </a:lnTo>
                  <a:lnTo>
                    <a:pt x="66697" y="40723"/>
                  </a:lnTo>
                  <a:lnTo>
                    <a:pt x="64201" y="38835"/>
                  </a:lnTo>
                  <a:lnTo>
                    <a:pt x="52960" y="43417"/>
                  </a:lnTo>
                  <a:lnTo>
                    <a:pt x="43788" y="44290"/>
                  </a:lnTo>
                  <a:lnTo>
                    <a:pt x="41930" y="50204"/>
                  </a:lnTo>
                  <a:lnTo>
                    <a:pt x="22555" y="53805"/>
                  </a:lnTo>
                  <a:lnTo>
                    <a:pt x="14045" y="50600"/>
                  </a:lnTo>
                  <a:lnTo>
                    <a:pt x="2301" y="43059"/>
                  </a:lnTo>
                  <a:lnTo>
                    <a:pt x="0" y="32820"/>
                  </a:lnTo>
                  <a:lnTo>
                    <a:pt x="1853" y="29058"/>
                  </a:lnTo>
                  <a:lnTo>
                    <a:pt x="5124" y="22527"/>
                  </a:lnTo>
                  <a:lnTo>
                    <a:pt x="15350" y="23030"/>
                  </a:lnTo>
                  <a:lnTo>
                    <a:pt x="23232" y="19954"/>
                  </a:lnTo>
                  <a:lnTo>
                    <a:pt x="23856" y="17185"/>
                  </a:lnTo>
                  <a:lnTo>
                    <a:pt x="28276" y="15770"/>
                  </a:lnTo>
                  <a:lnTo>
                    <a:pt x="29788" y="8981"/>
                  </a:lnTo>
                  <a:lnTo>
                    <a:pt x="35086" y="7681"/>
                  </a:lnTo>
                  <a:lnTo>
                    <a:pt x="38663" y="22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5" name="Freeform 149">
              <a:extLst>
                <a:ext uri="{FF2B5EF4-FFF2-40B4-BE49-F238E27FC236}">
                  <a16:creationId xmlns:a16="http://schemas.microsoft.com/office/drawing/2014/main" id="{25CECB35-9E0D-4C92-9076-468968137949}"/>
                </a:ext>
              </a:extLst>
            </p:cNvPr>
            <p:cNvSpPr>
              <a:spLocks noChangeAspect="1"/>
            </p:cNvSpPr>
            <p:nvPr>
              <p:custDataLst>
                <p:tags r:id="rId157"/>
              </p:custDataLst>
            </p:nvPr>
          </p:nvSpPr>
          <p:spPr>
            <a:xfrm>
              <a:off x="4676875" y="3359915"/>
              <a:ext cx="66173" cy="40426"/>
            </a:xfrm>
            <a:custGeom>
              <a:avLst/>
              <a:gdLst/>
              <a:ahLst/>
              <a:cxnLst/>
              <a:rect l="0" t="0" r="0" b="0"/>
              <a:pathLst>
                <a:path w="66173" h="40426">
                  <a:moveTo>
                    <a:pt x="2502" y="9961"/>
                  </a:moveTo>
                  <a:lnTo>
                    <a:pt x="21568" y="12206"/>
                  </a:lnTo>
                  <a:lnTo>
                    <a:pt x="33216" y="5628"/>
                  </a:lnTo>
                  <a:lnTo>
                    <a:pt x="53404" y="4904"/>
                  </a:lnTo>
                  <a:lnTo>
                    <a:pt x="57804" y="0"/>
                  </a:lnTo>
                  <a:lnTo>
                    <a:pt x="61687" y="321"/>
                  </a:lnTo>
                  <a:lnTo>
                    <a:pt x="66172" y="10122"/>
                  </a:lnTo>
                  <a:lnTo>
                    <a:pt x="47796" y="17809"/>
                  </a:lnTo>
                  <a:lnTo>
                    <a:pt x="45552" y="29459"/>
                  </a:lnTo>
                  <a:lnTo>
                    <a:pt x="37529" y="32403"/>
                  </a:lnTo>
                  <a:lnTo>
                    <a:pt x="37615" y="40425"/>
                  </a:lnTo>
                  <a:lnTo>
                    <a:pt x="28557" y="39870"/>
                  </a:lnTo>
                  <a:lnTo>
                    <a:pt x="20706" y="35186"/>
                  </a:lnTo>
                  <a:lnTo>
                    <a:pt x="16478" y="40028"/>
                  </a:lnTo>
                  <a:lnTo>
                    <a:pt x="392" y="39049"/>
                  </a:lnTo>
                  <a:lnTo>
                    <a:pt x="5529" y="36447"/>
                  </a:lnTo>
                  <a:lnTo>
                    <a:pt x="0" y="2419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6" name="Freeform 150">
              <a:extLst>
                <a:ext uri="{FF2B5EF4-FFF2-40B4-BE49-F238E27FC236}">
                  <a16:creationId xmlns:a16="http://schemas.microsoft.com/office/drawing/2014/main" id="{2F9FA55C-07DC-4DC4-A837-DDD3E5CD69DC}"/>
                </a:ext>
              </a:extLst>
            </p:cNvPr>
            <p:cNvSpPr>
              <a:spLocks noChangeAspect="1"/>
            </p:cNvSpPr>
            <p:nvPr>
              <p:custDataLst>
                <p:tags r:id="rId158"/>
              </p:custDataLst>
            </p:nvPr>
          </p:nvSpPr>
          <p:spPr>
            <a:xfrm>
              <a:off x="4615228" y="2605431"/>
              <a:ext cx="297213" cy="494295"/>
            </a:xfrm>
            <a:custGeom>
              <a:avLst/>
              <a:gdLst/>
              <a:ahLst/>
              <a:cxnLst/>
              <a:rect l="0" t="0" r="0" b="0"/>
              <a:pathLst>
                <a:path w="297213" h="494295">
                  <a:moveTo>
                    <a:pt x="257506" y="132676"/>
                  </a:moveTo>
                  <a:lnTo>
                    <a:pt x="235123" y="159012"/>
                  </a:lnTo>
                  <a:lnTo>
                    <a:pt x="238727" y="181860"/>
                  </a:lnTo>
                  <a:lnTo>
                    <a:pt x="202008" y="211485"/>
                  </a:lnTo>
                  <a:lnTo>
                    <a:pt x="157433" y="242729"/>
                  </a:lnTo>
                  <a:lnTo>
                    <a:pt x="140624" y="292923"/>
                  </a:lnTo>
                  <a:lnTo>
                    <a:pt x="157054" y="317610"/>
                  </a:lnTo>
                  <a:lnTo>
                    <a:pt x="179129" y="336852"/>
                  </a:lnTo>
                  <a:lnTo>
                    <a:pt x="157928" y="375482"/>
                  </a:lnTo>
                  <a:lnTo>
                    <a:pt x="133921" y="383411"/>
                  </a:lnTo>
                  <a:lnTo>
                    <a:pt x="125116" y="439506"/>
                  </a:lnTo>
                  <a:lnTo>
                    <a:pt x="112006" y="470226"/>
                  </a:lnTo>
                  <a:lnTo>
                    <a:pt x="84005" y="467078"/>
                  </a:lnTo>
                  <a:lnTo>
                    <a:pt x="70941" y="492808"/>
                  </a:lnTo>
                  <a:lnTo>
                    <a:pt x="44215" y="494294"/>
                  </a:lnTo>
                  <a:lnTo>
                    <a:pt x="36880" y="463611"/>
                  </a:lnTo>
                  <a:lnTo>
                    <a:pt x="17556" y="426240"/>
                  </a:lnTo>
                  <a:lnTo>
                    <a:pt x="0" y="378794"/>
                  </a:lnTo>
                  <a:lnTo>
                    <a:pt x="10177" y="359174"/>
                  </a:lnTo>
                  <a:lnTo>
                    <a:pt x="29384" y="335608"/>
                  </a:lnTo>
                  <a:lnTo>
                    <a:pt x="37019" y="294600"/>
                  </a:lnTo>
                  <a:lnTo>
                    <a:pt x="22267" y="276683"/>
                  </a:lnTo>
                  <a:lnTo>
                    <a:pt x="20848" y="229021"/>
                  </a:lnTo>
                  <a:lnTo>
                    <a:pt x="35837" y="194710"/>
                  </a:lnTo>
                  <a:lnTo>
                    <a:pt x="58735" y="195340"/>
                  </a:lnTo>
                  <a:lnTo>
                    <a:pt x="66767" y="180678"/>
                  </a:lnTo>
                  <a:lnTo>
                    <a:pt x="58360" y="167958"/>
                  </a:lnTo>
                  <a:lnTo>
                    <a:pt x="94201" y="114740"/>
                  </a:lnTo>
                  <a:lnTo>
                    <a:pt x="117290" y="71821"/>
                  </a:lnTo>
                  <a:lnTo>
                    <a:pt x="132529" y="43795"/>
                  </a:lnTo>
                  <a:lnTo>
                    <a:pt x="154696" y="43929"/>
                  </a:lnTo>
                  <a:lnTo>
                    <a:pt x="160805" y="21724"/>
                  </a:lnTo>
                  <a:lnTo>
                    <a:pt x="204309" y="28137"/>
                  </a:lnTo>
                  <a:lnTo>
                    <a:pt x="207695" y="1666"/>
                  </a:lnTo>
                  <a:lnTo>
                    <a:pt x="222014" y="0"/>
                  </a:lnTo>
                  <a:lnTo>
                    <a:pt x="252782" y="19740"/>
                  </a:lnTo>
                  <a:lnTo>
                    <a:pt x="288813" y="46883"/>
                  </a:lnTo>
                  <a:lnTo>
                    <a:pt x="289422" y="106979"/>
                  </a:lnTo>
                  <a:lnTo>
                    <a:pt x="297212" y="1218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7" name="Freeform 151">
              <a:extLst>
                <a:ext uri="{FF2B5EF4-FFF2-40B4-BE49-F238E27FC236}">
                  <a16:creationId xmlns:a16="http://schemas.microsoft.com/office/drawing/2014/main" id="{228BA8A0-D10D-4737-B2F2-AFB0FEBB512F}"/>
                </a:ext>
              </a:extLst>
            </p:cNvPr>
            <p:cNvSpPr>
              <a:spLocks noChangeAspect="1"/>
            </p:cNvSpPr>
            <p:nvPr>
              <p:custDataLst>
                <p:tags r:id="rId159"/>
              </p:custDataLst>
            </p:nvPr>
          </p:nvSpPr>
          <p:spPr>
            <a:xfrm>
              <a:off x="5068785" y="5133371"/>
              <a:ext cx="32202" cy="40246"/>
            </a:xfrm>
            <a:custGeom>
              <a:avLst/>
              <a:gdLst/>
              <a:ahLst/>
              <a:cxnLst/>
              <a:rect l="0" t="0" r="0" b="0"/>
              <a:pathLst>
                <a:path w="32202" h="40246">
                  <a:moveTo>
                    <a:pt x="32201" y="26538"/>
                  </a:moveTo>
                  <a:lnTo>
                    <a:pt x="27502" y="37561"/>
                  </a:lnTo>
                  <a:lnTo>
                    <a:pt x="13992" y="40245"/>
                  </a:lnTo>
                  <a:lnTo>
                    <a:pt x="216" y="26787"/>
                  </a:lnTo>
                  <a:lnTo>
                    <a:pt x="0" y="18223"/>
                  </a:lnTo>
                  <a:lnTo>
                    <a:pt x="6303" y="8942"/>
                  </a:lnTo>
                  <a:lnTo>
                    <a:pt x="8482" y="1757"/>
                  </a:lnTo>
                  <a:lnTo>
                    <a:pt x="15155" y="0"/>
                  </a:lnTo>
                  <a:lnTo>
                    <a:pt x="26802" y="4516"/>
                  </a:lnTo>
                  <a:lnTo>
                    <a:pt x="30219" y="1559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8" name="Freeform 152">
              <a:extLst>
                <a:ext uri="{FF2B5EF4-FFF2-40B4-BE49-F238E27FC236}">
                  <a16:creationId xmlns:a16="http://schemas.microsoft.com/office/drawing/2014/main" id="{4EBC183A-3F9E-4273-94B8-2571FDD94134}"/>
                </a:ext>
              </a:extLst>
            </p:cNvPr>
            <p:cNvSpPr>
              <a:spLocks noChangeAspect="1"/>
            </p:cNvSpPr>
            <p:nvPr>
              <p:custDataLst>
                <p:tags r:id="rId160"/>
              </p:custDataLst>
            </p:nvPr>
          </p:nvSpPr>
          <p:spPr>
            <a:xfrm>
              <a:off x="5184756" y="3627063"/>
              <a:ext cx="153473" cy="128366"/>
            </a:xfrm>
            <a:custGeom>
              <a:avLst/>
              <a:gdLst/>
              <a:ahLst/>
              <a:cxnLst/>
              <a:rect l="0" t="0" r="0" b="0"/>
              <a:pathLst>
                <a:path w="153473" h="128366">
                  <a:moveTo>
                    <a:pt x="71362" y="100929"/>
                  </a:moveTo>
                  <a:lnTo>
                    <a:pt x="26159" y="128365"/>
                  </a:lnTo>
                  <a:lnTo>
                    <a:pt x="442" y="118187"/>
                  </a:lnTo>
                  <a:lnTo>
                    <a:pt x="0" y="118012"/>
                  </a:lnTo>
                  <a:lnTo>
                    <a:pt x="3130" y="114098"/>
                  </a:lnTo>
                  <a:lnTo>
                    <a:pt x="2777" y="103545"/>
                  </a:lnTo>
                  <a:lnTo>
                    <a:pt x="8441" y="89381"/>
                  </a:lnTo>
                  <a:lnTo>
                    <a:pt x="21028" y="79599"/>
                  </a:lnTo>
                  <a:lnTo>
                    <a:pt x="17252" y="69393"/>
                  </a:lnTo>
                  <a:lnTo>
                    <a:pt x="6870" y="68064"/>
                  </a:lnTo>
                  <a:lnTo>
                    <a:pt x="4714" y="48058"/>
                  </a:lnTo>
                  <a:lnTo>
                    <a:pt x="10364" y="37250"/>
                  </a:lnTo>
                  <a:lnTo>
                    <a:pt x="16545" y="31482"/>
                  </a:lnTo>
                  <a:lnTo>
                    <a:pt x="22727" y="25704"/>
                  </a:lnTo>
                  <a:lnTo>
                    <a:pt x="23976" y="10949"/>
                  </a:lnTo>
                  <a:lnTo>
                    <a:pt x="31531" y="16101"/>
                  </a:lnTo>
                  <a:lnTo>
                    <a:pt x="56944" y="8730"/>
                  </a:lnTo>
                  <a:lnTo>
                    <a:pt x="69228" y="13721"/>
                  </a:lnTo>
                  <a:lnTo>
                    <a:pt x="88217" y="13638"/>
                  </a:lnTo>
                  <a:lnTo>
                    <a:pt x="114778" y="3684"/>
                  </a:lnTo>
                  <a:lnTo>
                    <a:pt x="127216" y="4134"/>
                  </a:lnTo>
                  <a:lnTo>
                    <a:pt x="153472" y="0"/>
                  </a:lnTo>
                  <a:lnTo>
                    <a:pt x="141642" y="16556"/>
                  </a:lnTo>
                  <a:lnTo>
                    <a:pt x="129007" y="23087"/>
                  </a:lnTo>
                  <a:lnTo>
                    <a:pt x="131183" y="42329"/>
                  </a:lnTo>
                  <a:lnTo>
                    <a:pt x="122462" y="7394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9" name="Freeform 153">
              <a:extLst>
                <a:ext uri="{FF2B5EF4-FFF2-40B4-BE49-F238E27FC236}">
                  <a16:creationId xmlns:a16="http://schemas.microsoft.com/office/drawing/2014/main" id="{05F7343B-4E7B-43C1-A7B4-C566112E4BAF}"/>
                </a:ext>
              </a:extLst>
            </p:cNvPr>
            <p:cNvSpPr>
              <a:spLocks noChangeAspect="1"/>
            </p:cNvSpPr>
            <p:nvPr>
              <p:custDataLst>
                <p:tags r:id="rId161"/>
              </p:custDataLst>
            </p:nvPr>
          </p:nvSpPr>
          <p:spPr>
            <a:xfrm>
              <a:off x="4673235" y="3977725"/>
              <a:ext cx="238826" cy="378621"/>
            </a:xfrm>
            <a:custGeom>
              <a:avLst/>
              <a:gdLst/>
              <a:ahLst/>
              <a:cxnLst/>
              <a:rect l="0" t="0" r="0" b="0"/>
              <a:pathLst>
                <a:path w="238826" h="378621">
                  <a:moveTo>
                    <a:pt x="22053" y="251808"/>
                  </a:moveTo>
                  <a:lnTo>
                    <a:pt x="24361" y="240752"/>
                  </a:lnTo>
                  <a:lnTo>
                    <a:pt x="9558" y="240211"/>
                  </a:lnTo>
                  <a:lnTo>
                    <a:pt x="9609" y="225088"/>
                  </a:lnTo>
                  <a:lnTo>
                    <a:pt x="0" y="216367"/>
                  </a:lnTo>
                  <a:lnTo>
                    <a:pt x="9966" y="185279"/>
                  </a:lnTo>
                  <a:lnTo>
                    <a:pt x="39410" y="162948"/>
                  </a:lnTo>
                  <a:lnTo>
                    <a:pt x="40626" y="132030"/>
                  </a:lnTo>
                  <a:lnTo>
                    <a:pt x="49521" y="83500"/>
                  </a:lnTo>
                  <a:lnTo>
                    <a:pt x="54541" y="73157"/>
                  </a:lnTo>
                  <a:lnTo>
                    <a:pt x="44936" y="64907"/>
                  </a:lnTo>
                  <a:lnTo>
                    <a:pt x="44565" y="57242"/>
                  </a:lnTo>
                  <a:lnTo>
                    <a:pt x="35928" y="50967"/>
                  </a:lnTo>
                  <a:lnTo>
                    <a:pt x="30259" y="13309"/>
                  </a:lnTo>
                  <a:lnTo>
                    <a:pt x="53562" y="0"/>
                  </a:lnTo>
                  <a:lnTo>
                    <a:pt x="145626" y="46460"/>
                  </a:lnTo>
                  <a:lnTo>
                    <a:pt x="237688" y="92538"/>
                  </a:lnTo>
                  <a:lnTo>
                    <a:pt x="238825" y="187018"/>
                  </a:lnTo>
                  <a:lnTo>
                    <a:pt x="218921" y="185365"/>
                  </a:lnTo>
                  <a:lnTo>
                    <a:pt x="208380" y="202761"/>
                  </a:lnTo>
                  <a:lnTo>
                    <a:pt x="202276" y="217316"/>
                  </a:lnTo>
                  <a:lnTo>
                    <a:pt x="207089" y="222817"/>
                  </a:lnTo>
                  <a:lnTo>
                    <a:pt x="199501" y="230033"/>
                  </a:lnTo>
                  <a:lnTo>
                    <a:pt x="202116" y="239768"/>
                  </a:lnTo>
                  <a:lnTo>
                    <a:pt x="196138" y="249555"/>
                  </a:lnTo>
                  <a:lnTo>
                    <a:pt x="193812" y="258169"/>
                  </a:lnTo>
                  <a:lnTo>
                    <a:pt x="201918" y="256812"/>
                  </a:lnTo>
                  <a:lnTo>
                    <a:pt x="206757" y="265854"/>
                  </a:lnTo>
                  <a:lnTo>
                    <a:pt x="207012" y="279452"/>
                  </a:lnTo>
                  <a:lnTo>
                    <a:pt x="215496" y="286345"/>
                  </a:lnTo>
                  <a:lnTo>
                    <a:pt x="215218" y="292005"/>
                  </a:lnTo>
                  <a:lnTo>
                    <a:pt x="200605" y="295989"/>
                  </a:lnTo>
                  <a:lnTo>
                    <a:pt x="188895" y="305440"/>
                  </a:lnTo>
                  <a:lnTo>
                    <a:pt x="172208" y="330874"/>
                  </a:lnTo>
                  <a:lnTo>
                    <a:pt x="150483" y="341657"/>
                  </a:lnTo>
                  <a:lnTo>
                    <a:pt x="128192" y="340211"/>
                  </a:lnTo>
                  <a:lnTo>
                    <a:pt x="121683" y="342350"/>
                  </a:lnTo>
                  <a:lnTo>
                    <a:pt x="123968" y="350538"/>
                  </a:lnTo>
                  <a:lnTo>
                    <a:pt x="111931" y="358663"/>
                  </a:lnTo>
                  <a:lnTo>
                    <a:pt x="102130" y="367733"/>
                  </a:lnTo>
                  <a:lnTo>
                    <a:pt x="73070" y="376615"/>
                  </a:lnTo>
                  <a:lnTo>
                    <a:pt x="67304" y="371358"/>
                  </a:lnTo>
                  <a:lnTo>
                    <a:pt x="63481" y="370905"/>
                  </a:lnTo>
                  <a:lnTo>
                    <a:pt x="59227" y="376876"/>
                  </a:lnTo>
                  <a:lnTo>
                    <a:pt x="40142" y="378620"/>
                  </a:lnTo>
                  <a:lnTo>
                    <a:pt x="43758" y="372332"/>
                  </a:lnTo>
                  <a:lnTo>
                    <a:pt x="36481" y="356320"/>
                  </a:lnTo>
                  <a:lnTo>
                    <a:pt x="33230" y="346696"/>
                  </a:lnTo>
                  <a:lnTo>
                    <a:pt x="23177" y="342747"/>
                  </a:lnTo>
                  <a:lnTo>
                    <a:pt x="9552" y="329162"/>
                  </a:lnTo>
                  <a:lnTo>
                    <a:pt x="14567" y="318167"/>
                  </a:lnTo>
                  <a:lnTo>
                    <a:pt x="25086" y="320508"/>
                  </a:lnTo>
                  <a:lnTo>
                    <a:pt x="31599" y="318849"/>
                  </a:lnTo>
                  <a:lnTo>
                    <a:pt x="44491" y="319077"/>
                  </a:lnTo>
                  <a:lnTo>
                    <a:pt x="31927" y="297870"/>
                  </a:lnTo>
                  <a:lnTo>
                    <a:pt x="32772" y="282347"/>
                  </a:lnTo>
                  <a:lnTo>
                    <a:pt x="31230" y="26681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0" name="Freeform 154">
              <a:extLst>
                <a:ext uri="{FF2B5EF4-FFF2-40B4-BE49-F238E27FC236}">
                  <a16:creationId xmlns:a16="http://schemas.microsoft.com/office/drawing/2014/main" id="{DB67EE1A-A57D-4CCC-96A9-CE835345C7D3}"/>
                </a:ext>
              </a:extLst>
            </p:cNvPr>
            <p:cNvSpPr>
              <a:spLocks noChangeAspect="1"/>
            </p:cNvSpPr>
            <p:nvPr>
              <p:custDataLst>
                <p:tags r:id="rId162"/>
              </p:custDataLst>
            </p:nvPr>
          </p:nvSpPr>
          <p:spPr>
            <a:xfrm>
              <a:off x="4359537" y="4272621"/>
              <a:ext cx="44205" cy="118341"/>
            </a:xfrm>
            <a:custGeom>
              <a:avLst/>
              <a:gdLst/>
              <a:ahLst/>
              <a:cxnLst/>
              <a:rect l="0" t="0" r="0" b="0"/>
              <a:pathLst>
                <a:path w="44205" h="118341">
                  <a:moveTo>
                    <a:pt x="44204" y="113398"/>
                  </a:moveTo>
                  <a:lnTo>
                    <a:pt x="25620" y="118340"/>
                  </a:lnTo>
                  <a:lnTo>
                    <a:pt x="20468" y="110205"/>
                  </a:lnTo>
                  <a:lnTo>
                    <a:pt x="14315" y="95499"/>
                  </a:lnTo>
                  <a:lnTo>
                    <a:pt x="12482" y="83960"/>
                  </a:lnTo>
                  <a:lnTo>
                    <a:pt x="17585" y="63043"/>
                  </a:lnTo>
                  <a:lnTo>
                    <a:pt x="11795" y="54564"/>
                  </a:lnTo>
                  <a:lnTo>
                    <a:pt x="9596" y="36233"/>
                  </a:lnTo>
                  <a:lnTo>
                    <a:pt x="9634" y="19311"/>
                  </a:lnTo>
                  <a:lnTo>
                    <a:pt x="0" y="7279"/>
                  </a:lnTo>
                  <a:lnTo>
                    <a:pt x="1699" y="0"/>
                  </a:lnTo>
                  <a:lnTo>
                    <a:pt x="21914" y="498"/>
                  </a:lnTo>
                  <a:lnTo>
                    <a:pt x="18977" y="12790"/>
                  </a:lnTo>
                  <a:lnTo>
                    <a:pt x="26028" y="19675"/>
                  </a:lnTo>
                  <a:lnTo>
                    <a:pt x="34044" y="27838"/>
                  </a:lnTo>
                  <a:lnTo>
                    <a:pt x="34920" y="39269"/>
                  </a:lnTo>
                  <a:lnTo>
                    <a:pt x="39570" y="44064"/>
                  </a:lnTo>
                  <a:lnTo>
                    <a:pt x="38519" y="9740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1" name="Freeform 155">
              <a:extLst>
                <a:ext uri="{FF2B5EF4-FFF2-40B4-BE49-F238E27FC236}">
                  <a16:creationId xmlns:a16="http://schemas.microsoft.com/office/drawing/2014/main" id="{FE6CE4E6-2815-41F1-8D47-ED9D180D04CA}"/>
                </a:ext>
              </a:extLst>
            </p:cNvPr>
            <p:cNvSpPr>
              <a:spLocks noChangeAspect="1"/>
            </p:cNvSpPr>
            <p:nvPr>
              <p:custDataLst>
                <p:tags r:id="rId163"/>
              </p:custDataLst>
            </p:nvPr>
          </p:nvSpPr>
          <p:spPr>
            <a:xfrm>
              <a:off x="6608383" y="4050155"/>
              <a:ext cx="189582" cy="346306"/>
            </a:xfrm>
            <a:custGeom>
              <a:avLst/>
              <a:gdLst/>
              <a:ahLst/>
              <a:cxnLst/>
              <a:rect l="0" t="0" r="0" b="0"/>
              <a:pathLst>
                <a:path w="189582" h="346306">
                  <a:moveTo>
                    <a:pt x="120238" y="195149"/>
                  </a:moveTo>
                  <a:lnTo>
                    <a:pt x="99515" y="184389"/>
                  </a:lnTo>
                  <a:lnTo>
                    <a:pt x="79772" y="184827"/>
                  </a:lnTo>
                  <a:lnTo>
                    <a:pt x="83157" y="166388"/>
                  </a:lnTo>
                  <a:lnTo>
                    <a:pt x="62828" y="166526"/>
                  </a:lnTo>
                  <a:lnTo>
                    <a:pt x="61004" y="192329"/>
                  </a:lnTo>
                  <a:lnTo>
                    <a:pt x="48543" y="226490"/>
                  </a:lnTo>
                  <a:lnTo>
                    <a:pt x="41037" y="247096"/>
                  </a:lnTo>
                  <a:lnTo>
                    <a:pt x="42622" y="263955"/>
                  </a:lnTo>
                  <a:lnTo>
                    <a:pt x="57659" y="264686"/>
                  </a:lnTo>
                  <a:lnTo>
                    <a:pt x="67026" y="285912"/>
                  </a:lnTo>
                  <a:lnTo>
                    <a:pt x="71172" y="306013"/>
                  </a:lnTo>
                  <a:lnTo>
                    <a:pt x="84053" y="319298"/>
                  </a:lnTo>
                  <a:lnTo>
                    <a:pt x="98036" y="321994"/>
                  </a:lnTo>
                  <a:lnTo>
                    <a:pt x="109995" y="334023"/>
                  </a:lnTo>
                  <a:lnTo>
                    <a:pt x="102449" y="343539"/>
                  </a:lnTo>
                  <a:lnTo>
                    <a:pt x="87214" y="346305"/>
                  </a:lnTo>
                  <a:lnTo>
                    <a:pt x="85397" y="334411"/>
                  </a:lnTo>
                  <a:lnTo>
                    <a:pt x="66563" y="324261"/>
                  </a:lnTo>
                  <a:lnTo>
                    <a:pt x="62550" y="328395"/>
                  </a:lnTo>
                  <a:lnTo>
                    <a:pt x="53431" y="319499"/>
                  </a:lnTo>
                  <a:lnTo>
                    <a:pt x="49483" y="308011"/>
                  </a:lnTo>
                  <a:lnTo>
                    <a:pt x="37218" y="294906"/>
                  </a:lnTo>
                  <a:lnTo>
                    <a:pt x="26035" y="283886"/>
                  </a:lnTo>
                  <a:lnTo>
                    <a:pt x="22246" y="297541"/>
                  </a:lnTo>
                  <a:lnTo>
                    <a:pt x="17868" y="284637"/>
                  </a:lnTo>
                  <a:lnTo>
                    <a:pt x="20388" y="270129"/>
                  </a:lnTo>
                  <a:lnTo>
                    <a:pt x="27183" y="247798"/>
                  </a:lnTo>
                  <a:lnTo>
                    <a:pt x="38369" y="223824"/>
                  </a:lnTo>
                  <a:lnTo>
                    <a:pt x="51045" y="202028"/>
                  </a:lnTo>
                  <a:lnTo>
                    <a:pt x="42020" y="180660"/>
                  </a:lnTo>
                  <a:lnTo>
                    <a:pt x="42382" y="169757"/>
                  </a:lnTo>
                  <a:lnTo>
                    <a:pt x="39745" y="156638"/>
                  </a:lnTo>
                  <a:lnTo>
                    <a:pt x="24350" y="137930"/>
                  </a:lnTo>
                  <a:lnTo>
                    <a:pt x="18840" y="126096"/>
                  </a:lnTo>
                  <a:lnTo>
                    <a:pt x="26810" y="121733"/>
                  </a:lnTo>
                  <a:lnTo>
                    <a:pt x="35257" y="101171"/>
                  </a:lnTo>
                  <a:lnTo>
                    <a:pt x="25803" y="85523"/>
                  </a:lnTo>
                  <a:lnTo>
                    <a:pt x="11154" y="68172"/>
                  </a:lnTo>
                  <a:lnTo>
                    <a:pt x="0" y="47259"/>
                  </a:lnTo>
                  <a:lnTo>
                    <a:pt x="9738" y="42922"/>
                  </a:lnTo>
                  <a:lnTo>
                    <a:pt x="20262" y="17045"/>
                  </a:lnTo>
                  <a:lnTo>
                    <a:pt x="36558" y="15971"/>
                  </a:lnTo>
                  <a:lnTo>
                    <a:pt x="50029" y="5560"/>
                  </a:lnTo>
                  <a:lnTo>
                    <a:pt x="63249" y="0"/>
                  </a:lnTo>
                  <a:lnTo>
                    <a:pt x="73241" y="7419"/>
                  </a:lnTo>
                  <a:lnTo>
                    <a:pt x="74566" y="21837"/>
                  </a:lnTo>
                  <a:lnTo>
                    <a:pt x="90163" y="22933"/>
                  </a:lnTo>
                  <a:lnTo>
                    <a:pt x="84483" y="48131"/>
                  </a:lnTo>
                  <a:lnTo>
                    <a:pt x="85029" y="69491"/>
                  </a:lnTo>
                  <a:lnTo>
                    <a:pt x="109359" y="55282"/>
                  </a:lnTo>
                  <a:lnTo>
                    <a:pt x="116269" y="59485"/>
                  </a:lnTo>
                  <a:lnTo>
                    <a:pt x="129789" y="58796"/>
                  </a:lnTo>
                  <a:lnTo>
                    <a:pt x="134440" y="50500"/>
                  </a:lnTo>
                  <a:lnTo>
                    <a:pt x="151897" y="52138"/>
                  </a:lnTo>
                  <a:lnTo>
                    <a:pt x="169451" y="71480"/>
                  </a:lnTo>
                  <a:lnTo>
                    <a:pt x="170891" y="94915"/>
                  </a:lnTo>
                  <a:lnTo>
                    <a:pt x="189581" y="115546"/>
                  </a:lnTo>
                  <a:lnTo>
                    <a:pt x="188549" y="135528"/>
                  </a:lnTo>
                  <a:lnTo>
                    <a:pt x="181034" y="146149"/>
                  </a:lnTo>
                  <a:lnTo>
                    <a:pt x="159398" y="142768"/>
                  </a:lnTo>
                  <a:lnTo>
                    <a:pt x="129551" y="147267"/>
                  </a:lnTo>
                  <a:lnTo>
                    <a:pt x="114772" y="1668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2" name="Freeform 156">
              <a:extLst>
                <a:ext uri="{FF2B5EF4-FFF2-40B4-BE49-F238E27FC236}">
                  <a16:creationId xmlns:a16="http://schemas.microsoft.com/office/drawing/2014/main" id="{608823FC-7A07-43C1-8E21-0608F92100DF}"/>
                </a:ext>
              </a:extLst>
            </p:cNvPr>
            <p:cNvSpPr>
              <a:spLocks noChangeAspect="1"/>
            </p:cNvSpPr>
            <p:nvPr>
              <p:custDataLst>
                <p:tags r:id="rId164"/>
              </p:custDataLst>
            </p:nvPr>
          </p:nvSpPr>
          <p:spPr>
            <a:xfrm>
              <a:off x="5917433" y="3526296"/>
              <a:ext cx="173993" cy="113820"/>
            </a:xfrm>
            <a:custGeom>
              <a:avLst/>
              <a:gdLst/>
              <a:ahLst/>
              <a:cxnLst/>
              <a:rect l="0" t="0" r="0" b="0"/>
              <a:pathLst>
                <a:path w="173993" h="113820">
                  <a:moveTo>
                    <a:pt x="82451" y="19589"/>
                  </a:moveTo>
                  <a:lnTo>
                    <a:pt x="73999" y="27995"/>
                  </a:lnTo>
                  <a:lnTo>
                    <a:pt x="48875" y="23437"/>
                  </a:lnTo>
                  <a:lnTo>
                    <a:pt x="46689" y="39103"/>
                  </a:lnTo>
                  <a:lnTo>
                    <a:pt x="71717" y="37002"/>
                  </a:lnTo>
                  <a:lnTo>
                    <a:pt x="100236" y="45798"/>
                  </a:lnTo>
                  <a:lnTo>
                    <a:pt x="143878" y="41690"/>
                  </a:lnTo>
                  <a:lnTo>
                    <a:pt x="149729" y="66657"/>
                  </a:lnTo>
                  <a:lnTo>
                    <a:pt x="157316" y="63950"/>
                  </a:lnTo>
                  <a:lnTo>
                    <a:pt x="171334" y="70067"/>
                  </a:lnTo>
                  <a:lnTo>
                    <a:pt x="170530" y="80489"/>
                  </a:lnTo>
                  <a:lnTo>
                    <a:pt x="173992" y="95707"/>
                  </a:lnTo>
                  <a:lnTo>
                    <a:pt x="150187" y="95665"/>
                  </a:lnTo>
                  <a:lnTo>
                    <a:pt x="134291" y="93702"/>
                  </a:lnTo>
                  <a:lnTo>
                    <a:pt x="119907" y="105613"/>
                  </a:lnTo>
                  <a:lnTo>
                    <a:pt x="109662" y="108248"/>
                  </a:lnTo>
                  <a:lnTo>
                    <a:pt x="101620" y="113819"/>
                  </a:lnTo>
                  <a:lnTo>
                    <a:pt x="92480" y="105132"/>
                  </a:lnTo>
                  <a:lnTo>
                    <a:pt x="94632" y="82742"/>
                  </a:lnTo>
                  <a:lnTo>
                    <a:pt x="87650" y="81472"/>
                  </a:lnTo>
                  <a:lnTo>
                    <a:pt x="90159" y="73285"/>
                  </a:lnTo>
                  <a:lnTo>
                    <a:pt x="77664" y="67182"/>
                  </a:lnTo>
                  <a:lnTo>
                    <a:pt x="67727" y="76516"/>
                  </a:lnTo>
                  <a:lnTo>
                    <a:pt x="65286" y="87302"/>
                  </a:lnTo>
                  <a:lnTo>
                    <a:pt x="61732" y="91223"/>
                  </a:lnTo>
                  <a:lnTo>
                    <a:pt x="47933" y="90669"/>
                  </a:lnTo>
                  <a:lnTo>
                    <a:pt x="40489" y="102861"/>
                  </a:lnTo>
                  <a:lnTo>
                    <a:pt x="32714" y="97722"/>
                  </a:lnTo>
                  <a:lnTo>
                    <a:pt x="16004" y="106262"/>
                  </a:lnTo>
                  <a:lnTo>
                    <a:pt x="8951" y="103024"/>
                  </a:lnTo>
                  <a:lnTo>
                    <a:pt x="21925" y="76017"/>
                  </a:lnTo>
                  <a:lnTo>
                    <a:pt x="16938" y="56004"/>
                  </a:lnTo>
                  <a:lnTo>
                    <a:pt x="0" y="49564"/>
                  </a:lnTo>
                  <a:lnTo>
                    <a:pt x="5984" y="37645"/>
                  </a:lnTo>
                  <a:lnTo>
                    <a:pt x="25257" y="38920"/>
                  </a:lnTo>
                  <a:lnTo>
                    <a:pt x="36227" y="23901"/>
                  </a:lnTo>
                  <a:lnTo>
                    <a:pt x="43564" y="6373"/>
                  </a:lnTo>
                  <a:lnTo>
                    <a:pt x="74428" y="0"/>
                  </a:lnTo>
                  <a:lnTo>
                    <a:pt x="69616" y="12704"/>
                  </a:lnTo>
                  <a:lnTo>
                    <a:pt x="72923" y="2029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3" name="Freeform 157">
              <a:extLst>
                <a:ext uri="{FF2B5EF4-FFF2-40B4-BE49-F238E27FC236}">
                  <a16:creationId xmlns:a16="http://schemas.microsoft.com/office/drawing/2014/main" id="{BCA003B4-027E-4DEA-AC83-293E70114E2A}"/>
                </a:ext>
              </a:extLst>
            </p:cNvPr>
            <p:cNvSpPr>
              <a:spLocks noChangeAspect="1"/>
            </p:cNvSpPr>
            <p:nvPr>
              <p:custDataLst>
                <p:tags r:id="rId165"/>
              </p:custDataLst>
            </p:nvPr>
          </p:nvSpPr>
          <p:spPr>
            <a:xfrm>
              <a:off x="5572584" y="3476717"/>
              <a:ext cx="324167" cy="202057"/>
            </a:xfrm>
            <a:custGeom>
              <a:avLst/>
              <a:gdLst/>
              <a:ahLst/>
              <a:cxnLst/>
              <a:rect l="0" t="0" r="0" b="0"/>
              <a:pathLst>
                <a:path w="324167" h="202057">
                  <a:moveTo>
                    <a:pt x="201012" y="192103"/>
                  </a:moveTo>
                  <a:lnTo>
                    <a:pt x="198987" y="169924"/>
                  </a:lnTo>
                  <a:lnTo>
                    <a:pt x="181780" y="168978"/>
                  </a:lnTo>
                  <a:lnTo>
                    <a:pt x="155399" y="145473"/>
                  </a:lnTo>
                  <a:lnTo>
                    <a:pt x="136965" y="142560"/>
                  </a:lnTo>
                  <a:lnTo>
                    <a:pt x="111442" y="129018"/>
                  </a:lnTo>
                  <a:lnTo>
                    <a:pt x="95029" y="126550"/>
                  </a:lnTo>
                  <a:lnTo>
                    <a:pt x="84896" y="131536"/>
                  </a:lnTo>
                  <a:lnTo>
                    <a:pt x="69458" y="130761"/>
                  </a:lnTo>
                  <a:lnTo>
                    <a:pt x="53040" y="146020"/>
                  </a:lnTo>
                  <a:lnTo>
                    <a:pt x="32757" y="151170"/>
                  </a:lnTo>
                  <a:lnTo>
                    <a:pt x="28462" y="132312"/>
                  </a:lnTo>
                  <a:lnTo>
                    <a:pt x="31818" y="104220"/>
                  </a:lnTo>
                  <a:lnTo>
                    <a:pt x="13816" y="95076"/>
                  </a:lnTo>
                  <a:lnTo>
                    <a:pt x="19743" y="76499"/>
                  </a:lnTo>
                  <a:lnTo>
                    <a:pt x="4421" y="74910"/>
                  </a:lnTo>
                  <a:lnTo>
                    <a:pt x="9528" y="51876"/>
                  </a:lnTo>
                  <a:lnTo>
                    <a:pt x="31293" y="58602"/>
                  </a:lnTo>
                  <a:lnTo>
                    <a:pt x="51575" y="49832"/>
                  </a:lnTo>
                  <a:lnTo>
                    <a:pt x="34759" y="33313"/>
                  </a:lnTo>
                  <a:lnTo>
                    <a:pt x="28144" y="17485"/>
                  </a:lnTo>
                  <a:lnTo>
                    <a:pt x="9562" y="24554"/>
                  </a:lnTo>
                  <a:lnTo>
                    <a:pt x="7207" y="44767"/>
                  </a:lnTo>
                  <a:lnTo>
                    <a:pt x="0" y="26900"/>
                  </a:lnTo>
                  <a:lnTo>
                    <a:pt x="10198" y="17684"/>
                  </a:lnTo>
                  <a:lnTo>
                    <a:pt x="36400" y="11905"/>
                  </a:lnTo>
                  <a:lnTo>
                    <a:pt x="52003" y="19682"/>
                  </a:lnTo>
                  <a:lnTo>
                    <a:pt x="68158" y="41343"/>
                  </a:lnTo>
                  <a:lnTo>
                    <a:pt x="79998" y="40000"/>
                  </a:lnTo>
                  <a:lnTo>
                    <a:pt x="106040" y="39623"/>
                  </a:lnTo>
                  <a:lnTo>
                    <a:pt x="102250" y="25718"/>
                  </a:lnTo>
                  <a:lnTo>
                    <a:pt x="121970" y="16171"/>
                  </a:lnTo>
                  <a:lnTo>
                    <a:pt x="141417" y="0"/>
                  </a:lnTo>
                  <a:lnTo>
                    <a:pt x="172519" y="14712"/>
                  </a:lnTo>
                  <a:lnTo>
                    <a:pt x="174986" y="36790"/>
                  </a:lnTo>
                  <a:lnTo>
                    <a:pt x="183819" y="42431"/>
                  </a:lnTo>
                  <a:lnTo>
                    <a:pt x="208776" y="41164"/>
                  </a:lnTo>
                  <a:lnTo>
                    <a:pt x="216521" y="46156"/>
                  </a:lnTo>
                  <a:lnTo>
                    <a:pt x="227867" y="74359"/>
                  </a:lnTo>
                  <a:lnTo>
                    <a:pt x="254268" y="93110"/>
                  </a:lnTo>
                  <a:lnTo>
                    <a:pt x="269323" y="105829"/>
                  </a:lnTo>
                  <a:lnTo>
                    <a:pt x="293462" y="119006"/>
                  </a:lnTo>
                  <a:lnTo>
                    <a:pt x="324166" y="130478"/>
                  </a:lnTo>
                  <a:lnTo>
                    <a:pt x="323530" y="146810"/>
                  </a:lnTo>
                  <a:lnTo>
                    <a:pt x="316577" y="145984"/>
                  </a:lnTo>
                  <a:lnTo>
                    <a:pt x="305687" y="138856"/>
                  </a:lnTo>
                  <a:lnTo>
                    <a:pt x="302071" y="148342"/>
                  </a:lnTo>
                  <a:lnTo>
                    <a:pt x="282616" y="153485"/>
                  </a:lnTo>
                  <a:lnTo>
                    <a:pt x="278008" y="174668"/>
                  </a:lnTo>
                  <a:lnTo>
                    <a:pt x="264999" y="182688"/>
                  </a:lnTo>
                  <a:lnTo>
                    <a:pt x="246779" y="186658"/>
                  </a:lnTo>
                  <a:lnTo>
                    <a:pt x="241957" y="198561"/>
                  </a:lnTo>
                  <a:lnTo>
                    <a:pt x="224552" y="20205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4" name="Freeform 158">
              <a:extLst>
                <a:ext uri="{FF2B5EF4-FFF2-40B4-BE49-F238E27FC236}">
                  <a16:creationId xmlns:a16="http://schemas.microsoft.com/office/drawing/2014/main" id="{D8D300E8-48AC-4044-AFCC-F6B5DF75A026}"/>
                </a:ext>
              </a:extLst>
            </p:cNvPr>
            <p:cNvSpPr>
              <a:spLocks noChangeAspect="1"/>
            </p:cNvSpPr>
            <p:nvPr>
              <p:custDataLst>
                <p:tags r:id="rId166"/>
              </p:custDataLst>
            </p:nvPr>
          </p:nvSpPr>
          <p:spPr>
            <a:xfrm>
              <a:off x="7245298" y="4719368"/>
              <a:ext cx="54643" cy="26048"/>
            </a:xfrm>
            <a:custGeom>
              <a:avLst/>
              <a:gdLst/>
              <a:ahLst/>
              <a:cxnLst/>
              <a:rect l="0" t="0" r="0" b="0"/>
              <a:pathLst>
                <a:path w="54643" h="26048">
                  <a:moveTo>
                    <a:pt x="0" y="14402"/>
                  </a:moveTo>
                  <a:lnTo>
                    <a:pt x="2714" y="8915"/>
                  </a:lnTo>
                  <a:lnTo>
                    <a:pt x="22584" y="3689"/>
                  </a:lnTo>
                  <a:lnTo>
                    <a:pt x="38688" y="2902"/>
                  </a:lnTo>
                  <a:lnTo>
                    <a:pt x="45901" y="0"/>
                  </a:lnTo>
                  <a:lnTo>
                    <a:pt x="54642" y="2881"/>
                  </a:lnTo>
                  <a:lnTo>
                    <a:pt x="46150" y="9179"/>
                  </a:lnTo>
                  <a:lnTo>
                    <a:pt x="22095" y="19362"/>
                  </a:lnTo>
                  <a:lnTo>
                    <a:pt x="2767" y="26047"/>
                  </a:lnTo>
                  <a:lnTo>
                    <a:pt x="2339" y="1898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5" name="Freeform 159">
              <a:extLst>
                <a:ext uri="{FF2B5EF4-FFF2-40B4-BE49-F238E27FC236}">
                  <a16:creationId xmlns:a16="http://schemas.microsoft.com/office/drawing/2014/main" id="{360FBF5D-5751-4CDD-B82A-1AF87540548A}"/>
                </a:ext>
              </a:extLst>
            </p:cNvPr>
            <p:cNvSpPr>
              <a:spLocks noChangeAspect="1"/>
            </p:cNvSpPr>
            <p:nvPr>
              <p:custDataLst>
                <p:tags r:id="rId167"/>
              </p:custDataLst>
            </p:nvPr>
          </p:nvSpPr>
          <p:spPr>
            <a:xfrm>
              <a:off x="4534372" y="3623867"/>
              <a:ext cx="91507" cy="182659"/>
            </a:xfrm>
            <a:custGeom>
              <a:avLst/>
              <a:gdLst/>
              <a:ahLst/>
              <a:cxnLst/>
              <a:rect l="0" t="0" r="0" b="0"/>
              <a:pathLst>
                <a:path w="91507" h="182659">
                  <a:moveTo>
                    <a:pt x="45188" y="182658"/>
                  </a:moveTo>
                  <a:lnTo>
                    <a:pt x="35342" y="136950"/>
                  </a:lnTo>
                  <a:lnTo>
                    <a:pt x="21112" y="126598"/>
                  </a:lnTo>
                  <a:lnTo>
                    <a:pt x="20912" y="120377"/>
                  </a:lnTo>
                  <a:lnTo>
                    <a:pt x="2034" y="105018"/>
                  </a:lnTo>
                  <a:lnTo>
                    <a:pt x="0" y="85508"/>
                  </a:lnTo>
                  <a:lnTo>
                    <a:pt x="14230" y="70993"/>
                  </a:lnTo>
                  <a:lnTo>
                    <a:pt x="19664" y="49421"/>
                  </a:lnTo>
                  <a:lnTo>
                    <a:pt x="16004" y="24318"/>
                  </a:lnTo>
                  <a:lnTo>
                    <a:pt x="20693" y="10727"/>
                  </a:lnTo>
                  <a:lnTo>
                    <a:pt x="45831" y="0"/>
                  </a:lnTo>
                  <a:lnTo>
                    <a:pt x="61989" y="3193"/>
                  </a:lnTo>
                  <a:lnTo>
                    <a:pt x="61311" y="16623"/>
                  </a:lnTo>
                  <a:lnTo>
                    <a:pt x="80890" y="6859"/>
                  </a:lnTo>
                  <a:lnTo>
                    <a:pt x="82533" y="11958"/>
                  </a:lnTo>
                  <a:lnTo>
                    <a:pt x="70991" y="24931"/>
                  </a:lnTo>
                  <a:lnTo>
                    <a:pt x="70836" y="37132"/>
                  </a:lnTo>
                  <a:lnTo>
                    <a:pt x="78828" y="43668"/>
                  </a:lnTo>
                  <a:lnTo>
                    <a:pt x="75788" y="66339"/>
                  </a:lnTo>
                  <a:lnTo>
                    <a:pt x="60594" y="79441"/>
                  </a:lnTo>
                  <a:lnTo>
                    <a:pt x="64981" y="93593"/>
                  </a:lnTo>
                  <a:lnTo>
                    <a:pt x="76919" y="94033"/>
                  </a:lnTo>
                  <a:lnTo>
                    <a:pt x="82728" y="106330"/>
                  </a:lnTo>
                  <a:lnTo>
                    <a:pt x="91506" y="110365"/>
                  </a:lnTo>
                  <a:lnTo>
                    <a:pt x="90202" y="130125"/>
                  </a:lnTo>
                  <a:lnTo>
                    <a:pt x="78950" y="137484"/>
                  </a:lnTo>
                  <a:lnTo>
                    <a:pt x="71843" y="145681"/>
                  </a:lnTo>
                  <a:lnTo>
                    <a:pt x="55992" y="155515"/>
                  </a:lnTo>
                  <a:lnTo>
                    <a:pt x="58447" y="166060"/>
                  </a:lnTo>
                  <a:lnTo>
                    <a:pt x="56449" y="17678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6" name="Freeform 160">
              <a:extLst>
                <a:ext uri="{FF2B5EF4-FFF2-40B4-BE49-F238E27FC236}">
                  <a16:creationId xmlns:a16="http://schemas.microsoft.com/office/drawing/2014/main" id="{45BEB37A-E4A5-4B03-9E06-FF683952C2CA}"/>
                </a:ext>
              </a:extLst>
            </p:cNvPr>
            <p:cNvSpPr>
              <a:spLocks noChangeAspect="1"/>
            </p:cNvSpPr>
            <p:nvPr>
              <p:custDataLst>
                <p:tags r:id="rId168"/>
              </p:custDataLst>
            </p:nvPr>
          </p:nvSpPr>
          <p:spPr>
            <a:xfrm>
              <a:off x="4961837" y="3493694"/>
              <a:ext cx="432815" cy="170618"/>
            </a:xfrm>
            <a:custGeom>
              <a:avLst/>
              <a:gdLst/>
              <a:ahLst/>
              <a:cxnLst/>
              <a:rect l="l" t="t" r="r" b="b"/>
              <a:pathLst>
                <a:path w="432815" h="170618">
                  <a:moveTo>
                    <a:pt x="210614" y="2808"/>
                  </a:moveTo>
                  <a:lnTo>
                    <a:pt x="250903" y="22286"/>
                  </a:lnTo>
                  <a:lnTo>
                    <a:pt x="284016" y="32921"/>
                  </a:lnTo>
                  <a:lnTo>
                    <a:pt x="310906" y="28686"/>
                  </a:lnTo>
                  <a:lnTo>
                    <a:pt x="330776" y="31134"/>
                  </a:lnTo>
                  <a:lnTo>
                    <a:pt x="358029" y="16764"/>
                  </a:lnTo>
                  <a:lnTo>
                    <a:pt x="382623" y="15452"/>
                  </a:lnTo>
                  <a:lnTo>
                    <a:pt x="404856" y="28978"/>
                  </a:lnTo>
                  <a:lnTo>
                    <a:pt x="408778" y="38635"/>
                  </a:lnTo>
                  <a:lnTo>
                    <a:pt x="406557" y="51939"/>
                  </a:lnTo>
                  <a:lnTo>
                    <a:pt x="423721" y="58712"/>
                  </a:lnTo>
                  <a:lnTo>
                    <a:pt x="432815" y="66650"/>
                  </a:lnTo>
                  <a:lnTo>
                    <a:pt x="417008" y="74375"/>
                  </a:lnTo>
                  <a:lnTo>
                    <a:pt x="424214" y="105286"/>
                  </a:lnTo>
                  <a:lnTo>
                    <a:pt x="419698" y="113583"/>
                  </a:lnTo>
                  <a:lnTo>
                    <a:pt x="432323" y="134949"/>
                  </a:lnTo>
                  <a:lnTo>
                    <a:pt x="421261" y="139436"/>
                  </a:lnTo>
                  <a:lnTo>
                    <a:pt x="413154" y="132667"/>
                  </a:lnTo>
                  <a:lnTo>
                    <a:pt x="386306" y="129233"/>
                  </a:lnTo>
                  <a:lnTo>
                    <a:pt x="376391" y="133368"/>
                  </a:lnTo>
                  <a:lnTo>
                    <a:pt x="350135" y="137502"/>
                  </a:lnTo>
                  <a:lnTo>
                    <a:pt x="337697" y="137052"/>
                  </a:lnTo>
                  <a:lnTo>
                    <a:pt x="311136" y="147006"/>
                  </a:lnTo>
                  <a:lnTo>
                    <a:pt x="292147" y="147089"/>
                  </a:lnTo>
                  <a:lnTo>
                    <a:pt x="279863" y="142098"/>
                  </a:lnTo>
                  <a:lnTo>
                    <a:pt x="254450" y="149469"/>
                  </a:lnTo>
                  <a:lnTo>
                    <a:pt x="246895" y="144317"/>
                  </a:lnTo>
                  <a:lnTo>
                    <a:pt x="245646" y="159072"/>
                  </a:lnTo>
                  <a:lnTo>
                    <a:pt x="239464" y="164850"/>
                  </a:lnTo>
                  <a:lnTo>
                    <a:pt x="233283" y="170618"/>
                  </a:lnTo>
                  <a:lnTo>
                    <a:pt x="224796" y="158668"/>
                  </a:lnTo>
                  <a:lnTo>
                    <a:pt x="233538" y="148739"/>
                  </a:lnTo>
                  <a:lnTo>
                    <a:pt x="219460" y="150993"/>
                  </a:lnTo>
                  <a:lnTo>
                    <a:pt x="200154" y="144900"/>
                  </a:lnTo>
                  <a:lnTo>
                    <a:pt x="184281" y="160121"/>
                  </a:lnTo>
                  <a:lnTo>
                    <a:pt x="149248" y="163085"/>
                  </a:lnTo>
                  <a:lnTo>
                    <a:pt x="130561" y="148907"/>
                  </a:lnTo>
                  <a:lnTo>
                    <a:pt x="105678" y="148018"/>
                  </a:lnTo>
                  <a:lnTo>
                    <a:pt x="100357" y="158986"/>
                  </a:lnTo>
                  <a:lnTo>
                    <a:pt x="84404" y="162115"/>
                  </a:lnTo>
                  <a:lnTo>
                    <a:pt x="62082" y="148045"/>
                  </a:lnTo>
                  <a:lnTo>
                    <a:pt x="36882" y="148522"/>
                  </a:lnTo>
                  <a:lnTo>
                    <a:pt x="23208" y="122086"/>
                  </a:lnTo>
                  <a:lnTo>
                    <a:pt x="6344" y="107248"/>
                  </a:lnTo>
                  <a:lnTo>
                    <a:pt x="17574" y="86334"/>
                  </a:lnTo>
                  <a:lnTo>
                    <a:pt x="2941" y="73414"/>
                  </a:lnTo>
                  <a:lnTo>
                    <a:pt x="28545" y="47395"/>
                  </a:lnTo>
                  <a:lnTo>
                    <a:pt x="64091" y="46302"/>
                  </a:lnTo>
                  <a:lnTo>
                    <a:pt x="73787" y="25462"/>
                  </a:lnTo>
                  <a:lnTo>
                    <a:pt x="117781" y="29102"/>
                  </a:lnTo>
                  <a:lnTo>
                    <a:pt x="145528" y="11223"/>
                  </a:lnTo>
                  <a:lnTo>
                    <a:pt x="172426" y="3398"/>
                  </a:lnTo>
                  <a:close/>
                  <a:moveTo>
                    <a:pt x="25215" y="0"/>
                  </a:moveTo>
                  <a:lnTo>
                    <a:pt x="45089" y="3719"/>
                  </a:lnTo>
                  <a:lnTo>
                    <a:pt x="47831" y="14356"/>
                  </a:lnTo>
                  <a:lnTo>
                    <a:pt x="67980" y="23262"/>
                  </a:lnTo>
                  <a:lnTo>
                    <a:pt x="63779" y="29999"/>
                  </a:lnTo>
                  <a:lnTo>
                    <a:pt x="36370" y="31514"/>
                  </a:lnTo>
                  <a:lnTo>
                    <a:pt x="26522" y="39995"/>
                  </a:lnTo>
                  <a:lnTo>
                    <a:pt x="7263" y="54708"/>
                  </a:lnTo>
                  <a:lnTo>
                    <a:pt x="0" y="41988"/>
                  </a:lnTo>
                  <a:lnTo>
                    <a:pt x="313" y="36335"/>
                  </a:lnTo>
                  <a:lnTo>
                    <a:pt x="5799" y="33259"/>
                  </a:lnTo>
                  <a:lnTo>
                    <a:pt x="12945" y="16034"/>
                  </a:lnTo>
                  <a:lnTo>
                    <a:pt x="1701" y="871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7" name="Freeform 161">
              <a:extLst>
                <a:ext uri="{FF2B5EF4-FFF2-40B4-BE49-F238E27FC236}">
                  <a16:creationId xmlns:a16="http://schemas.microsoft.com/office/drawing/2014/main" id="{3A972A6A-E7AA-4582-BAF2-7996A22C5531}"/>
                </a:ext>
              </a:extLst>
            </p:cNvPr>
            <p:cNvSpPr>
              <a:spLocks noChangeAspect="1"/>
            </p:cNvSpPr>
            <p:nvPr>
              <p:custDataLst>
                <p:tags r:id="rId169"/>
              </p:custDataLst>
            </p:nvPr>
          </p:nvSpPr>
          <p:spPr>
            <a:xfrm>
              <a:off x="7133058" y="3931551"/>
              <a:ext cx="42590" cy="81135"/>
            </a:xfrm>
            <a:custGeom>
              <a:avLst/>
              <a:gdLst/>
              <a:ahLst/>
              <a:cxnLst/>
              <a:rect l="0" t="0" r="0" b="0"/>
              <a:pathLst>
                <a:path w="42590" h="81135">
                  <a:moveTo>
                    <a:pt x="38586" y="22120"/>
                  </a:moveTo>
                  <a:lnTo>
                    <a:pt x="24686" y="61235"/>
                  </a:lnTo>
                  <a:lnTo>
                    <a:pt x="14794" y="81134"/>
                  </a:lnTo>
                  <a:lnTo>
                    <a:pt x="2630" y="60652"/>
                  </a:lnTo>
                  <a:lnTo>
                    <a:pt x="0" y="42601"/>
                  </a:lnTo>
                  <a:lnTo>
                    <a:pt x="13585" y="18588"/>
                  </a:lnTo>
                  <a:lnTo>
                    <a:pt x="32059" y="0"/>
                  </a:lnTo>
                  <a:lnTo>
                    <a:pt x="42589" y="732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8" name="Freeform 162">
              <a:extLst>
                <a:ext uri="{FF2B5EF4-FFF2-40B4-BE49-F238E27FC236}">
                  <a16:creationId xmlns:a16="http://schemas.microsoft.com/office/drawing/2014/main" id="{41A25AB6-8A76-4EC9-ACB1-CEBD0CFA25FF}"/>
                </a:ext>
              </a:extLst>
            </p:cNvPr>
            <p:cNvSpPr>
              <a:spLocks noChangeAspect="1"/>
            </p:cNvSpPr>
            <p:nvPr>
              <p:custDataLst>
                <p:tags r:id="rId170"/>
              </p:custDataLst>
            </p:nvPr>
          </p:nvSpPr>
          <p:spPr>
            <a:xfrm>
              <a:off x="5037932" y="4549900"/>
              <a:ext cx="253370" cy="249838"/>
            </a:xfrm>
            <a:custGeom>
              <a:avLst/>
              <a:gdLst/>
              <a:ahLst/>
              <a:cxnLst/>
              <a:rect l="0" t="0" r="0" b="0"/>
              <a:pathLst>
                <a:path w="253370" h="249838">
                  <a:moveTo>
                    <a:pt x="105343" y="0"/>
                  </a:moveTo>
                  <a:lnTo>
                    <a:pt x="109242" y="2535"/>
                  </a:lnTo>
                  <a:lnTo>
                    <a:pt x="192941" y="49580"/>
                  </a:lnTo>
                  <a:lnTo>
                    <a:pt x="194516" y="62985"/>
                  </a:lnTo>
                  <a:lnTo>
                    <a:pt x="227647" y="86100"/>
                  </a:lnTo>
                  <a:lnTo>
                    <a:pt x="216990" y="114620"/>
                  </a:lnTo>
                  <a:lnTo>
                    <a:pt x="218357" y="127750"/>
                  </a:lnTo>
                  <a:lnTo>
                    <a:pt x="233135" y="136197"/>
                  </a:lnTo>
                  <a:lnTo>
                    <a:pt x="233828" y="142227"/>
                  </a:lnTo>
                  <a:lnTo>
                    <a:pt x="227473" y="156241"/>
                  </a:lnTo>
                  <a:lnTo>
                    <a:pt x="228796" y="163299"/>
                  </a:lnTo>
                  <a:lnTo>
                    <a:pt x="227284" y="174399"/>
                  </a:lnTo>
                  <a:lnTo>
                    <a:pt x="235345" y="188978"/>
                  </a:lnTo>
                  <a:lnTo>
                    <a:pt x="244898" y="211945"/>
                  </a:lnTo>
                  <a:lnTo>
                    <a:pt x="253369" y="217045"/>
                  </a:lnTo>
                  <a:lnTo>
                    <a:pt x="235005" y="230576"/>
                  </a:lnTo>
                  <a:lnTo>
                    <a:pt x="209765" y="239648"/>
                  </a:lnTo>
                  <a:lnTo>
                    <a:pt x="195918" y="239264"/>
                  </a:lnTo>
                  <a:lnTo>
                    <a:pt x="187692" y="246277"/>
                  </a:lnTo>
                  <a:lnTo>
                    <a:pt x="171623" y="246880"/>
                  </a:lnTo>
                  <a:lnTo>
                    <a:pt x="165597" y="249837"/>
                  </a:lnTo>
                  <a:lnTo>
                    <a:pt x="137859" y="243247"/>
                  </a:lnTo>
                  <a:lnTo>
                    <a:pt x="120492" y="245138"/>
                  </a:lnTo>
                  <a:lnTo>
                    <a:pt x="114029" y="213381"/>
                  </a:lnTo>
                  <a:lnTo>
                    <a:pt x="106200" y="202513"/>
                  </a:lnTo>
                  <a:lnTo>
                    <a:pt x="101557" y="196073"/>
                  </a:lnTo>
                  <a:lnTo>
                    <a:pt x="78929" y="191730"/>
                  </a:lnTo>
                  <a:lnTo>
                    <a:pt x="65829" y="184744"/>
                  </a:lnTo>
                  <a:lnTo>
                    <a:pt x="51159" y="180829"/>
                  </a:lnTo>
                  <a:lnTo>
                    <a:pt x="41959" y="176934"/>
                  </a:lnTo>
                  <a:lnTo>
                    <a:pt x="32316" y="171016"/>
                  </a:lnTo>
                  <a:lnTo>
                    <a:pt x="19852" y="141763"/>
                  </a:lnTo>
                  <a:lnTo>
                    <a:pt x="6463" y="128778"/>
                  </a:lnTo>
                  <a:lnTo>
                    <a:pt x="1846" y="115339"/>
                  </a:lnTo>
                  <a:lnTo>
                    <a:pt x="4155" y="103298"/>
                  </a:lnTo>
                  <a:lnTo>
                    <a:pt x="0" y="82011"/>
                  </a:lnTo>
                  <a:lnTo>
                    <a:pt x="9545" y="80910"/>
                  </a:lnTo>
                  <a:lnTo>
                    <a:pt x="17920" y="72533"/>
                  </a:lnTo>
                  <a:lnTo>
                    <a:pt x="26904" y="60477"/>
                  </a:lnTo>
                  <a:lnTo>
                    <a:pt x="32598" y="55641"/>
                  </a:lnTo>
                  <a:lnTo>
                    <a:pt x="32385" y="48132"/>
                  </a:lnTo>
                  <a:lnTo>
                    <a:pt x="27415" y="42894"/>
                  </a:lnTo>
                  <a:lnTo>
                    <a:pt x="26076" y="33799"/>
                  </a:lnTo>
                  <a:lnTo>
                    <a:pt x="32739" y="30875"/>
                  </a:lnTo>
                  <a:lnTo>
                    <a:pt x="34074" y="17290"/>
                  </a:lnTo>
                  <a:lnTo>
                    <a:pt x="24909" y="4263"/>
                  </a:lnTo>
                  <a:lnTo>
                    <a:pt x="33005" y="1490"/>
                  </a:lnTo>
                  <a:lnTo>
                    <a:pt x="58311" y="178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9" name="Freeform 163">
              <a:extLst>
                <a:ext uri="{FF2B5EF4-FFF2-40B4-BE49-F238E27FC236}">
                  <a16:creationId xmlns:a16="http://schemas.microsoft.com/office/drawing/2014/main" id="{3EDA0D19-F193-458B-98DD-94456A109117}"/>
                </a:ext>
              </a:extLst>
            </p:cNvPr>
            <p:cNvSpPr>
              <a:spLocks noChangeAspect="1"/>
            </p:cNvSpPr>
            <p:nvPr>
              <p:custDataLst>
                <p:tags r:id="rId171"/>
              </p:custDataLst>
            </p:nvPr>
          </p:nvSpPr>
          <p:spPr>
            <a:xfrm>
              <a:off x="5043460" y="4429814"/>
              <a:ext cx="125952" cy="131476"/>
            </a:xfrm>
            <a:custGeom>
              <a:avLst/>
              <a:gdLst/>
              <a:ahLst/>
              <a:cxnLst/>
              <a:rect l="0" t="0" r="0" b="0"/>
              <a:pathLst>
                <a:path w="125952" h="131476">
                  <a:moveTo>
                    <a:pt x="52783" y="121872"/>
                  </a:moveTo>
                  <a:lnTo>
                    <a:pt x="27477" y="121576"/>
                  </a:lnTo>
                  <a:lnTo>
                    <a:pt x="19381" y="124349"/>
                  </a:lnTo>
                  <a:lnTo>
                    <a:pt x="5587" y="131475"/>
                  </a:lnTo>
                  <a:lnTo>
                    <a:pt x="0" y="129119"/>
                  </a:lnTo>
                  <a:lnTo>
                    <a:pt x="193" y="111716"/>
                  </a:lnTo>
                  <a:lnTo>
                    <a:pt x="5540" y="102895"/>
                  </a:lnTo>
                  <a:lnTo>
                    <a:pt x="6839" y="84367"/>
                  </a:lnTo>
                  <a:lnTo>
                    <a:pt x="11695" y="73635"/>
                  </a:lnTo>
                  <a:lnTo>
                    <a:pt x="20521" y="61595"/>
                  </a:lnTo>
                  <a:lnTo>
                    <a:pt x="29388" y="55463"/>
                  </a:lnTo>
                  <a:lnTo>
                    <a:pt x="36809" y="47263"/>
                  </a:lnTo>
                  <a:lnTo>
                    <a:pt x="27557" y="44136"/>
                  </a:lnTo>
                  <a:lnTo>
                    <a:pt x="28954" y="17123"/>
                  </a:lnTo>
                  <a:lnTo>
                    <a:pt x="38458" y="10820"/>
                  </a:lnTo>
                  <a:lnTo>
                    <a:pt x="53135" y="15988"/>
                  </a:lnTo>
                  <a:lnTo>
                    <a:pt x="71717" y="10579"/>
                  </a:lnTo>
                  <a:lnTo>
                    <a:pt x="87957" y="10632"/>
                  </a:lnTo>
                  <a:lnTo>
                    <a:pt x="102153" y="0"/>
                  </a:lnTo>
                  <a:lnTo>
                    <a:pt x="113097" y="16050"/>
                  </a:lnTo>
                  <a:lnTo>
                    <a:pt x="115796" y="27647"/>
                  </a:lnTo>
                  <a:lnTo>
                    <a:pt x="125951" y="54160"/>
                  </a:lnTo>
                  <a:lnTo>
                    <a:pt x="117551" y="70988"/>
                  </a:lnTo>
                  <a:lnTo>
                    <a:pt x="106192" y="86269"/>
                  </a:lnTo>
                  <a:lnTo>
                    <a:pt x="99581" y="95622"/>
                  </a:lnTo>
                  <a:lnTo>
                    <a:pt x="99815" y="12008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0" name="Freeform 164">
              <a:extLst>
                <a:ext uri="{FF2B5EF4-FFF2-40B4-BE49-F238E27FC236}">
                  <a16:creationId xmlns:a16="http://schemas.microsoft.com/office/drawing/2014/main" id="{03A712EA-7169-46DE-99E0-8AED3FDB6A0E}"/>
                </a:ext>
              </a:extLst>
            </p:cNvPr>
            <p:cNvSpPr>
              <a:spLocks noChangeAspect="1"/>
            </p:cNvSpPr>
            <p:nvPr>
              <p:custDataLst>
                <p:tags r:id="rId172"/>
              </p:custDataLst>
            </p:nvPr>
          </p:nvSpPr>
          <p:spPr>
            <a:xfrm>
              <a:off x="4870481" y="3195393"/>
              <a:ext cx="415378" cy="236043"/>
            </a:xfrm>
            <a:custGeom>
              <a:avLst/>
              <a:gdLst/>
              <a:ahLst/>
              <a:cxnLst/>
              <a:rect l="0" t="0" r="0" b="0"/>
              <a:pathLst>
                <a:path w="415378" h="236043">
                  <a:moveTo>
                    <a:pt x="223911" y="7224"/>
                  </a:moveTo>
                  <a:lnTo>
                    <a:pt x="232531" y="8473"/>
                  </a:lnTo>
                  <a:lnTo>
                    <a:pt x="238363" y="1437"/>
                  </a:lnTo>
                  <a:lnTo>
                    <a:pt x="245373" y="2993"/>
                  </a:lnTo>
                  <a:lnTo>
                    <a:pt x="269308" y="0"/>
                  </a:lnTo>
                  <a:lnTo>
                    <a:pt x="284059" y="17488"/>
                  </a:lnTo>
                  <a:lnTo>
                    <a:pt x="278293" y="23713"/>
                  </a:lnTo>
                  <a:lnTo>
                    <a:pt x="280206" y="33225"/>
                  </a:lnTo>
                  <a:lnTo>
                    <a:pt x="298611" y="34706"/>
                  </a:lnTo>
                  <a:lnTo>
                    <a:pt x="306822" y="47927"/>
                  </a:lnTo>
                  <a:lnTo>
                    <a:pt x="306319" y="53903"/>
                  </a:lnTo>
                  <a:lnTo>
                    <a:pt x="335635" y="64548"/>
                  </a:lnTo>
                  <a:lnTo>
                    <a:pt x="353347" y="59759"/>
                  </a:lnTo>
                  <a:lnTo>
                    <a:pt x="367593" y="73895"/>
                  </a:lnTo>
                  <a:lnTo>
                    <a:pt x="381081" y="73569"/>
                  </a:lnTo>
                  <a:lnTo>
                    <a:pt x="415106" y="83348"/>
                  </a:lnTo>
                  <a:lnTo>
                    <a:pt x="415377" y="92139"/>
                  </a:lnTo>
                  <a:lnTo>
                    <a:pt x="406003" y="107744"/>
                  </a:lnTo>
                  <a:lnTo>
                    <a:pt x="411104" y="124077"/>
                  </a:lnTo>
                  <a:lnTo>
                    <a:pt x="407471" y="133906"/>
                  </a:lnTo>
                  <a:lnTo>
                    <a:pt x="385134" y="136063"/>
                  </a:lnTo>
                  <a:lnTo>
                    <a:pt x="373236" y="144258"/>
                  </a:lnTo>
                  <a:lnTo>
                    <a:pt x="372507" y="157246"/>
                  </a:lnTo>
                  <a:lnTo>
                    <a:pt x="354078" y="159577"/>
                  </a:lnTo>
                  <a:lnTo>
                    <a:pt x="338721" y="168988"/>
                  </a:lnTo>
                  <a:lnTo>
                    <a:pt x="317112" y="170519"/>
                  </a:lnTo>
                  <a:lnTo>
                    <a:pt x="297230" y="181317"/>
                  </a:lnTo>
                  <a:lnTo>
                    <a:pt x="298579" y="199240"/>
                  </a:lnTo>
                  <a:lnTo>
                    <a:pt x="309871" y="206160"/>
                  </a:lnTo>
                  <a:lnTo>
                    <a:pt x="333416" y="204441"/>
                  </a:lnTo>
                  <a:lnTo>
                    <a:pt x="328908" y="214650"/>
                  </a:lnTo>
                  <a:lnTo>
                    <a:pt x="303639" y="219594"/>
                  </a:lnTo>
                  <a:lnTo>
                    <a:pt x="272305" y="236042"/>
                  </a:lnTo>
                  <a:lnTo>
                    <a:pt x="259468" y="230270"/>
                  </a:lnTo>
                  <a:lnTo>
                    <a:pt x="264558" y="216890"/>
                  </a:lnTo>
                  <a:lnTo>
                    <a:pt x="239335" y="208524"/>
                  </a:lnTo>
                  <a:lnTo>
                    <a:pt x="243412" y="203030"/>
                  </a:lnTo>
                  <a:lnTo>
                    <a:pt x="265510" y="193480"/>
                  </a:lnTo>
                  <a:lnTo>
                    <a:pt x="258826" y="186880"/>
                  </a:lnTo>
                  <a:lnTo>
                    <a:pt x="222945" y="179578"/>
                  </a:lnTo>
                  <a:lnTo>
                    <a:pt x="221356" y="168769"/>
                  </a:lnTo>
                  <a:lnTo>
                    <a:pt x="199969" y="172343"/>
                  </a:lnTo>
                  <a:lnTo>
                    <a:pt x="191402" y="188269"/>
                  </a:lnTo>
                  <a:lnTo>
                    <a:pt x="173529" y="209501"/>
                  </a:lnTo>
                  <a:lnTo>
                    <a:pt x="163059" y="204586"/>
                  </a:lnTo>
                  <a:lnTo>
                    <a:pt x="152212" y="209194"/>
                  </a:lnTo>
                  <a:lnTo>
                    <a:pt x="141911" y="203916"/>
                  </a:lnTo>
                  <a:lnTo>
                    <a:pt x="147722" y="200799"/>
                  </a:lnTo>
                  <a:lnTo>
                    <a:pt x="151755" y="190933"/>
                  </a:lnTo>
                  <a:lnTo>
                    <a:pt x="158073" y="181733"/>
                  </a:lnTo>
                  <a:lnTo>
                    <a:pt x="156440" y="176552"/>
                  </a:lnTo>
                  <a:lnTo>
                    <a:pt x="161267" y="174240"/>
                  </a:lnTo>
                  <a:lnTo>
                    <a:pt x="163542" y="178249"/>
                  </a:lnTo>
                  <a:lnTo>
                    <a:pt x="177145" y="179096"/>
                  </a:lnTo>
                  <a:lnTo>
                    <a:pt x="183255" y="176956"/>
                  </a:lnTo>
                  <a:lnTo>
                    <a:pt x="178951" y="174018"/>
                  </a:lnTo>
                  <a:lnTo>
                    <a:pt x="180582" y="169695"/>
                  </a:lnTo>
                  <a:lnTo>
                    <a:pt x="172522" y="162304"/>
                  </a:lnTo>
                  <a:lnTo>
                    <a:pt x="169185" y="150106"/>
                  </a:lnTo>
                  <a:lnTo>
                    <a:pt x="160777" y="145318"/>
                  </a:lnTo>
                  <a:lnTo>
                    <a:pt x="162435" y="135373"/>
                  </a:lnTo>
                  <a:lnTo>
                    <a:pt x="152006" y="127449"/>
                  </a:lnTo>
                  <a:lnTo>
                    <a:pt x="142511" y="126346"/>
                  </a:lnTo>
                  <a:lnTo>
                    <a:pt x="125499" y="117137"/>
                  </a:lnTo>
                  <a:lnTo>
                    <a:pt x="110156" y="120064"/>
                  </a:lnTo>
                  <a:lnTo>
                    <a:pt x="104651" y="124422"/>
                  </a:lnTo>
                  <a:lnTo>
                    <a:pt x="94913" y="124418"/>
                  </a:lnTo>
                  <a:lnTo>
                    <a:pt x="89107" y="131310"/>
                  </a:lnTo>
                  <a:lnTo>
                    <a:pt x="72068" y="134138"/>
                  </a:lnTo>
                  <a:lnTo>
                    <a:pt x="64187" y="138651"/>
                  </a:lnTo>
                  <a:lnTo>
                    <a:pt x="53470" y="131465"/>
                  </a:lnTo>
                  <a:lnTo>
                    <a:pt x="38672" y="131355"/>
                  </a:lnTo>
                  <a:lnTo>
                    <a:pt x="24390" y="128093"/>
                  </a:lnTo>
                  <a:lnTo>
                    <a:pt x="14425" y="134399"/>
                  </a:lnTo>
                  <a:lnTo>
                    <a:pt x="12816" y="126503"/>
                  </a:lnTo>
                  <a:lnTo>
                    <a:pt x="0" y="118465"/>
                  </a:lnTo>
                  <a:lnTo>
                    <a:pt x="4507" y="106508"/>
                  </a:lnTo>
                  <a:lnTo>
                    <a:pt x="10907" y="98757"/>
                  </a:lnTo>
                  <a:lnTo>
                    <a:pt x="15946" y="100497"/>
                  </a:lnTo>
                  <a:lnTo>
                    <a:pt x="9992" y="87073"/>
                  </a:lnTo>
                  <a:lnTo>
                    <a:pt x="30952" y="62042"/>
                  </a:lnTo>
                  <a:lnTo>
                    <a:pt x="42407" y="58520"/>
                  </a:lnTo>
                  <a:lnTo>
                    <a:pt x="44882" y="50010"/>
                  </a:lnTo>
                  <a:lnTo>
                    <a:pt x="33273" y="23343"/>
                  </a:lnTo>
                  <a:lnTo>
                    <a:pt x="44307" y="22145"/>
                  </a:lnTo>
                  <a:lnTo>
                    <a:pt x="56957" y="13805"/>
                  </a:lnTo>
                  <a:lnTo>
                    <a:pt x="74838" y="13121"/>
                  </a:lnTo>
                  <a:lnTo>
                    <a:pt x="98156" y="15536"/>
                  </a:lnTo>
                  <a:lnTo>
                    <a:pt x="123919" y="22918"/>
                  </a:lnTo>
                  <a:lnTo>
                    <a:pt x="142098" y="23534"/>
                  </a:lnTo>
                  <a:lnTo>
                    <a:pt x="150776" y="27967"/>
                  </a:lnTo>
                  <a:lnTo>
                    <a:pt x="159438" y="22618"/>
                  </a:lnTo>
                  <a:lnTo>
                    <a:pt x="165488" y="29790"/>
                  </a:lnTo>
                  <a:lnTo>
                    <a:pt x="186318" y="28322"/>
                  </a:lnTo>
                  <a:lnTo>
                    <a:pt x="195499" y="31282"/>
                  </a:lnTo>
                  <a:lnTo>
                    <a:pt x="196984" y="15828"/>
                  </a:lnTo>
                  <a:lnTo>
                    <a:pt x="204096" y="905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1" name="Freeform 165">
              <a:extLst>
                <a:ext uri="{FF2B5EF4-FFF2-40B4-BE49-F238E27FC236}">
                  <a16:creationId xmlns:a16="http://schemas.microsoft.com/office/drawing/2014/main" id="{BA7FD5C7-B54D-4F60-B56F-7A76A1044128}"/>
                </a:ext>
              </a:extLst>
            </p:cNvPr>
            <p:cNvSpPr>
              <a:spLocks noChangeAspect="1"/>
            </p:cNvSpPr>
            <p:nvPr>
              <p:custDataLst>
                <p:tags r:id="rId173"/>
              </p:custDataLst>
            </p:nvPr>
          </p:nvSpPr>
          <p:spPr>
            <a:xfrm>
              <a:off x="5651676" y="3396483"/>
              <a:ext cx="395326" cy="232838"/>
            </a:xfrm>
            <a:custGeom>
              <a:avLst/>
              <a:gdLst/>
              <a:ahLst/>
              <a:cxnLst/>
              <a:rect l="0" t="0" r="0" b="0"/>
              <a:pathLst>
                <a:path w="395326" h="232838">
                  <a:moveTo>
                    <a:pt x="244438" y="227044"/>
                  </a:moveTo>
                  <a:lnTo>
                    <a:pt x="245074" y="210712"/>
                  </a:lnTo>
                  <a:lnTo>
                    <a:pt x="214370" y="199240"/>
                  </a:lnTo>
                  <a:lnTo>
                    <a:pt x="190231" y="186063"/>
                  </a:lnTo>
                  <a:lnTo>
                    <a:pt x="175176" y="173344"/>
                  </a:lnTo>
                  <a:lnTo>
                    <a:pt x="148775" y="154593"/>
                  </a:lnTo>
                  <a:lnTo>
                    <a:pt x="137429" y="126390"/>
                  </a:lnTo>
                  <a:lnTo>
                    <a:pt x="129684" y="121398"/>
                  </a:lnTo>
                  <a:lnTo>
                    <a:pt x="104727" y="122665"/>
                  </a:lnTo>
                  <a:lnTo>
                    <a:pt x="95894" y="117024"/>
                  </a:lnTo>
                  <a:lnTo>
                    <a:pt x="93427" y="94946"/>
                  </a:lnTo>
                  <a:lnTo>
                    <a:pt x="62325" y="80234"/>
                  </a:lnTo>
                  <a:lnTo>
                    <a:pt x="42878" y="96405"/>
                  </a:lnTo>
                  <a:lnTo>
                    <a:pt x="23158" y="105952"/>
                  </a:lnTo>
                  <a:lnTo>
                    <a:pt x="26948" y="119857"/>
                  </a:lnTo>
                  <a:lnTo>
                    <a:pt x="906" y="120234"/>
                  </a:lnTo>
                  <a:lnTo>
                    <a:pt x="0" y="16911"/>
                  </a:lnTo>
                  <a:lnTo>
                    <a:pt x="59419" y="0"/>
                  </a:lnTo>
                  <a:lnTo>
                    <a:pt x="63733" y="2490"/>
                  </a:lnTo>
                  <a:lnTo>
                    <a:pt x="99510" y="22947"/>
                  </a:lnTo>
                  <a:lnTo>
                    <a:pt x="118400" y="33695"/>
                  </a:lnTo>
                  <a:lnTo>
                    <a:pt x="140443" y="59145"/>
                  </a:lnTo>
                  <a:lnTo>
                    <a:pt x="167508" y="55049"/>
                  </a:lnTo>
                  <a:lnTo>
                    <a:pt x="207095" y="52852"/>
                  </a:lnTo>
                  <a:lnTo>
                    <a:pt x="234729" y="73357"/>
                  </a:lnTo>
                  <a:lnTo>
                    <a:pt x="233007" y="101283"/>
                  </a:lnTo>
                  <a:lnTo>
                    <a:pt x="244254" y="101478"/>
                  </a:lnTo>
                  <a:lnTo>
                    <a:pt x="248949" y="124092"/>
                  </a:lnTo>
                  <a:lnTo>
                    <a:pt x="278306" y="124984"/>
                  </a:lnTo>
                  <a:lnTo>
                    <a:pt x="284631" y="137980"/>
                  </a:lnTo>
                  <a:lnTo>
                    <a:pt x="293232" y="137806"/>
                  </a:lnTo>
                  <a:lnTo>
                    <a:pt x="303331" y="118151"/>
                  </a:lnTo>
                  <a:lnTo>
                    <a:pt x="333776" y="98881"/>
                  </a:lnTo>
                  <a:lnTo>
                    <a:pt x="347011" y="93750"/>
                  </a:lnTo>
                  <a:lnTo>
                    <a:pt x="353864" y="96484"/>
                  </a:lnTo>
                  <a:lnTo>
                    <a:pt x="334493" y="114408"/>
                  </a:lnTo>
                  <a:lnTo>
                    <a:pt x="351524" y="124775"/>
                  </a:lnTo>
                  <a:lnTo>
                    <a:pt x="367965" y="117913"/>
                  </a:lnTo>
                  <a:lnTo>
                    <a:pt x="395325" y="132398"/>
                  </a:lnTo>
                  <a:lnTo>
                    <a:pt x="365766" y="152088"/>
                  </a:lnTo>
                  <a:lnTo>
                    <a:pt x="348208" y="149402"/>
                  </a:lnTo>
                  <a:lnTo>
                    <a:pt x="338680" y="150106"/>
                  </a:lnTo>
                  <a:lnTo>
                    <a:pt x="335373" y="142517"/>
                  </a:lnTo>
                  <a:lnTo>
                    <a:pt x="340185" y="129813"/>
                  </a:lnTo>
                  <a:lnTo>
                    <a:pt x="309321" y="136186"/>
                  </a:lnTo>
                  <a:lnTo>
                    <a:pt x="301984" y="153714"/>
                  </a:lnTo>
                  <a:lnTo>
                    <a:pt x="291014" y="168733"/>
                  </a:lnTo>
                  <a:lnTo>
                    <a:pt x="271741" y="167458"/>
                  </a:lnTo>
                  <a:lnTo>
                    <a:pt x="265757" y="179377"/>
                  </a:lnTo>
                  <a:lnTo>
                    <a:pt x="282695" y="185817"/>
                  </a:lnTo>
                  <a:lnTo>
                    <a:pt x="287682" y="205830"/>
                  </a:lnTo>
                  <a:lnTo>
                    <a:pt x="274708" y="232837"/>
                  </a:lnTo>
                  <a:lnTo>
                    <a:pt x="257299" y="22722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2" name="Freeform 166">
              <a:extLst>
                <a:ext uri="{FF2B5EF4-FFF2-40B4-BE49-F238E27FC236}">
                  <a16:creationId xmlns:a16="http://schemas.microsoft.com/office/drawing/2014/main" id="{D428B11E-108E-4466-B22B-6851B52A679F}"/>
                </a:ext>
              </a:extLst>
            </p:cNvPr>
            <p:cNvSpPr>
              <a:spLocks noChangeAspect="1"/>
            </p:cNvSpPr>
            <p:nvPr>
              <p:custDataLst>
                <p:tags r:id="rId174"/>
              </p:custDataLst>
            </p:nvPr>
          </p:nvSpPr>
          <p:spPr>
            <a:xfrm>
              <a:off x="6719053" y="3979130"/>
              <a:ext cx="165385" cy="349858"/>
            </a:xfrm>
            <a:custGeom>
              <a:avLst/>
              <a:gdLst/>
              <a:ahLst/>
              <a:cxnLst/>
              <a:rect l="0" t="0" r="0" b="0"/>
              <a:pathLst>
                <a:path w="165385" h="349858">
                  <a:moveTo>
                    <a:pt x="135721" y="43671"/>
                  </a:moveTo>
                  <a:lnTo>
                    <a:pt x="104903" y="64310"/>
                  </a:lnTo>
                  <a:lnTo>
                    <a:pt x="85666" y="87018"/>
                  </a:lnTo>
                  <a:lnTo>
                    <a:pt x="80596" y="103642"/>
                  </a:lnTo>
                  <a:lnTo>
                    <a:pt x="98249" y="128810"/>
                  </a:lnTo>
                  <a:lnTo>
                    <a:pt x="119835" y="159879"/>
                  </a:lnTo>
                  <a:lnTo>
                    <a:pt x="140783" y="174519"/>
                  </a:lnTo>
                  <a:lnTo>
                    <a:pt x="154809" y="193509"/>
                  </a:lnTo>
                  <a:lnTo>
                    <a:pt x="165384" y="237101"/>
                  </a:lnTo>
                  <a:lnTo>
                    <a:pt x="162265" y="278339"/>
                  </a:lnTo>
                  <a:lnTo>
                    <a:pt x="143013" y="293732"/>
                  </a:lnTo>
                  <a:lnTo>
                    <a:pt x="116579" y="308761"/>
                  </a:lnTo>
                  <a:lnTo>
                    <a:pt x="97748" y="328191"/>
                  </a:lnTo>
                  <a:lnTo>
                    <a:pt x="68968" y="349857"/>
                  </a:lnTo>
                  <a:lnTo>
                    <a:pt x="60587" y="334938"/>
                  </a:lnTo>
                  <a:lnTo>
                    <a:pt x="67073" y="319160"/>
                  </a:lnTo>
                  <a:lnTo>
                    <a:pt x="49949" y="305913"/>
                  </a:lnTo>
                  <a:lnTo>
                    <a:pt x="69929" y="296512"/>
                  </a:lnTo>
                  <a:lnTo>
                    <a:pt x="94161" y="294819"/>
                  </a:lnTo>
                  <a:lnTo>
                    <a:pt x="84023" y="280660"/>
                  </a:lnTo>
                  <a:lnTo>
                    <a:pt x="122822" y="262646"/>
                  </a:lnTo>
                  <a:lnTo>
                    <a:pt x="125665" y="234528"/>
                  </a:lnTo>
                  <a:lnTo>
                    <a:pt x="120314" y="218840"/>
                  </a:lnTo>
                  <a:lnTo>
                    <a:pt x="124511" y="195269"/>
                  </a:lnTo>
                  <a:lnTo>
                    <a:pt x="118698" y="178572"/>
                  </a:lnTo>
                  <a:lnTo>
                    <a:pt x="101231" y="162089"/>
                  </a:lnTo>
                  <a:lnTo>
                    <a:pt x="86684" y="141162"/>
                  </a:lnTo>
                  <a:lnTo>
                    <a:pt x="67498" y="112994"/>
                  </a:lnTo>
                  <a:lnTo>
                    <a:pt x="39843" y="98687"/>
                  </a:lnTo>
                  <a:lnTo>
                    <a:pt x="46465" y="90073"/>
                  </a:lnTo>
                  <a:lnTo>
                    <a:pt x="61219" y="83789"/>
                  </a:lnTo>
                  <a:lnTo>
                    <a:pt x="52272" y="62820"/>
                  </a:lnTo>
                  <a:lnTo>
                    <a:pt x="23855" y="62631"/>
                  </a:lnTo>
                  <a:lnTo>
                    <a:pt x="13491" y="40703"/>
                  </a:lnTo>
                  <a:lnTo>
                    <a:pt x="0" y="21576"/>
                  </a:lnTo>
                  <a:lnTo>
                    <a:pt x="12386" y="15650"/>
                  </a:lnTo>
                  <a:lnTo>
                    <a:pt x="30795" y="15773"/>
                  </a:lnTo>
                  <a:lnTo>
                    <a:pt x="53239" y="12969"/>
                  </a:lnTo>
                  <a:lnTo>
                    <a:pt x="72914" y="0"/>
                  </a:lnTo>
                  <a:lnTo>
                    <a:pt x="84040" y="9133"/>
                  </a:lnTo>
                  <a:lnTo>
                    <a:pt x="105141" y="13574"/>
                  </a:lnTo>
                  <a:lnTo>
                    <a:pt x="101491" y="27555"/>
                  </a:lnTo>
                  <a:lnTo>
                    <a:pt x="112482" y="3739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3" name="Freeform 167">
              <a:extLst>
                <a:ext uri="{FF2B5EF4-FFF2-40B4-BE49-F238E27FC236}">
                  <a16:creationId xmlns:a16="http://schemas.microsoft.com/office/drawing/2014/main" id="{3B21CB27-5F62-4FB6-A322-3546BD0251DF}"/>
                </a:ext>
              </a:extLst>
            </p:cNvPr>
            <p:cNvSpPr>
              <a:spLocks noChangeAspect="1"/>
            </p:cNvSpPr>
            <p:nvPr>
              <p:custDataLst>
                <p:tags r:id="rId175"/>
              </p:custDataLst>
            </p:nvPr>
          </p:nvSpPr>
          <p:spPr>
            <a:xfrm>
              <a:off x="8206932" y="4867961"/>
              <a:ext cx="28063" cy="46609"/>
            </a:xfrm>
            <a:custGeom>
              <a:avLst/>
              <a:gdLst/>
              <a:ahLst/>
              <a:cxnLst/>
              <a:rect l="l" t="t" r="r" b="b"/>
              <a:pathLst>
                <a:path w="28063" h="46609">
                  <a:moveTo>
                    <a:pt x="13565" y="29884"/>
                  </a:moveTo>
                  <a:lnTo>
                    <a:pt x="28063" y="43490"/>
                  </a:lnTo>
                  <a:lnTo>
                    <a:pt x="20453" y="46609"/>
                  </a:lnTo>
                  <a:lnTo>
                    <a:pt x="12717" y="36232"/>
                  </a:lnTo>
                  <a:close/>
                  <a:moveTo>
                    <a:pt x="0" y="0"/>
                  </a:moveTo>
                  <a:lnTo>
                    <a:pt x="11048" y="7250"/>
                  </a:lnTo>
                  <a:lnTo>
                    <a:pt x="14795" y="26292"/>
                  </a:lnTo>
                  <a:lnTo>
                    <a:pt x="8589" y="23326"/>
                  </a:lnTo>
                  <a:lnTo>
                    <a:pt x="3787" y="24608"/>
                  </a:lnTo>
                  <a:lnTo>
                    <a:pt x="479" y="1808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4" name="Freeform 168">
              <a:extLst>
                <a:ext uri="{FF2B5EF4-FFF2-40B4-BE49-F238E27FC236}">
                  <a16:creationId xmlns:a16="http://schemas.microsoft.com/office/drawing/2014/main" id="{A36AB362-512A-408B-843E-CC136665D77A}"/>
                </a:ext>
              </a:extLst>
            </p:cNvPr>
            <p:cNvSpPr>
              <a:spLocks noChangeAspect="1"/>
            </p:cNvSpPr>
            <p:nvPr>
              <p:custDataLst>
                <p:tags r:id="rId176"/>
              </p:custDataLst>
            </p:nvPr>
          </p:nvSpPr>
          <p:spPr>
            <a:xfrm>
              <a:off x="5344121" y="4084163"/>
              <a:ext cx="242455" cy="151784"/>
            </a:xfrm>
            <a:custGeom>
              <a:avLst/>
              <a:gdLst/>
              <a:ahLst/>
              <a:cxnLst/>
              <a:rect l="0" t="0" r="0" b="0"/>
              <a:pathLst>
                <a:path w="242455" h="151784">
                  <a:moveTo>
                    <a:pt x="242454" y="55947"/>
                  </a:moveTo>
                  <a:lnTo>
                    <a:pt x="225756" y="62316"/>
                  </a:lnTo>
                  <a:lnTo>
                    <a:pt x="221290" y="72831"/>
                  </a:lnTo>
                  <a:lnTo>
                    <a:pt x="220746" y="80897"/>
                  </a:lnTo>
                  <a:lnTo>
                    <a:pt x="197764" y="90871"/>
                  </a:lnTo>
                  <a:lnTo>
                    <a:pt x="160879" y="101878"/>
                  </a:lnTo>
                  <a:lnTo>
                    <a:pt x="140212" y="118497"/>
                  </a:lnTo>
                  <a:lnTo>
                    <a:pt x="130050" y="119794"/>
                  </a:lnTo>
                  <a:lnTo>
                    <a:pt x="123124" y="118402"/>
                  </a:lnTo>
                  <a:lnTo>
                    <a:pt x="109633" y="128162"/>
                  </a:lnTo>
                  <a:lnTo>
                    <a:pt x="94921" y="132686"/>
                  </a:lnTo>
                  <a:lnTo>
                    <a:pt x="75543" y="133906"/>
                  </a:lnTo>
                  <a:lnTo>
                    <a:pt x="69714" y="135241"/>
                  </a:lnTo>
                  <a:lnTo>
                    <a:pt x="64668" y="141440"/>
                  </a:lnTo>
                  <a:lnTo>
                    <a:pt x="58618" y="143152"/>
                  </a:lnTo>
                  <a:lnTo>
                    <a:pt x="55044" y="149119"/>
                  </a:lnTo>
                  <a:lnTo>
                    <a:pt x="43619" y="148602"/>
                  </a:lnTo>
                  <a:lnTo>
                    <a:pt x="36245" y="151783"/>
                  </a:lnTo>
                  <a:lnTo>
                    <a:pt x="20269" y="150591"/>
                  </a:lnTo>
                  <a:lnTo>
                    <a:pt x="14265" y="136884"/>
                  </a:lnTo>
                  <a:lnTo>
                    <a:pt x="14925" y="124039"/>
                  </a:lnTo>
                  <a:lnTo>
                    <a:pt x="11151" y="117098"/>
                  </a:lnTo>
                  <a:lnTo>
                    <a:pt x="6633" y="99673"/>
                  </a:lnTo>
                  <a:lnTo>
                    <a:pt x="0" y="89972"/>
                  </a:lnTo>
                  <a:lnTo>
                    <a:pt x="4620" y="88824"/>
                  </a:lnTo>
                  <a:lnTo>
                    <a:pt x="2252" y="78025"/>
                  </a:lnTo>
                  <a:lnTo>
                    <a:pt x="5051" y="73463"/>
                  </a:lnTo>
                  <a:lnTo>
                    <a:pt x="4027" y="63134"/>
                  </a:lnTo>
                  <a:lnTo>
                    <a:pt x="14161" y="55571"/>
                  </a:lnTo>
                  <a:lnTo>
                    <a:pt x="11794" y="45564"/>
                  </a:lnTo>
                  <a:lnTo>
                    <a:pt x="17910" y="33877"/>
                  </a:lnTo>
                  <a:lnTo>
                    <a:pt x="27391" y="40061"/>
                  </a:lnTo>
                  <a:lnTo>
                    <a:pt x="33648" y="37912"/>
                  </a:lnTo>
                  <a:lnTo>
                    <a:pt x="60287" y="37366"/>
                  </a:lnTo>
                  <a:lnTo>
                    <a:pt x="64519" y="39744"/>
                  </a:lnTo>
                  <a:lnTo>
                    <a:pt x="86832" y="42122"/>
                  </a:lnTo>
                  <a:lnTo>
                    <a:pt x="95680" y="40932"/>
                  </a:lnTo>
                  <a:lnTo>
                    <a:pt x="101451" y="48852"/>
                  </a:lnTo>
                  <a:lnTo>
                    <a:pt x="112224" y="44893"/>
                  </a:lnTo>
                  <a:lnTo>
                    <a:pt x="128766" y="19902"/>
                  </a:lnTo>
                  <a:lnTo>
                    <a:pt x="150310" y="9162"/>
                  </a:lnTo>
                  <a:lnTo>
                    <a:pt x="216865" y="0"/>
                  </a:lnTo>
                  <a:lnTo>
                    <a:pt x="234919" y="3935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5" name="Freeform 169">
              <a:extLst>
                <a:ext uri="{FF2B5EF4-FFF2-40B4-BE49-F238E27FC236}">
                  <a16:creationId xmlns:a16="http://schemas.microsoft.com/office/drawing/2014/main" id="{36F8C91A-E87E-4666-9046-71D1DBF36017}"/>
                </a:ext>
              </a:extLst>
            </p:cNvPr>
            <p:cNvSpPr>
              <a:spLocks noChangeAspect="1"/>
            </p:cNvSpPr>
            <p:nvPr>
              <p:custDataLst>
                <p:tags r:id="rId177"/>
              </p:custDataLst>
            </p:nvPr>
          </p:nvSpPr>
          <p:spPr>
            <a:xfrm>
              <a:off x="4737973" y="5046181"/>
              <a:ext cx="380521" cy="319180"/>
            </a:xfrm>
            <a:custGeom>
              <a:avLst/>
              <a:gdLst/>
              <a:ahLst/>
              <a:cxnLst/>
              <a:rect l="l" t="t" r="r" b="b"/>
              <a:pathLst>
                <a:path w="380521" h="319180">
                  <a:moveTo>
                    <a:pt x="281533" y="161424"/>
                  </a:moveTo>
                  <a:lnTo>
                    <a:pt x="270745" y="166538"/>
                  </a:lnTo>
                  <a:lnTo>
                    <a:pt x="258239" y="176367"/>
                  </a:lnTo>
                  <a:lnTo>
                    <a:pt x="245930" y="192323"/>
                  </a:lnTo>
                  <a:lnTo>
                    <a:pt x="263245" y="211790"/>
                  </a:lnTo>
                  <a:lnTo>
                    <a:pt x="271504" y="209269"/>
                  </a:lnTo>
                  <a:lnTo>
                    <a:pt x="275748" y="201176"/>
                  </a:lnTo>
                  <a:lnTo>
                    <a:pt x="288613" y="197227"/>
                  </a:lnTo>
                  <a:lnTo>
                    <a:pt x="292537" y="188987"/>
                  </a:lnTo>
                  <a:lnTo>
                    <a:pt x="299618" y="176735"/>
                  </a:lnTo>
                  <a:lnTo>
                    <a:pt x="291610" y="169152"/>
                  </a:lnTo>
                  <a:close/>
                  <a:moveTo>
                    <a:pt x="302088" y="0"/>
                  </a:moveTo>
                  <a:lnTo>
                    <a:pt x="311479" y="264"/>
                  </a:lnTo>
                  <a:lnTo>
                    <a:pt x="322648" y="4370"/>
                  </a:lnTo>
                  <a:lnTo>
                    <a:pt x="330426" y="1460"/>
                  </a:lnTo>
                  <a:lnTo>
                    <a:pt x="342696" y="3882"/>
                  </a:lnTo>
                  <a:lnTo>
                    <a:pt x="353752" y="38114"/>
                  </a:lnTo>
                  <a:lnTo>
                    <a:pt x="359758" y="55480"/>
                  </a:lnTo>
                  <a:lnTo>
                    <a:pt x="355645" y="82856"/>
                  </a:lnTo>
                  <a:lnTo>
                    <a:pt x="357615" y="91706"/>
                  </a:lnTo>
                  <a:lnTo>
                    <a:pt x="345968" y="87190"/>
                  </a:lnTo>
                  <a:lnTo>
                    <a:pt x="339295" y="88947"/>
                  </a:lnTo>
                  <a:lnTo>
                    <a:pt x="337116" y="96132"/>
                  </a:lnTo>
                  <a:lnTo>
                    <a:pt x="330813" y="105413"/>
                  </a:lnTo>
                  <a:lnTo>
                    <a:pt x="331029" y="113977"/>
                  </a:lnTo>
                  <a:lnTo>
                    <a:pt x="344805" y="127435"/>
                  </a:lnTo>
                  <a:lnTo>
                    <a:pt x="358315" y="124751"/>
                  </a:lnTo>
                  <a:lnTo>
                    <a:pt x="363014" y="113728"/>
                  </a:lnTo>
                  <a:lnTo>
                    <a:pt x="380521" y="113936"/>
                  </a:lnTo>
                  <a:lnTo>
                    <a:pt x="374754" y="132019"/>
                  </a:lnTo>
                  <a:lnTo>
                    <a:pt x="372027" y="152749"/>
                  </a:lnTo>
                  <a:lnTo>
                    <a:pt x="366055" y="164053"/>
                  </a:lnTo>
                  <a:lnTo>
                    <a:pt x="350303" y="176735"/>
                  </a:lnTo>
                  <a:lnTo>
                    <a:pt x="345792" y="180374"/>
                  </a:lnTo>
                  <a:lnTo>
                    <a:pt x="336010" y="193182"/>
                  </a:lnTo>
                  <a:lnTo>
                    <a:pt x="329571" y="206178"/>
                  </a:lnTo>
                  <a:lnTo>
                    <a:pt x="316481" y="224372"/>
                  </a:lnTo>
                  <a:lnTo>
                    <a:pt x="290394" y="250720"/>
                  </a:lnTo>
                  <a:lnTo>
                    <a:pt x="274102" y="266124"/>
                  </a:lnTo>
                  <a:lnTo>
                    <a:pt x="256671" y="277850"/>
                  </a:lnTo>
                  <a:lnTo>
                    <a:pt x="232546" y="287878"/>
                  </a:lnTo>
                  <a:lnTo>
                    <a:pt x="220779" y="289226"/>
                  </a:lnTo>
                  <a:lnTo>
                    <a:pt x="217800" y="296421"/>
                  </a:lnTo>
                  <a:lnTo>
                    <a:pt x="203771" y="292589"/>
                  </a:lnTo>
                  <a:lnTo>
                    <a:pt x="192345" y="297524"/>
                  </a:lnTo>
                  <a:lnTo>
                    <a:pt x="167328" y="292527"/>
                  </a:lnTo>
                  <a:lnTo>
                    <a:pt x="153343" y="295689"/>
                  </a:lnTo>
                  <a:lnTo>
                    <a:pt x="143787" y="294331"/>
                  </a:lnTo>
                  <a:lnTo>
                    <a:pt x="119980" y="304581"/>
                  </a:lnTo>
                  <a:lnTo>
                    <a:pt x="100273" y="308700"/>
                  </a:lnTo>
                  <a:lnTo>
                    <a:pt x="86013" y="318552"/>
                  </a:lnTo>
                  <a:lnTo>
                    <a:pt x="75514" y="319180"/>
                  </a:lnTo>
                  <a:lnTo>
                    <a:pt x="65747" y="309883"/>
                  </a:lnTo>
                  <a:lnTo>
                    <a:pt x="57946" y="309406"/>
                  </a:lnTo>
                  <a:lnTo>
                    <a:pt x="48004" y="297802"/>
                  </a:lnTo>
                  <a:lnTo>
                    <a:pt x="46914" y="301402"/>
                  </a:lnTo>
                  <a:lnTo>
                    <a:pt x="43846" y="294427"/>
                  </a:lnTo>
                  <a:lnTo>
                    <a:pt x="43975" y="279256"/>
                  </a:lnTo>
                  <a:lnTo>
                    <a:pt x="36476" y="261993"/>
                  </a:lnTo>
                  <a:lnTo>
                    <a:pt x="43925" y="257314"/>
                  </a:lnTo>
                  <a:lnTo>
                    <a:pt x="43321" y="237663"/>
                  </a:lnTo>
                  <a:lnTo>
                    <a:pt x="28206" y="213835"/>
                  </a:lnTo>
                  <a:lnTo>
                    <a:pt x="16607" y="192391"/>
                  </a:lnTo>
                  <a:lnTo>
                    <a:pt x="16572" y="192323"/>
                  </a:lnTo>
                  <a:lnTo>
                    <a:pt x="0" y="159650"/>
                  </a:lnTo>
                  <a:lnTo>
                    <a:pt x="11058" y="147279"/>
                  </a:lnTo>
                  <a:lnTo>
                    <a:pt x="20174" y="154123"/>
                  </a:lnTo>
                  <a:lnTo>
                    <a:pt x="24064" y="164833"/>
                  </a:lnTo>
                  <a:lnTo>
                    <a:pt x="34420" y="166661"/>
                  </a:lnTo>
                  <a:lnTo>
                    <a:pt x="48934" y="171409"/>
                  </a:lnTo>
                  <a:lnTo>
                    <a:pt x="61334" y="169575"/>
                  </a:lnTo>
                  <a:lnTo>
                    <a:pt x="81938" y="156755"/>
                  </a:lnTo>
                  <a:lnTo>
                    <a:pt x="81962" y="65245"/>
                  </a:lnTo>
                  <a:lnTo>
                    <a:pt x="88193" y="68931"/>
                  </a:lnTo>
                  <a:lnTo>
                    <a:pt x="101879" y="92318"/>
                  </a:lnTo>
                  <a:lnTo>
                    <a:pt x="99752" y="107377"/>
                  </a:lnTo>
                  <a:lnTo>
                    <a:pt x="104903" y="116077"/>
                  </a:lnTo>
                  <a:lnTo>
                    <a:pt x="121436" y="113547"/>
                  </a:lnTo>
                  <a:lnTo>
                    <a:pt x="132980" y="102498"/>
                  </a:lnTo>
                  <a:lnTo>
                    <a:pt x="143911" y="95066"/>
                  </a:lnTo>
                  <a:lnTo>
                    <a:pt x="149560" y="83255"/>
                  </a:lnTo>
                  <a:lnTo>
                    <a:pt x="160820" y="77550"/>
                  </a:lnTo>
                  <a:lnTo>
                    <a:pt x="170549" y="80538"/>
                  </a:lnTo>
                  <a:lnTo>
                    <a:pt x="181575" y="87437"/>
                  </a:lnTo>
                  <a:lnTo>
                    <a:pt x="200362" y="88656"/>
                  </a:lnTo>
                  <a:lnTo>
                    <a:pt x="215124" y="82919"/>
                  </a:lnTo>
                  <a:lnTo>
                    <a:pt x="217459" y="75242"/>
                  </a:lnTo>
                  <a:lnTo>
                    <a:pt x="221517" y="63493"/>
                  </a:lnTo>
                  <a:lnTo>
                    <a:pt x="234076" y="61530"/>
                  </a:lnTo>
                  <a:lnTo>
                    <a:pt x="241016" y="52329"/>
                  </a:lnTo>
                  <a:lnTo>
                    <a:pt x="248703" y="36049"/>
                  </a:lnTo>
                  <a:lnTo>
                    <a:pt x="269427" y="1787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6" name="Freeform 170">
              <a:extLst>
                <a:ext uri="{FF2B5EF4-FFF2-40B4-BE49-F238E27FC236}">
                  <a16:creationId xmlns:a16="http://schemas.microsoft.com/office/drawing/2014/main" id="{C30A5CBA-0D47-4BA8-BD2F-4928D515BB83}"/>
                </a:ext>
              </a:extLst>
            </p:cNvPr>
            <p:cNvSpPr>
              <a:spLocks noChangeAspect="1"/>
            </p:cNvSpPr>
            <p:nvPr>
              <p:custDataLst>
                <p:tags r:id="rId178"/>
              </p:custDataLst>
            </p:nvPr>
          </p:nvSpPr>
          <p:spPr>
            <a:xfrm>
              <a:off x="4865917" y="4718552"/>
              <a:ext cx="267710" cy="228428"/>
            </a:xfrm>
            <a:custGeom>
              <a:avLst/>
              <a:gdLst/>
              <a:ahLst/>
              <a:cxnLst/>
              <a:rect l="0" t="0" r="0" b="0"/>
              <a:pathLst>
                <a:path w="267710" h="228428">
                  <a:moveTo>
                    <a:pt x="250944" y="23078"/>
                  </a:moveTo>
                  <a:lnTo>
                    <a:pt x="261839" y="33466"/>
                  </a:lnTo>
                  <a:lnTo>
                    <a:pt x="267709" y="53256"/>
                  </a:lnTo>
                  <a:lnTo>
                    <a:pt x="263776" y="59581"/>
                  </a:lnTo>
                  <a:lnTo>
                    <a:pt x="259136" y="78525"/>
                  </a:lnTo>
                  <a:lnTo>
                    <a:pt x="263571" y="97923"/>
                  </a:lnTo>
                  <a:lnTo>
                    <a:pt x="256308" y="106084"/>
                  </a:lnTo>
                  <a:lnTo>
                    <a:pt x="249300" y="127900"/>
                  </a:lnTo>
                  <a:lnTo>
                    <a:pt x="261438" y="133992"/>
                  </a:lnTo>
                  <a:lnTo>
                    <a:pt x="191393" y="153408"/>
                  </a:lnTo>
                  <a:lnTo>
                    <a:pt x="193580" y="170210"/>
                  </a:lnTo>
                  <a:lnTo>
                    <a:pt x="176097" y="173446"/>
                  </a:lnTo>
                  <a:lnTo>
                    <a:pt x="162954" y="182871"/>
                  </a:lnTo>
                  <a:lnTo>
                    <a:pt x="160148" y="191084"/>
                  </a:lnTo>
                  <a:lnTo>
                    <a:pt x="151885" y="192948"/>
                  </a:lnTo>
                  <a:lnTo>
                    <a:pt x="131811" y="212472"/>
                  </a:lnTo>
                  <a:lnTo>
                    <a:pt x="119027" y="227874"/>
                  </a:lnTo>
                  <a:lnTo>
                    <a:pt x="111233" y="228427"/>
                  </a:lnTo>
                  <a:lnTo>
                    <a:pt x="103735" y="225683"/>
                  </a:lnTo>
                  <a:lnTo>
                    <a:pt x="77935" y="223075"/>
                  </a:lnTo>
                  <a:lnTo>
                    <a:pt x="73785" y="221296"/>
                  </a:lnTo>
                  <a:lnTo>
                    <a:pt x="73613" y="219321"/>
                  </a:lnTo>
                  <a:lnTo>
                    <a:pt x="64504" y="213960"/>
                  </a:lnTo>
                  <a:lnTo>
                    <a:pt x="49535" y="212591"/>
                  </a:lnTo>
                  <a:lnTo>
                    <a:pt x="30635" y="217996"/>
                  </a:lnTo>
                  <a:lnTo>
                    <a:pt x="15572" y="203150"/>
                  </a:lnTo>
                  <a:lnTo>
                    <a:pt x="0" y="183754"/>
                  </a:lnTo>
                  <a:lnTo>
                    <a:pt x="1062" y="108772"/>
                  </a:lnTo>
                  <a:lnTo>
                    <a:pt x="49126" y="109068"/>
                  </a:lnTo>
                  <a:lnTo>
                    <a:pt x="47159" y="100972"/>
                  </a:lnTo>
                  <a:lnTo>
                    <a:pt x="50598" y="92195"/>
                  </a:lnTo>
                  <a:lnTo>
                    <a:pt x="46541" y="81217"/>
                  </a:lnTo>
                  <a:lnTo>
                    <a:pt x="49167" y="69876"/>
                  </a:lnTo>
                  <a:lnTo>
                    <a:pt x="46727" y="62623"/>
                  </a:lnTo>
                  <a:lnTo>
                    <a:pt x="54690" y="63211"/>
                  </a:lnTo>
                  <a:lnTo>
                    <a:pt x="56014" y="70473"/>
                  </a:lnTo>
                  <a:lnTo>
                    <a:pt x="66832" y="69909"/>
                  </a:lnTo>
                  <a:lnTo>
                    <a:pt x="81488" y="72065"/>
                  </a:lnTo>
                  <a:lnTo>
                    <a:pt x="89202" y="82683"/>
                  </a:lnTo>
                  <a:lnTo>
                    <a:pt x="107686" y="85947"/>
                  </a:lnTo>
                  <a:lnTo>
                    <a:pt x="121797" y="78561"/>
                  </a:lnTo>
                  <a:lnTo>
                    <a:pt x="126976" y="90824"/>
                  </a:lnTo>
                  <a:lnTo>
                    <a:pt x="144665" y="94097"/>
                  </a:lnTo>
                  <a:lnTo>
                    <a:pt x="153170" y="104084"/>
                  </a:lnTo>
                  <a:lnTo>
                    <a:pt x="162650" y="116999"/>
                  </a:lnTo>
                  <a:lnTo>
                    <a:pt x="180316" y="117194"/>
                  </a:lnTo>
                  <a:lnTo>
                    <a:pt x="178386" y="91905"/>
                  </a:lnTo>
                  <a:lnTo>
                    <a:pt x="172051" y="96165"/>
                  </a:lnTo>
                  <a:lnTo>
                    <a:pt x="155913" y="87050"/>
                  </a:lnTo>
                  <a:lnTo>
                    <a:pt x="149677" y="82886"/>
                  </a:lnTo>
                  <a:lnTo>
                    <a:pt x="152535" y="59425"/>
                  </a:lnTo>
                  <a:lnTo>
                    <a:pt x="156635" y="31817"/>
                  </a:lnTo>
                  <a:lnTo>
                    <a:pt x="151469" y="21549"/>
                  </a:lnTo>
                  <a:lnTo>
                    <a:pt x="158047" y="6701"/>
                  </a:lnTo>
                  <a:lnTo>
                    <a:pt x="164234" y="3923"/>
                  </a:lnTo>
                  <a:lnTo>
                    <a:pt x="195238" y="0"/>
                  </a:lnTo>
                  <a:lnTo>
                    <a:pt x="204331" y="2365"/>
                  </a:lnTo>
                  <a:lnTo>
                    <a:pt x="213974" y="8282"/>
                  </a:lnTo>
                  <a:lnTo>
                    <a:pt x="223174" y="12177"/>
                  </a:lnTo>
                  <a:lnTo>
                    <a:pt x="237844" y="1609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7" name="Freeform 171">
              <a:extLst>
                <a:ext uri="{FF2B5EF4-FFF2-40B4-BE49-F238E27FC236}">
                  <a16:creationId xmlns:a16="http://schemas.microsoft.com/office/drawing/2014/main" id="{A97789AC-C8CC-4208-928D-045D359A7E0A}"/>
                </a:ext>
              </a:extLst>
            </p:cNvPr>
            <p:cNvSpPr>
              <a:spLocks noChangeAspect="1"/>
            </p:cNvSpPr>
            <p:nvPr>
              <p:custDataLst>
                <p:tags r:id="rId179"/>
              </p:custDataLst>
            </p:nvPr>
          </p:nvSpPr>
          <p:spPr>
            <a:xfrm>
              <a:off x="4943852" y="4888762"/>
              <a:ext cx="175098" cy="161790"/>
            </a:xfrm>
            <a:custGeom>
              <a:avLst/>
              <a:gdLst/>
              <a:ahLst/>
              <a:cxnLst/>
              <a:rect l="0" t="0" r="0" b="0"/>
              <a:pathLst>
                <a:path w="175098" h="161790">
                  <a:moveTo>
                    <a:pt x="136816" y="161301"/>
                  </a:moveTo>
                  <a:lnTo>
                    <a:pt x="124546" y="158879"/>
                  </a:lnTo>
                  <a:lnTo>
                    <a:pt x="116768" y="161789"/>
                  </a:lnTo>
                  <a:lnTo>
                    <a:pt x="105599" y="157683"/>
                  </a:lnTo>
                  <a:lnTo>
                    <a:pt x="96208" y="157419"/>
                  </a:lnTo>
                  <a:lnTo>
                    <a:pt x="81492" y="146483"/>
                  </a:lnTo>
                  <a:lnTo>
                    <a:pt x="63643" y="142774"/>
                  </a:lnTo>
                  <a:lnTo>
                    <a:pt x="56853" y="127472"/>
                  </a:lnTo>
                  <a:lnTo>
                    <a:pt x="56796" y="118978"/>
                  </a:lnTo>
                  <a:lnTo>
                    <a:pt x="46911" y="116391"/>
                  </a:lnTo>
                  <a:lnTo>
                    <a:pt x="20788" y="90031"/>
                  </a:lnTo>
                  <a:lnTo>
                    <a:pt x="13531" y="76189"/>
                  </a:lnTo>
                  <a:lnTo>
                    <a:pt x="8886" y="71928"/>
                  </a:lnTo>
                  <a:lnTo>
                    <a:pt x="0" y="52865"/>
                  </a:lnTo>
                  <a:lnTo>
                    <a:pt x="25800" y="55473"/>
                  </a:lnTo>
                  <a:lnTo>
                    <a:pt x="33298" y="58217"/>
                  </a:lnTo>
                  <a:lnTo>
                    <a:pt x="41092" y="57664"/>
                  </a:lnTo>
                  <a:lnTo>
                    <a:pt x="53876" y="42262"/>
                  </a:lnTo>
                  <a:lnTo>
                    <a:pt x="73950" y="22738"/>
                  </a:lnTo>
                  <a:lnTo>
                    <a:pt x="82213" y="20874"/>
                  </a:lnTo>
                  <a:lnTo>
                    <a:pt x="85019" y="12661"/>
                  </a:lnTo>
                  <a:lnTo>
                    <a:pt x="98162" y="3236"/>
                  </a:lnTo>
                  <a:lnTo>
                    <a:pt x="115645" y="0"/>
                  </a:lnTo>
                  <a:lnTo>
                    <a:pt x="117139" y="8822"/>
                  </a:lnTo>
                  <a:lnTo>
                    <a:pt x="136392" y="8351"/>
                  </a:lnTo>
                  <a:lnTo>
                    <a:pt x="147090" y="13347"/>
                  </a:lnTo>
                  <a:lnTo>
                    <a:pt x="152065" y="19207"/>
                  </a:lnTo>
                  <a:lnTo>
                    <a:pt x="163057" y="20929"/>
                  </a:lnTo>
                  <a:lnTo>
                    <a:pt x="175046" y="28549"/>
                  </a:lnTo>
                  <a:lnTo>
                    <a:pt x="175097" y="58642"/>
                  </a:lnTo>
                  <a:lnTo>
                    <a:pt x="170597" y="75178"/>
                  </a:lnTo>
                  <a:lnTo>
                    <a:pt x="169606" y="93056"/>
                  </a:lnTo>
                  <a:lnTo>
                    <a:pt x="173316" y="100156"/>
                  </a:lnTo>
                  <a:lnTo>
                    <a:pt x="170709" y="114293"/>
                  </a:lnTo>
                  <a:lnTo>
                    <a:pt x="167222" y="116482"/>
                  </a:lnTo>
                  <a:lnTo>
                    <a:pt x="161135" y="13385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8" name="Freeform 172">
              <a:extLst>
                <a:ext uri="{FF2B5EF4-FFF2-40B4-BE49-F238E27FC236}">
                  <a16:creationId xmlns:a16="http://schemas.microsoft.com/office/drawing/2014/main" id="{968E46FE-2D66-4ECC-AA3C-AC7E972DD711}"/>
                </a:ext>
              </a:extLst>
            </p:cNvPr>
            <p:cNvSpPr>
              <a:spLocks noChangeAspect="1"/>
            </p:cNvSpPr>
            <p:nvPr>
              <p:custDataLst>
                <p:tags r:id="rId180"/>
              </p:custDataLst>
            </p:nvPr>
          </p:nvSpPr>
          <p:spPr>
            <a:xfrm>
              <a:off x="8452900" y="4900899"/>
              <a:ext cx="67439" cy="53871"/>
            </a:xfrm>
            <a:custGeom>
              <a:avLst/>
              <a:gdLst/>
              <a:ahLst/>
              <a:cxnLst/>
              <a:rect l="l" t="t" r="r" b="b"/>
              <a:pathLst>
                <a:path w="67439" h="53871">
                  <a:moveTo>
                    <a:pt x="25127" y="31292"/>
                  </a:moveTo>
                  <a:lnTo>
                    <a:pt x="33077" y="38156"/>
                  </a:lnTo>
                  <a:lnTo>
                    <a:pt x="29261" y="50594"/>
                  </a:lnTo>
                  <a:lnTo>
                    <a:pt x="14948" y="53871"/>
                  </a:lnTo>
                  <a:lnTo>
                    <a:pt x="2225" y="50921"/>
                  </a:lnTo>
                  <a:lnTo>
                    <a:pt x="0" y="40446"/>
                  </a:lnTo>
                  <a:lnTo>
                    <a:pt x="8905" y="32272"/>
                  </a:lnTo>
                  <a:lnTo>
                    <a:pt x="19401" y="35214"/>
                  </a:lnTo>
                  <a:close/>
                  <a:moveTo>
                    <a:pt x="67439" y="0"/>
                  </a:moveTo>
                  <a:lnTo>
                    <a:pt x="62669" y="12660"/>
                  </a:lnTo>
                  <a:lnTo>
                    <a:pt x="47991" y="18499"/>
                  </a:lnTo>
                  <a:lnTo>
                    <a:pt x="33239" y="23501"/>
                  </a:lnTo>
                  <a:lnTo>
                    <a:pt x="30279" y="14650"/>
                  </a:lnTo>
                  <a:lnTo>
                    <a:pt x="41816" y="9785"/>
                  </a:lnTo>
                  <a:lnTo>
                    <a:pt x="49131" y="8484"/>
                  </a:lnTo>
                  <a:lnTo>
                    <a:pt x="62669" y="10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9" name="Freeform 173">
              <a:extLst>
                <a:ext uri="{FF2B5EF4-FFF2-40B4-BE49-F238E27FC236}">
                  <a16:creationId xmlns:a16="http://schemas.microsoft.com/office/drawing/2014/main" id="{FA96DB3E-25A8-4E50-8363-2C2CBD857EBD}"/>
                </a:ext>
              </a:extLst>
            </p:cNvPr>
            <p:cNvSpPr>
              <a:spLocks noChangeAspect="1"/>
            </p:cNvSpPr>
            <p:nvPr>
              <p:custDataLst>
                <p:tags r:id="rId181"/>
              </p:custDataLst>
            </p:nvPr>
          </p:nvSpPr>
          <p:spPr>
            <a:xfrm>
              <a:off x="3102109" y="4394951"/>
              <a:ext cx="66177" cy="85615"/>
            </a:xfrm>
            <a:custGeom>
              <a:avLst/>
              <a:gdLst>
                <a:gd name="connsiteX0" fmla="*/ 13081 w 66177"/>
                <a:gd name="connsiteY0" fmla="*/ 0 h 85615"/>
                <a:gd name="connsiteX1" fmla="*/ 20920 w 66177"/>
                <a:gd name="connsiteY1" fmla="*/ 2547 h 85615"/>
                <a:gd name="connsiteX2" fmla="*/ 37916 w 66177"/>
                <a:gd name="connsiteY2" fmla="*/ 8027 h 85615"/>
                <a:gd name="connsiteX3" fmla="*/ 62356 w 66177"/>
                <a:gd name="connsiteY3" fmla="*/ 27558 h 85615"/>
                <a:gd name="connsiteX4" fmla="*/ 66177 w 66177"/>
                <a:gd name="connsiteY4" fmla="*/ 37029 h 85615"/>
                <a:gd name="connsiteX5" fmla="*/ 52523 w 66177"/>
                <a:gd name="connsiteY5" fmla="*/ 58181 h 85615"/>
                <a:gd name="connsiteX6" fmla="*/ 45435 w 66177"/>
                <a:gd name="connsiteY6" fmla="*/ 75192 h 85615"/>
                <a:gd name="connsiteX7" fmla="*/ 36589 w 66177"/>
                <a:gd name="connsiteY7" fmla="*/ 83965 h 85615"/>
                <a:gd name="connsiteX8" fmla="*/ 25536 w 66177"/>
                <a:gd name="connsiteY8" fmla="*/ 85615 h 85615"/>
                <a:gd name="connsiteX9" fmla="*/ 22388 w 66177"/>
                <a:gd name="connsiteY9" fmla="*/ 79114 h 85615"/>
                <a:gd name="connsiteX10" fmla="*/ 17225 w 66177"/>
                <a:gd name="connsiteY10" fmla="*/ 78149 h 85615"/>
                <a:gd name="connsiteX11" fmla="*/ 10080 w 66177"/>
                <a:gd name="connsiteY11" fmla="*/ 84411 h 85615"/>
                <a:gd name="connsiteX12" fmla="*/ 0 w 66177"/>
                <a:gd name="connsiteY12" fmla="*/ 79647 h 85615"/>
                <a:gd name="connsiteX13" fmla="*/ 5852 w 66177"/>
                <a:gd name="connsiteY13" fmla="*/ 69787 h 85615"/>
                <a:gd name="connsiteX14" fmla="*/ 7859 w 66177"/>
                <a:gd name="connsiteY14" fmla="*/ 59265 h 85615"/>
                <a:gd name="connsiteX15" fmla="*/ 11847 w 66177"/>
                <a:gd name="connsiteY15" fmla="*/ 49365 h 85615"/>
                <a:gd name="connsiteX16" fmla="*/ 2890 w 66177"/>
                <a:gd name="connsiteY16" fmla="*/ 35725 h 85615"/>
                <a:gd name="connsiteX17" fmla="*/ 1065 w 66177"/>
                <a:gd name="connsiteY17" fmla="*/ 19901 h 8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177" h="85615">
                  <a:moveTo>
                    <a:pt x="13081" y="0"/>
                  </a:moveTo>
                  <a:lnTo>
                    <a:pt x="20920" y="2547"/>
                  </a:lnTo>
                  <a:lnTo>
                    <a:pt x="37916" y="8027"/>
                  </a:lnTo>
                  <a:lnTo>
                    <a:pt x="62356" y="27558"/>
                  </a:lnTo>
                  <a:lnTo>
                    <a:pt x="66177" y="37029"/>
                  </a:lnTo>
                  <a:lnTo>
                    <a:pt x="52523" y="58181"/>
                  </a:lnTo>
                  <a:lnTo>
                    <a:pt x="45435" y="75192"/>
                  </a:lnTo>
                  <a:lnTo>
                    <a:pt x="36589" y="83965"/>
                  </a:lnTo>
                  <a:lnTo>
                    <a:pt x="25536" y="85615"/>
                  </a:lnTo>
                  <a:lnTo>
                    <a:pt x="22388" y="79114"/>
                  </a:lnTo>
                  <a:lnTo>
                    <a:pt x="17225" y="78149"/>
                  </a:lnTo>
                  <a:lnTo>
                    <a:pt x="10080" y="84411"/>
                  </a:lnTo>
                  <a:lnTo>
                    <a:pt x="0" y="79647"/>
                  </a:lnTo>
                  <a:lnTo>
                    <a:pt x="5852" y="69787"/>
                  </a:lnTo>
                  <a:lnTo>
                    <a:pt x="7859" y="59265"/>
                  </a:lnTo>
                  <a:lnTo>
                    <a:pt x="11847" y="49365"/>
                  </a:lnTo>
                  <a:lnTo>
                    <a:pt x="2890" y="35725"/>
                  </a:lnTo>
                  <a:lnTo>
                    <a:pt x="1065" y="1990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40" name="Freeform 174">
              <a:extLst>
                <a:ext uri="{FF2B5EF4-FFF2-40B4-BE49-F238E27FC236}">
                  <a16:creationId xmlns:a16="http://schemas.microsoft.com/office/drawing/2014/main" id="{86A0AC56-C010-4917-B833-354E786BBE33}"/>
                </a:ext>
              </a:extLst>
            </p:cNvPr>
            <p:cNvSpPr>
              <a:spLocks noChangeAspect="1"/>
            </p:cNvSpPr>
            <p:nvPr>
              <p:custDataLst>
                <p:tags r:id="rId182"/>
              </p:custDataLst>
            </p:nvPr>
          </p:nvSpPr>
          <p:spPr>
            <a:xfrm>
              <a:off x="2948028" y="5822557"/>
              <a:ext cx="79635" cy="36905"/>
            </a:xfrm>
            <a:custGeom>
              <a:avLst/>
              <a:gdLst>
                <a:gd name="connsiteX0" fmla="*/ 61169 w 79635"/>
                <a:gd name="connsiteY0" fmla="*/ 0 h 36905"/>
                <a:gd name="connsiteX1" fmla="*/ 79635 w 79635"/>
                <a:gd name="connsiteY1" fmla="*/ 13776 h 36905"/>
                <a:gd name="connsiteX2" fmla="*/ 72710 w 79635"/>
                <a:gd name="connsiteY2" fmla="*/ 24543 h 36905"/>
                <a:gd name="connsiteX3" fmla="*/ 41548 w 79635"/>
                <a:gd name="connsiteY3" fmla="*/ 33809 h 36905"/>
                <a:gd name="connsiteX4" fmla="*/ 31161 w 79635"/>
                <a:gd name="connsiteY4" fmla="*/ 23002 h 36905"/>
                <a:gd name="connsiteX5" fmla="*/ 11541 w 79635"/>
                <a:gd name="connsiteY5" fmla="*/ 36905 h 36905"/>
                <a:gd name="connsiteX6" fmla="*/ 0 w 79635"/>
                <a:gd name="connsiteY6" fmla="*/ 23002 h 36905"/>
                <a:gd name="connsiteX7" fmla="*/ 27699 w 79635"/>
                <a:gd name="connsiteY7" fmla="*/ 4584 h 36905"/>
                <a:gd name="connsiteX8" fmla="*/ 47319 w 79635"/>
                <a:gd name="connsiteY8" fmla="*/ 12241 h 3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635" h="36905">
                  <a:moveTo>
                    <a:pt x="61169" y="0"/>
                  </a:moveTo>
                  <a:lnTo>
                    <a:pt x="79635" y="13776"/>
                  </a:lnTo>
                  <a:lnTo>
                    <a:pt x="72710" y="24543"/>
                  </a:lnTo>
                  <a:lnTo>
                    <a:pt x="41548" y="33809"/>
                  </a:lnTo>
                  <a:lnTo>
                    <a:pt x="31161" y="23002"/>
                  </a:lnTo>
                  <a:lnTo>
                    <a:pt x="11541" y="36905"/>
                  </a:lnTo>
                  <a:lnTo>
                    <a:pt x="0" y="23002"/>
                  </a:lnTo>
                  <a:lnTo>
                    <a:pt x="27699" y="4584"/>
                  </a:lnTo>
                  <a:lnTo>
                    <a:pt x="47319" y="1224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41" name="Freeform 175">
              <a:extLst>
                <a:ext uri="{FF2B5EF4-FFF2-40B4-BE49-F238E27FC236}">
                  <a16:creationId xmlns:a16="http://schemas.microsoft.com/office/drawing/2014/main" id="{C931ED15-B6F6-45DE-BA22-7406C4473672}"/>
                </a:ext>
              </a:extLst>
            </p:cNvPr>
            <p:cNvSpPr>
              <a:spLocks noChangeAspect="1"/>
            </p:cNvSpPr>
            <p:nvPr>
              <p:custDataLst>
                <p:tags r:id="rId183"/>
              </p:custDataLst>
            </p:nvPr>
          </p:nvSpPr>
          <p:spPr>
            <a:xfrm>
              <a:off x="2668795" y="1901766"/>
              <a:ext cx="1410084" cy="1042076"/>
            </a:xfrm>
            <a:custGeom>
              <a:avLst/>
              <a:gdLst>
                <a:gd name="connsiteX0" fmla="*/ 881969 w 1410084"/>
                <a:gd name="connsiteY0" fmla="*/ 0 h 1042076"/>
                <a:gd name="connsiteX1" fmla="*/ 1066339 w 1410084"/>
                <a:gd name="connsiteY1" fmla="*/ 7371 h 1042076"/>
                <a:gd name="connsiteX2" fmla="*/ 1210723 w 1410084"/>
                <a:gd name="connsiteY2" fmla="*/ 53274 h 1042076"/>
                <a:gd name="connsiteX3" fmla="*/ 1168102 w 1410084"/>
                <a:gd name="connsiteY3" fmla="*/ 75149 h 1042076"/>
                <a:gd name="connsiteX4" fmla="*/ 1079795 w 1410084"/>
                <a:gd name="connsiteY4" fmla="*/ 77632 h 1042076"/>
                <a:gd name="connsiteX5" fmla="*/ 955553 w 1410084"/>
                <a:gd name="connsiteY5" fmla="*/ 83131 h 1042076"/>
                <a:gd name="connsiteX6" fmla="*/ 967176 w 1410084"/>
                <a:gd name="connsiteY6" fmla="*/ 93137 h 1042076"/>
                <a:gd name="connsiteX7" fmla="*/ 1048884 w 1410084"/>
                <a:gd name="connsiteY7" fmla="*/ 86962 h 1042076"/>
                <a:gd name="connsiteX8" fmla="*/ 1118414 w 1410084"/>
                <a:gd name="connsiteY8" fmla="*/ 106205 h 1042076"/>
                <a:gd name="connsiteX9" fmla="*/ 1163222 w 1410084"/>
                <a:gd name="connsiteY9" fmla="*/ 89127 h 1042076"/>
                <a:gd name="connsiteX10" fmla="*/ 1182415 w 1410084"/>
                <a:gd name="connsiteY10" fmla="*/ 109116 h 1042076"/>
                <a:gd name="connsiteX11" fmla="*/ 1157074 w 1410084"/>
                <a:gd name="connsiteY11" fmla="*/ 141078 h 1042076"/>
                <a:gd name="connsiteX12" fmla="*/ 1215842 w 1410084"/>
                <a:gd name="connsiteY12" fmla="*/ 120711 h 1042076"/>
                <a:gd name="connsiteX13" fmla="*/ 1327919 w 1410084"/>
                <a:gd name="connsiteY13" fmla="*/ 99226 h 1042076"/>
                <a:gd name="connsiteX14" fmla="*/ 1397121 w 1410084"/>
                <a:gd name="connsiteY14" fmla="*/ 109983 h 1042076"/>
                <a:gd name="connsiteX15" fmla="*/ 1410084 w 1410084"/>
                <a:gd name="connsiteY15" fmla="*/ 133502 h 1042076"/>
                <a:gd name="connsiteX16" fmla="*/ 1315981 w 1410084"/>
                <a:gd name="connsiteY16" fmla="*/ 172003 h 1042076"/>
                <a:gd name="connsiteX17" fmla="*/ 1302947 w 1410084"/>
                <a:gd name="connsiteY17" fmla="*/ 184279 h 1042076"/>
                <a:gd name="connsiteX18" fmla="*/ 1229170 w 1410084"/>
                <a:gd name="connsiteY18" fmla="*/ 193454 h 1042076"/>
                <a:gd name="connsiteX19" fmla="*/ 1282626 w 1410084"/>
                <a:gd name="connsiteY19" fmla="*/ 195990 h 1042076"/>
                <a:gd name="connsiteX20" fmla="*/ 1255628 w 1410084"/>
                <a:gd name="connsiteY20" fmla="*/ 234127 h 1042076"/>
                <a:gd name="connsiteX21" fmla="*/ 1237047 w 1410084"/>
                <a:gd name="connsiteY21" fmla="*/ 267409 h 1042076"/>
                <a:gd name="connsiteX22" fmla="*/ 1237773 w 1410084"/>
                <a:gd name="connsiteY22" fmla="*/ 323141 h 1042076"/>
                <a:gd name="connsiteX23" fmla="*/ 1265487 w 1410084"/>
                <a:gd name="connsiteY23" fmla="*/ 355088 h 1042076"/>
                <a:gd name="connsiteX24" fmla="*/ 1229428 w 1410084"/>
                <a:gd name="connsiteY24" fmla="*/ 357091 h 1042076"/>
                <a:gd name="connsiteX25" fmla="*/ 1191471 w 1410084"/>
                <a:gd name="connsiteY25" fmla="*/ 372362 h 1042076"/>
                <a:gd name="connsiteX26" fmla="*/ 1234067 w 1410084"/>
                <a:gd name="connsiteY26" fmla="*/ 397662 h 1042076"/>
                <a:gd name="connsiteX27" fmla="*/ 1239494 w 1410084"/>
                <a:gd name="connsiteY27" fmla="*/ 437542 h 1042076"/>
                <a:gd name="connsiteX28" fmla="*/ 1214813 w 1410084"/>
                <a:gd name="connsiteY28" fmla="*/ 441834 h 1042076"/>
                <a:gd name="connsiteX29" fmla="*/ 1244714 w 1410084"/>
                <a:gd name="connsiteY29" fmla="*/ 481288 h 1042076"/>
                <a:gd name="connsiteX30" fmla="*/ 1193438 w 1410084"/>
                <a:gd name="connsiteY30" fmla="*/ 484544 h 1042076"/>
                <a:gd name="connsiteX31" fmla="*/ 1220207 w 1410084"/>
                <a:gd name="connsiteY31" fmla="*/ 502886 h 1042076"/>
                <a:gd name="connsiteX32" fmla="*/ 1212640 w 1410084"/>
                <a:gd name="connsiteY32" fmla="*/ 518656 h 1042076"/>
                <a:gd name="connsiteX33" fmla="*/ 1180097 w 1410084"/>
                <a:gd name="connsiteY33" fmla="*/ 525537 h 1042076"/>
                <a:gd name="connsiteX34" fmla="*/ 1147926 w 1410084"/>
                <a:gd name="connsiteY34" fmla="*/ 525666 h 1042076"/>
                <a:gd name="connsiteX35" fmla="*/ 1176844 w 1410084"/>
                <a:gd name="connsiteY35" fmla="*/ 555484 h 1042076"/>
                <a:gd name="connsiteX36" fmla="*/ 1177157 w 1410084"/>
                <a:gd name="connsiteY36" fmla="*/ 574836 h 1042076"/>
                <a:gd name="connsiteX37" fmla="*/ 1131481 w 1410084"/>
                <a:gd name="connsiteY37" fmla="*/ 556856 h 1042076"/>
                <a:gd name="connsiteX38" fmla="*/ 1119603 w 1410084"/>
                <a:gd name="connsiteY38" fmla="*/ 568506 h 1042076"/>
                <a:gd name="connsiteX39" fmla="*/ 1150764 w 1410084"/>
                <a:gd name="connsiteY39" fmla="*/ 579326 h 1042076"/>
                <a:gd name="connsiteX40" fmla="*/ 1181006 w 1410084"/>
                <a:gd name="connsiteY40" fmla="*/ 605526 h 1042076"/>
                <a:gd name="connsiteX41" fmla="*/ 1189760 w 1410084"/>
                <a:gd name="connsiteY41" fmla="*/ 639522 h 1042076"/>
                <a:gd name="connsiteX42" fmla="*/ 1148616 w 1410084"/>
                <a:gd name="connsiteY42" fmla="*/ 647571 h 1042076"/>
                <a:gd name="connsiteX43" fmla="*/ 1130819 w 1410084"/>
                <a:gd name="connsiteY43" fmla="*/ 631436 h 1042076"/>
                <a:gd name="connsiteX44" fmla="*/ 1102280 w 1410084"/>
                <a:gd name="connsiteY44" fmla="*/ 607145 h 1042076"/>
                <a:gd name="connsiteX45" fmla="*/ 1110176 w 1410084"/>
                <a:gd name="connsiteY45" fmla="*/ 635811 h 1042076"/>
                <a:gd name="connsiteX46" fmla="*/ 1083367 w 1410084"/>
                <a:gd name="connsiteY46" fmla="*/ 657738 h 1042076"/>
                <a:gd name="connsiteX47" fmla="*/ 1144198 w 1410084"/>
                <a:gd name="connsiteY47" fmla="*/ 659498 h 1042076"/>
                <a:gd name="connsiteX48" fmla="*/ 1176015 w 1410084"/>
                <a:gd name="connsiteY48" fmla="*/ 661757 h 1042076"/>
                <a:gd name="connsiteX49" fmla="*/ 1114148 w 1410084"/>
                <a:gd name="connsiteY49" fmla="*/ 697473 h 1042076"/>
                <a:gd name="connsiteX50" fmla="*/ 1051407 w 1410084"/>
                <a:gd name="connsiteY50" fmla="*/ 729271 h 1042076"/>
                <a:gd name="connsiteX51" fmla="*/ 983859 w 1410084"/>
                <a:gd name="connsiteY51" fmla="*/ 743049 h 1042076"/>
                <a:gd name="connsiteX52" fmla="*/ 958400 w 1410084"/>
                <a:gd name="connsiteY52" fmla="*/ 743218 h 1042076"/>
                <a:gd name="connsiteX53" fmla="*/ 934524 w 1410084"/>
                <a:gd name="connsiteY53" fmla="*/ 758475 h 1042076"/>
                <a:gd name="connsiteX54" fmla="*/ 902418 w 1410084"/>
                <a:gd name="connsiteY54" fmla="*/ 799705 h 1042076"/>
                <a:gd name="connsiteX55" fmla="*/ 852770 w 1410084"/>
                <a:gd name="connsiteY55" fmla="*/ 826626 h 1042076"/>
                <a:gd name="connsiteX56" fmla="*/ 836821 w 1410084"/>
                <a:gd name="connsiteY56" fmla="*/ 828198 h 1042076"/>
                <a:gd name="connsiteX57" fmla="*/ 806092 w 1410084"/>
                <a:gd name="connsiteY57" fmla="*/ 837541 h 1042076"/>
                <a:gd name="connsiteX58" fmla="*/ 772918 w 1410084"/>
                <a:gd name="connsiteY58" fmla="*/ 846392 h 1042076"/>
                <a:gd name="connsiteX59" fmla="*/ 753141 w 1410084"/>
                <a:gd name="connsiteY59" fmla="*/ 869644 h 1042076"/>
                <a:gd name="connsiteX60" fmla="*/ 752822 w 1410084"/>
                <a:gd name="connsiteY60" fmla="*/ 895688 h 1042076"/>
                <a:gd name="connsiteX61" fmla="*/ 741145 w 1410084"/>
                <a:gd name="connsiteY61" fmla="*/ 919795 h 1042076"/>
                <a:gd name="connsiteX62" fmla="*/ 703505 w 1410084"/>
                <a:gd name="connsiteY62" fmla="*/ 948811 h 1042076"/>
                <a:gd name="connsiteX63" fmla="*/ 712800 w 1410084"/>
                <a:gd name="connsiteY63" fmla="*/ 976775 h 1042076"/>
                <a:gd name="connsiteX64" fmla="*/ 702424 w 1410084"/>
                <a:gd name="connsiteY64" fmla="*/ 1005980 h 1042076"/>
                <a:gd name="connsiteX65" fmla="*/ 690601 w 1410084"/>
                <a:gd name="connsiteY65" fmla="*/ 1039971 h 1042076"/>
                <a:gd name="connsiteX66" fmla="*/ 658075 w 1410084"/>
                <a:gd name="connsiteY66" fmla="*/ 1042076 h 1042076"/>
                <a:gd name="connsiteX67" fmla="*/ 624002 w 1410084"/>
                <a:gd name="connsiteY67" fmla="*/ 1013712 h 1042076"/>
                <a:gd name="connsiteX68" fmla="*/ 577853 w 1410084"/>
                <a:gd name="connsiteY68" fmla="*/ 1013532 h 1042076"/>
                <a:gd name="connsiteX69" fmla="*/ 555459 w 1410084"/>
                <a:gd name="connsiteY69" fmla="*/ 994274 h 1042076"/>
                <a:gd name="connsiteX70" fmla="*/ 540056 w 1410084"/>
                <a:gd name="connsiteY70" fmla="*/ 959553 h 1042076"/>
                <a:gd name="connsiteX71" fmla="*/ 500057 w 1410084"/>
                <a:gd name="connsiteY71" fmla="*/ 914515 h 1042076"/>
                <a:gd name="connsiteX72" fmla="*/ 488356 w 1410084"/>
                <a:gd name="connsiteY72" fmla="*/ 890534 h 1042076"/>
                <a:gd name="connsiteX73" fmla="*/ 485207 w 1410084"/>
                <a:gd name="connsiteY73" fmla="*/ 857018 h 1042076"/>
                <a:gd name="connsiteX74" fmla="*/ 453236 w 1410084"/>
                <a:gd name="connsiteY74" fmla="*/ 822015 h 1042076"/>
                <a:gd name="connsiteX75" fmla="*/ 461547 w 1410084"/>
                <a:gd name="connsiteY75" fmla="*/ 793635 h 1042076"/>
                <a:gd name="connsiteX76" fmla="*/ 446139 w 1410084"/>
                <a:gd name="connsiteY76" fmla="*/ 779920 h 1042076"/>
                <a:gd name="connsiteX77" fmla="*/ 468961 w 1410084"/>
                <a:gd name="connsiteY77" fmla="*/ 733784 h 1042076"/>
                <a:gd name="connsiteX78" fmla="*/ 503701 w 1410084"/>
                <a:gd name="connsiteY78" fmla="*/ 718874 h 1042076"/>
                <a:gd name="connsiteX79" fmla="*/ 512818 w 1410084"/>
                <a:gd name="connsiteY79" fmla="*/ 701980 h 1042076"/>
                <a:gd name="connsiteX80" fmla="*/ 517647 w 1410084"/>
                <a:gd name="connsiteY80" fmla="*/ 670033 h 1042076"/>
                <a:gd name="connsiteX81" fmla="*/ 491278 w 1410084"/>
                <a:gd name="connsiteY81" fmla="*/ 684578 h 1042076"/>
                <a:gd name="connsiteX82" fmla="*/ 478713 w 1410084"/>
                <a:gd name="connsiteY82" fmla="*/ 690656 h 1042076"/>
                <a:gd name="connsiteX83" fmla="*/ 457976 w 1410084"/>
                <a:gd name="connsiteY83" fmla="*/ 696463 h 1042076"/>
                <a:gd name="connsiteX84" fmla="*/ 429652 w 1410084"/>
                <a:gd name="connsiteY84" fmla="*/ 683141 h 1042076"/>
                <a:gd name="connsiteX85" fmla="*/ 428114 w 1410084"/>
                <a:gd name="connsiteY85" fmla="*/ 655130 h 1042076"/>
                <a:gd name="connsiteX86" fmla="*/ 437143 w 1410084"/>
                <a:gd name="connsiteY86" fmla="*/ 632914 h 1042076"/>
                <a:gd name="connsiteX87" fmla="*/ 458553 w 1410084"/>
                <a:gd name="connsiteY87" fmla="*/ 632307 h 1042076"/>
                <a:gd name="connsiteX88" fmla="*/ 505669 w 1410084"/>
                <a:gd name="connsiteY88" fmla="*/ 643449 h 1042076"/>
                <a:gd name="connsiteX89" fmla="*/ 465984 w 1410084"/>
                <a:gd name="connsiteY89" fmla="*/ 616741 h 1042076"/>
                <a:gd name="connsiteX90" fmla="*/ 445329 w 1410084"/>
                <a:gd name="connsiteY90" fmla="*/ 602193 h 1042076"/>
                <a:gd name="connsiteX91" fmla="*/ 422343 w 1410084"/>
                <a:gd name="connsiteY91" fmla="*/ 608183 h 1042076"/>
                <a:gd name="connsiteX92" fmla="*/ 403077 w 1410084"/>
                <a:gd name="connsiteY92" fmla="*/ 597612 h 1042076"/>
                <a:gd name="connsiteX93" fmla="*/ 428848 w 1410084"/>
                <a:gd name="connsiteY93" fmla="*/ 557363 h 1042076"/>
                <a:gd name="connsiteX94" fmla="*/ 414811 w 1410084"/>
                <a:gd name="connsiteY94" fmla="*/ 541044 h 1042076"/>
                <a:gd name="connsiteX95" fmla="*/ 396490 w 1410084"/>
                <a:gd name="connsiteY95" fmla="*/ 510384 h 1042076"/>
                <a:gd name="connsiteX96" fmla="*/ 368708 w 1410084"/>
                <a:gd name="connsiteY96" fmla="*/ 462372 h 1042076"/>
                <a:gd name="connsiteX97" fmla="*/ 339320 w 1410084"/>
                <a:gd name="connsiteY97" fmla="*/ 444485 h 1042076"/>
                <a:gd name="connsiteX98" fmla="*/ 339588 w 1410084"/>
                <a:gd name="connsiteY98" fmla="*/ 425012 h 1042076"/>
                <a:gd name="connsiteX99" fmla="*/ 277647 w 1410084"/>
                <a:gd name="connsiteY99" fmla="*/ 397458 h 1042076"/>
                <a:gd name="connsiteX100" fmla="*/ 228642 w 1410084"/>
                <a:gd name="connsiteY100" fmla="*/ 394001 h 1042076"/>
                <a:gd name="connsiteX101" fmla="*/ 166950 w 1410084"/>
                <a:gd name="connsiteY101" fmla="*/ 395917 h 1042076"/>
                <a:gd name="connsiteX102" fmla="*/ 110626 w 1410084"/>
                <a:gd name="connsiteY102" fmla="*/ 399401 h 1042076"/>
                <a:gd name="connsiteX103" fmla="*/ 83839 w 1410084"/>
                <a:gd name="connsiteY103" fmla="*/ 384255 h 1042076"/>
                <a:gd name="connsiteX104" fmla="*/ 43728 w 1410084"/>
                <a:gd name="connsiteY104" fmla="*/ 353976 h 1042076"/>
                <a:gd name="connsiteX105" fmla="*/ 104340 w 1410084"/>
                <a:gd name="connsiteY105" fmla="*/ 338644 h 1042076"/>
                <a:gd name="connsiteX106" fmla="*/ 150799 w 1410084"/>
                <a:gd name="connsiteY106" fmla="*/ 336057 h 1042076"/>
                <a:gd name="connsiteX107" fmla="*/ 52030 w 1410084"/>
                <a:gd name="connsiteY107" fmla="*/ 323272 h 1042076"/>
                <a:gd name="connsiteX108" fmla="*/ 0 w 1410084"/>
                <a:gd name="connsiteY108" fmla="*/ 303018 h 1042076"/>
                <a:gd name="connsiteX109" fmla="*/ 3176 w 1410084"/>
                <a:gd name="connsiteY109" fmla="*/ 283537 h 1042076"/>
                <a:gd name="connsiteX110" fmla="*/ 90566 w 1410084"/>
                <a:gd name="connsiteY110" fmla="*/ 259123 h 1042076"/>
                <a:gd name="connsiteX111" fmla="*/ 175112 w 1410084"/>
                <a:gd name="connsiteY111" fmla="*/ 234419 h 1042076"/>
                <a:gd name="connsiteX112" fmla="*/ 184040 w 1410084"/>
                <a:gd name="connsiteY112" fmla="*/ 215493 h 1042076"/>
                <a:gd name="connsiteX113" fmla="*/ 121738 w 1410084"/>
                <a:gd name="connsiteY113" fmla="*/ 196620 h 1042076"/>
                <a:gd name="connsiteX114" fmla="*/ 141859 w 1410084"/>
                <a:gd name="connsiteY114" fmla="*/ 175438 h 1042076"/>
                <a:gd name="connsiteX115" fmla="*/ 221772 w 1410084"/>
                <a:gd name="connsiteY115" fmla="*/ 137740 h 1042076"/>
                <a:gd name="connsiteX116" fmla="*/ 255353 w 1410084"/>
                <a:gd name="connsiteY116" fmla="*/ 131885 h 1042076"/>
                <a:gd name="connsiteX117" fmla="*/ 245734 w 1410084"/>
                <a:gd name="connsiteY117" fmla="*/ 107124 h 1042076"/>
                <a:gd name="connsiteX118" fmla="*/ 300409 w 1410084"/>
                <a:gd name="connsiteY118" fmla="*/ 92461 h 1042076"/>
                <a:gd name="connsiteX119" fmla="*/ 371390 w 1410084"/>
                <a:gd name="connsiteY119" fmla="*/ 83651 h 1042076"/>
                <a:gd name="connsiteX120" fmla="*/ 442323 w 1410084"/>
                <a:gd name="connsiteY120" fmla="*/ 83152 h 1042076"/>
                <a:gd name="connsiteX121" fmla="*/ 467509 w 1410084"/>
                <a:gd name="connsiteY121" fmla="*/ 100570 h 1042076"/>
                <a:gd name="connsiteX122" fmla="*/ 528740 w 1410084"/>
                <a:gd name="connsiteY122" fmla="*/ 69654 h 1042076"/>
                <a:gd name="connsiteX123" fmla="*/ 583833 w 1410084"/>
                <a:gd name="connsiteY123" fmla="*/ 90716 h 1042076"/>
                <a:gd name="connsiteX124" fmla="*/ 616241 w 1410084"/>
                <a:gd name="connsiteY124" fmla="*/ 95126 h 1042076"/>
                <a:gd name="connsiteX125" fmla="*/ 664180 w 1410084"/>
                <a:gd name="connsiteY125" fmla="*/ 113202 h 1042076"/>
                <a:gd name="connsiteX126" fmla="*/ 609297 w 1410084"/>
                <a:gd name="connsiteY126" fmla="*/ 83143 h 1042076"/>
                <a:gd name="connsiteX127" fmla="*/ 612457 w 1410084"/>
                <a:gd name="connsiteY127" fmla="*/ 58909 h 1042076"/>
                <a:gd name="connsiteX128" fmla="*/ 689954 w 1410084"/>
                <a:gd name="connsiteY128" fmla="*/ 24556 h 1042076"/>
                <a:gd name="connsiteX129" fmla="*/ 770949 w 1410084"/>
                <a:gd name="connsiteY129" fmla="*/ 27166 h 1042076"/>
                <a:gd name="connsiteX130" fmla="*/ 800388 w 1410084"/>
                <a:gd name="connsiteY130" fmla="*/ 5647 h 1042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1410084" h="1042076">
                  <a:moveTo>
                    <a:pt x="881969" y="0"/>
                  </a:moveTo>
                  <a:lnTo>
                    <a:pt x="1066339" y="7371"/>
                  </a:lnTo>
                  <a:lnTo>
                    <a:pt x="1210723" y="53274"/>
                  </a:lnTo>
                  <a:lnTo>
                    <a:pt x="1168102" y="75149"/>
                  </a:lnTo>
                  <a:lnTo>
                    <a:pt x="1079795" y="77632"/>
                  </a:lnTo>
                  <a:lnTo>
                    <a:pt x="955553" y="83131"/>
                  </a:lnTo>
                  <a:lnTo>
                    <a:pt x="967176" y="93137"/>
                  </a:lnTo>
                  <a:lnTo>
                    <a:pt x="1048884" y="86962"/>
                  </a:lnTo>
                  <a:lnTo>
                    <a:pt x="1118414" y="106205"/>
                  </a:lnTo>
                  <a:lnTo>
                    <a:pt x="1163222" y="89127"/>
                  </a:lnTo>
                  <a:lnTo>
                    <a:pt x="1182415" y="109116"/>
                  </a:lnTo>
                  <a:lnTo>
                    <a:pt x="1157074" y="141078"/>
                  </a:lnTo>
                  <a:lnTo>
                    <a:pt x="1215842" y="120711"/>
                  </a:lnTo>
                  <a:lnTo>
                    <a:pt x="1327919" y="99226"/>
                  </a:lnTo>
                  <a:lnTo>
                    <a:pt x="1397121" y="109983"/>
                  </a:lnTo>
                  <a:lnTo>
                    <a:pt x="1410084" y="133502"/>
                  </a:lnTo>
                  <a:lnTo>
                    <a:pt x="1315981" y="172003"/>
                  </a:lnTo>
                  <a:lnTo>
                    <a:pt x="1302947" y="184279"/>
                  </a:lnTo>
                  <a:lnTo>
                    <a:pt x="1229170" y="193454"/>
                  </a:lnTo>
                  <a:lnTo>
                    <a:pt x="1282626" y="195990"/>
                  </a:lnTo>
                  <a:lnTo>
                    <a:pt x="1255628" y="234127"/>
                  </a:lnTo>
                  <a:lnTo>
                    <a:pt x="1237047" y="267409"/>
                  </a:lnTo>
                  <a:lnTo>
                    <a:pt x="1237773" y="323141"/>
                  </a:lnTo>
                  <a:lnTo>
                    <a:pt x="1265487" y="355088"/>
                  </a:lnTo>
                  <a:lnTo>
                    <a:pt x="1229428" y="357091"/>
                  </a:lnTo>
                  <a:lnTo>
                    <a:pt x="1191471" y="372362"/>
                  </a:lnTo>
                  <a:lnTo>
                    <a:pt x="1234067" y="397662"/>
                  </a:lnTo>
                  <a:lnTo>
                    <a:pt x="1239494" y="437542"/>
                  </a:lnTo>
                  <a:lnTo>
                    <a:pt x="1214813" y="441834"/>
                  </a:lnTo>
                  <a:lnTo>
                    <a:pt x="1244714" y="481288"/>
                  </a:lnTo>
                  <a:lnTo>
                    <a:pt x="1193438" y="484544"/>
                  </a:lnTo>
                  <a:lnTo>
                    <a:pt x="1220207" y="502886"/>
                  </a:lnTo>
                  <a:lnTo>
                    <a:pt x="1212640" y="518656"/>
                  </a:lnTo>
                  <a:lnTo>
                    <a:pt x="1180097" y="525537"/>
                  </a:lnTo>
                  <a:lnTo>
                    <a:pt x="1147926" y="525666"/>
                  </a:lnTo>
                  <a:lnTo>
                    <a:pt x="1176844" y="555484"/>
                  </a:lnTo>
                  <a:lnTo>
                    <a:pt x="1177157" y="574836"/>
                  </a:lnTo>
                  <a:lnTo>
                    <a:pt x="1131481" y="556856"/>
                  </a:lnTo>
                  <a:lnTo>
                    <a:pt x="1119603" y="568506"/>
                  </a:lnTo>
                  <a:lnTo>
                    <a:pt x="1150764" y="579326"/>
                  </a:lnTo>
                  <a:lnTo>
                    <a:pt x="1181006" y="605526"/>
                  </a:lnTo>
                  <a:lnTo>
                    <a:pt x="1189760" y="639522"/>
                  </a:lnTo>
                  <a:lnTo>
                    <a:pt x="1148616" y="647571"/>
                  </a:lnTo>
                  <a:lnTo>
                    <a:pt x="1130819" y="631436"/>
                  </a:lnTo>
                  <a:lnTo>
                    <a:pt x="1102280" y="607145"/>
                  </a:lnTo>
                  <a:lnTo>
                    <a:pt x="1110176" y="635811"/>
                  </a:lnTo>
                  <a:lnTo>
                    <a:pt x="1083367" y="657738"/>
                  </a:lnTo>
                  <a:lnTo>
                    <a:pt x="1144198" y="659498"/>
                  </a:lnTo>
                  <a:lnTo>
                    <a:pt x="1176015" y="661757"/>
                  </a:lnTo>
                  <a:lnTo>
                    <a:pt x="1114148" y="697473"/>
                  </a:lnTo>
                  <a:lnTo>
                    <a:pt x="1051407" y="729271"/>
                  </a:lnTo>
                  <a:lnTo>
                    <a:pt x="983859" y="743049"/>
                  </a:lnTo>
                  <a:lnTo>
                    <a:pt x="958400" y="743218"/>
                  </a:lnTo>
                  <a:lnTo>
                    <a:pt x="934524" y="758475"/>
                  </a:lnTo>
                  <a:lnTo>
                    <a:pt x="902418" y="799705"/>
                  </a:lnTo>
                  <a:lnTo>
                    <a:pt x="852770" y="826626"/>
                  </a:lnTo>
                  <a:lnTo>
                    <a:pt x="836821" y="828198"/>
                  </a:lnTo>
                  <a:lnTo>
                    <a:pt x="806092" y="837541"/>
                  </a:lnTo>
                  <a:lnTo>
                    <a:pt x="772918" y="846392"/>
                  </a:lnTo>
                  <a:lnTo>
                    <a:pt x="753141" y="869644"/>
                  </a:lnTo>
                  <a:lnTo>
                    <a:pt x="752822" y="895688"/>
                  </a:lnTo>
                  <a:lnTo>
                    <a:pt x="741145" y="919795"/>
                  </a:lnTo>
                  <a:lnTo>
                    <a:pt x="703505" y="948811"/>
                  </a:lnTo>
                  <a:lnTo>
                    <a:pt x="712800" y="976775"/>
                  </a:lnTo>
                  <a:lnTo>
                    <a:pt x="702424" y="1005980"/>
                  </a:lnTo>
                  <a:lnTo>
                    <a:pt x="690601" y="1039971"/>
                  </a:lnTo>
                  <a:lnTo>
                    <a:pt x="658075" y="1042076"/>
                  </a:lnTo>
                  <a:lnTo>
                    <a:pt x="624002" y="1013712"/>
                  </a:lnTo>
                  <a:lnTo>
                    <a:pt x="577853" y="1013532"/>
                  </a:lnTo>
                  <a:lnTo>
                    <a:pt x="555459" y="994274"/>
                  </a:lnTo>
                  <a:lnTo>
                    <a:pt x="540056" y="959553"/>
                  </a:lnTo>
                  <a:lnTo>
                    <a:pt x="500057" y="914515"/>
                  </a:lnTo>
                  <a:lnTo>
                    <a:pt x="488356" y="890534"/>
                  </a:lnTo>
                  <a:lnTo>
                    <a:pt x="485207" y="857018"/>
                  </a:lnTo>
                  <a:lnTo>
                    <a:pt x="453236" y="822015"/>
                  </a:lnTo>
                  <a:lnTo>
                    <a:pt x="461547" y="793635"/>
                  </a:lnTo>
                  <a:lnTo>
                    <a:pt x="446139" y="779920"/>
                  </a:lnTo>
                  <a:lnTo>
                    <a:pt x="468961" y="733784"/>
                  </a:lnTo>
                  <a:lnTo>
                    <a:pt x="503701" y="718874"/>
                  </a:lnTo>
                  <a:lnTo>
                    <a:pt x="512818" y="701980"/>
                  </a:lnTo>
                  <a:lnTo>
                    <a:pt x="517647" y="670033"/>
                  </a:lnTo>
                  <a:lnTo>
                    <a:pt x="491278" y="684578"/>
                  </a:lnTo>
                  <a:lnTo>
                    <a:pt x="478713" y="690656"/>
                  </a:lnTo>
                  <a:lnTo>
                    <a:pt x="457976" y="696463"/>
                  </a:lnTo>
                  <a:lnTo>
                    <a:pt x="429652" y="683141"/>
                  </a:lnTo>
                  <a:lnTo>
                    <a:pt x="428114" y="655130"/>
                  </a:lnTo>
                  <a:lnTo>
                    <a:pt x="437143" y="632914"/>
                  </a:lnTo>
                  <a:lnTo>
                    <a:pt x="458553" y="632307"/>
                  </a:lnTo>
                  <a:lnTo>
                    <a:pt x="505669" y="643449"/>
                  </a:lnTo>
                  <a:lnTo>
                    <a:pt x="465984" y="616741"/>
                  </a:lnTo>
                  <a:lnTo>
                    <a:pt x="445329" y="602193"/>
                  </a:lnTo>
                  <a:lnTo>
                    <a:pt x="422343" y="608183"/>
                  </a:lnTo>
                  <a:lnTo>
                    <a:pt x="403077" y="597612"/>
                  </a:lnTo>
                  <a:lnTo>
                    <a:pt x="428848" y="557363"/>
                  </a:lnTo>
                  <a:lnTo>
                    <a:pt x="414811" y="541044"/>
                  </a:lnTo>
                  <a:lnTo>
                    <a:pt x="396490" y="510384"/>
                  </a:lnTo>
                  <a:lnTo>
                    <a:pt x="368708" y="462372"/>
                  </a:lnTo>
                  <a:lnTo>
                    <a:pt x="339320" y="444485"/>
                  </a:lnTo>
                  <a:lnTo>
                    <a:pt x="339588" y="425012"/>
                  </a:lnTo>
                  <a:lnTo>
                    <a:pt x="277647" y="397458"/>
                  </a:lnTo>
                  <a:lnTo>
                    <a:pt x="228642" y="394001"/>
                  </a:lnTo>
                  <a:lnTo>
                    <a:pt x="166950" y="395917"/>
                  </a:lnTo>
                  <a:lnTo>
                    <a:pt x="110626" y="399401"/>
                  </a:lnTo>
                  <a:lnTo>
                    <a:pt x="83839" y="384255"/>
                  </a:lnTo>
                  <a:lnTo>
                    <a:pt x="43728" y="353976"/>
                  </a:lnTo>
                  <a:lnTo>
                    <a:pt x="104340" y="338644"/>
                  </a:lnTo>
                  <a:lnTo>
                    <a:pt x="150799" y="336057"/>
                  </a:lnTo>
                  <a:lnTo>
                    <a:pt x="52030" y="323272"/>
                  </a:lnTo>
                  <a:lnTo>
                    <a:pt x="0" y="303018"/>
                  </a:lnTo>
                  <a:lnTo>
                    <a:pt x="3176" y="283537"/>
                  </a:lnTo>
                  <a:lnTo>
                    <a:pt x="90566" y="259123"/>
                  </a:lnTo>
                  <a:lnTo>
                    <a:pt x="175112" y="234419"/>
                  </a:lnTo>
                  <a:lnTo>
                    <a:pt x="184040" y="215493"/>
                  </a:lnTo>
                  <a:lnTo>
                    <a:pt x="121738" y="196620"/>
                  </a:lnTo>
                  <a:lnTo>
                    <a:pt x="141859" y="175438"/>
                  </a:lnTo>
                  <a:lnTo>
                    <a:pt x="221772" y="137740"/>
                  </a:lnTo>
                  <a:lnTo>
                    <a:pt x="255353" y="131885"/>
                  </a:lnTo>
                  <a:lnTo>
                    <a:pt x="245734" y="107124"/>
                  </a:lnTo>
                  <a:lnTo>
                    <a:pt x="300409" y="92461"/>
                  </a:lnTo>
                  <a:lnTo>
                    <a:pt x="371390" y="83651"/>
                  </a:lnTo>
                  <a:lnTo>
                    <a:pt x="442323" y="83152"/>
                  </a:lnTo>
                  <a:lnTo>
                    <a:pt x="467509" y="100570"/>
                  </a:lnTo>
                  <a:lnTo>
                    <a:pt x="528740" y="69654"/>
                  </a:lnTo>
                  <a:lnTo>
                    <a:pt x="583833" y="90716"/>
                  </a:lnTo>
                  <a:lnTo>
                    <a:pt x="616241" y="95126"/>
                  </a:lnTo>
                  <a:lnTo>
                    <a:pt x="664180" y="113202"/>
                  </a:lnTo>
                  <a:lnTo>
                    <a:pt x="609297" y="83143"/>
                  </a:lnTo>
                  <a:lnTo>
                    <a:pt x="612457" y="58909"/>
                  </a:lnTo>
                  <a:lnTo>
                    <a:pt x="689954" y="24556"/>
                  </a:lnTo>
                  <a:lnTo>
                    <a:pt x="770949" y="27166"/>
                  </a:lnTo>
                  <a:lnTo>
                    <a:pt x="800388" y="564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grpSp>
    </p:spTree>
    <p:extLst>
      <p:ext uri="{BB962C8B-B14F-4D97-AF65-F5344CB8AC3E}">
        <p14:creationId xmlns:p14="http://schemas.microsoft.com/office/powerpoint/2010/main" val="2319425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35C6EC49-48E0-AB85-CAB9-E93D742A137F}"/>
              </a:ext>
            </a:extLst>
          </p:cNvPr>
          <p:cNvSpPr>
            <a:spLocks noGrp="1"/>
          </p:cNvSpPr>
          <p:nvPr>
            <p:ph type="body" sz="quarter" idx="14"/>
            <p:custDataLst>
              <p:tags r:id="rId1"/>
            </p:custDataLst>
          </p:nvPr>
        </p:nvSpPr>
        <p:spPr/>
        <p:txBody>
          <a:bodyPr/>
          <a:lstStyle/>
          <a:p>
            <a:r>
              <a:rPr lang="pl-PL" noProof="0" dirty="0"/>
              <a:t>#KOMÓRKOMANIA</a:t>
            </a:r>
          </a:p>
        </p:txBody>
      </p:sp>
      <p:sp>
        <p:nvSpPr>
          <p:cNvPr id="20" name="Textplatzhalter 19">
            <a:extLst>
              <a:ext uri="{FF2B5EF4-FFF2-40B4-BE49-F238E27FC236}">
                <a16:creationId xmlns:a16="http://schemas.microsoft.com/office/drawing/2014/main" id="{75CC2DA9-918E-5B57-FCF5-29CB127C9CBB}"/>
              </a:ext>
            </a:extLst>
          </p:cNvPr>
          <p:cNvSpPr>
            <a:spLocks noGrp="1"/>
          </p:cNvSpPr>
          <p:nvPr>
            <p:ph type="body" sz="quarter" idx="17"/>
            <p:custDataLst>
              <p:tags r:id="rId2"/>
            </p:custDataLst>
          </p:nvPr>
        </p:nvSpPr>
        <p:spPr>
          <a:xfrm>
            <a:off x="1005632" y="1945232"/>
            <a:ext cx="3876676" cy="3217507"/>
          </a:xfrm>
        </p:spPr>
        <p:txBody>
          <a:bodyPr/>
          <a:lstStyle/>
          <a:p>
            <a:pPr marL="0" lvl="1" indent="0" algn="ctr">
              <a:buNone/>
            </a:pPr>
            <a:r>
              <a:rPr lang="pl-PL" sz="2800" b="1" dirty="0"/>
              <a:t>2 249 000</a:t>
            </a:r>
          </a:p>
          <a:p>
            <a:pPr marL="0" lvl="1" indent="0" algn="ctr">
              <a:buNone/>
            </a:pPr>
            <a:r>
              <a:rPr lang="pl-PL" dirty="0"/>
              <a:t> </a:t>
            </a:r>
            <a:r>
              <a:rPr lang="pl-PL" altLang="en-US" sz="1200" dirty="0"/>
              <a:t>Liczba zarejestrowanych potencjalnych Dawców</a:t>
            </a:r>
            <a:br>
              <a:rPr lang="pl-PL" altLang="en-US" sz="1200" dirty="0"/>
            </a:br>
            <a:r>
              <a:rPr lang="pl-PL" altLang="en-US" sz="1200" dirty="0"/>
              <a:t>we wszystkich Ośrodkach Dawców szpiku w Polsce*</a:t>
            </a:r>
            <a:r>
              <a:rPr lang="pl-PL" sz="1200" dirty="0"/>
              <a:t> </a:t>
            </a:r>
            <a:endParaRPr lang="pl-PL" dirty="0"/>
          </a:p>
          <a:p>
            <a:pPr marL="0" lvl="1" indent="0" algn="ctr">
              <a:buNone/>
            </a:pPr>
            <a:endParaRPr lang="pl-PL" noProof="0" dirty="0"/>
          </a:p>
          <a:p>
            <a:pPr marL="0" lvl="1" indent="0" algn="ctr">
              <a:buNone/>
            </a:pPr>
            <a:endParaRPr lang="pl-PL" noProof="0" dirty="0"/>
          </a:p>
          <a:p>
            <a:pPr marL="0" lvl="1" indent="0" algn="ctr">
              <a:buNone/>
            </a:pPr>
            <a:r>
              <a:rPr lang="pl-PL" sz="2800" b="1" dirty="0">
                <a:solidFill>
                  <a:schemeClr val="accent1"/>
                </a:solidFill>
              </a:rPr>
              <a:t>2 000 000</a:t>
            </a:r>
          </a:p>
          <a:p>
            <a:pPr marL="0" lvl="1" indent="0" algn="ctr">
              <a:buNone/>
            </a:pPr>
            <a:r>
              <a:rPr lang="pl-PL" altLang="en-US" sz="1200" dirty="0"/>
              <a:t>Potencjalni Dawcy zarejestrowani </a:t>
            </a:r>
            <a:br>
              <a:rPr lang="pl-PL" altLang="en-US" sz="1200" dirty="0"/>
            </a:br>
            <a:r>
              <a:rPr lang="pl-PL" altLang="en-US" sz="1200" dirty="0"/>
              <a:t>w Fundacji DKMS</a:t>
            </a:r>
            <a:endParaRPr lang="en-US" altLang="en-US" sz="1200" dirty="0"/>
          </a:p>
        </p:txBody>
      </p:sp>
      <p:sp>
        <p:nvSpPr>
          <p:cNvPr id="10" name="Titel 9">
            <a:extLst>
              <a:ext uri="{FF2B5EF4-FFF2-40B4-BE49-F238E27FC236}">
                <a16:creationId xmlns:a16="http://schemas.microsoft.com/office/drawing/2014/main" id="{F0C00009-ACA0-EB8E-745F-524CD8FAB75F}"/>
              </a:ext>
            </a:extLst>
          </p:cNvPr>
          <p:cNvSpPr>
            <a:spLocks noGrp="1"/>
          </p:cNvSpPr>
          <p:nvPr>
            <p:ph type="title"/>
            <p:custDataLst>
              <p:tags r:id="rId3"/>
            </p:custDataLst>
          </p:nvPr>
        </p:nvSpPr>
        <p:spPr/>
        <p:txBody>
          <a:bodyPr/>
          <a:lstStyle/>
          <a:p>
            <a:r>
              <a:rPr lang="pl-PL" noProof="0" dirty="0"/>
              <a:t>Potencjalni Dawcy szpiku w Polsce</a:t>
            </a:r>
          </a:p>
        </p:txBody>
      </p:sp>
      <p:sp>
        <p:nvSpPr>
          <p:cNvPr id="2" name="Datumsplatzhalter 1">
            <a:extLst>
              <a:ext uri="{FF2B5EF4-FFF2-40B4-BE49-F238E27FC236}">
                <a16:creationId xmlns:a16="http://schemas.microsoft.com/office/drawing/2014/main" id="{C96AE71A-14C1-06B4-91A2-E8545701D4EC}"/>
              </a:ext>
            </a:extLst>
          </p:cNvPr>
          <p:cNvSpPr>
            <a:spLocks noGrp="1"/>
          </p:cNvSpPr>
          <p:nvPr>
            <p:ph type="dt" sz="half" idx="18"/>
            <p:custDataLst>
              <p:tags r:id="rId4"/>
            </p:custDataLst>
          </p:nvPr>
        </p:nvSpPr>
        <p:spPr/>
        <p:txBody>
          <a:bodyPr/>
          <a:lstStyle/>
          <a:p>
            <a:r>
              <a:rPr lang="en-US"/>
              <a:t>01.08.2023</a:t>
            </a:r>
            <a:endParaRPr lang="pl-PL" dirty="0"/>
          </a:p>
        </p:txBody>
      </p:sp>
      <p:grpSp>
        <p:nvGrpSpPr>
          <p:cNvPr id="3" name="Group 4">
            <a:extLst>
              <a:ext uri="{FF2B5EF4-FFF2-40B4-BE49-F238E27FC236}">
                <a16:creationId xmlns:a16="http://schemas.microsoft.com/office/drawing/2014/main" id="{C4394C46-7199-0908-B487-204D0BEE8B0D}"/>
              </a:ext>
            </a:extLst>
          </p:cNvPr>
          <p:cNvGrpSpPr/>
          <p:nvPr>
            <p:custDataLst>
              <p:tags r:id="rId5"/>
            </p:custDataLst>
          </p:nvPr>
        </p:nvGrpSpPr>
        <p:grpSpPr>
          <a:xfrm>
            <a:off x="5482220" y="1052293"/>
            <a:ext cx="6709781" cy="5085850"/>
            <a:chOff x="1626234" y="1700213"/>
            <a:chExt cx="5891532" cy="4465637"/>
          </a:xfrm>
          <a:solidFill>
            <a:schemeClr val="bg2"/>
          </a:solidFill>
        </p:grpSpPr>
        <p:sp>
          <p:nvSpPr>
            <p:cNvPr id="13" name="ee4p_CY_1_15912">
              <a:extLst>
                <a:ext uri="{FF2B5EF4-FFF2-40B4-BE49-F238E27FC236}">
                  <a16:creationId xmlns:a16="http://schemas.microsoft.com/office/drawing/2014/main" id="{9A176D0D-DB82-2D5D-273E-0F0FF18154CA}"/>
                </a:ext>
              </a:extLst>
            </p:cNvPr>
            <p:cNvSpPr>
              <a:spLocks noChangeAspect="1"/>
            </p:cNvSpPr>
            <p:nvPr>
              <p:custDataLst>
                <p:tags r:id="rId8"/>
              </p:custDataLst>
            </p:nvPr>
          </p:nvSpPr>
          <p:spPr>
            <a:xfrm>
              <a:off x="6603135" y="6057298"/>
              <a:ext cx="197672" cy="108552"/>
            </a:xfrm>
            <a:custGeom>
              <a:avLst/>
              <a:gdLst>
                <a:gd name="connsiteX0" fmla="*/ 49864 w 49864"/>
                <a:gd name="connsiteY0" fmla="*/ 0 h 27383"/>
                <a:gd name="connsiteX1" fmla="*/ 47811 w 49864"/>
                <a:gd name="connsiteY1" fmla="*/ 1725 h 27383"/>
                <a:gd name="connsiteX2" fmla="*/ 36286 w 49864"/>
                <a:gd name="connsiteY2" fmla="*/ 9300 h 27383"/>
                <a:gd name="connsiteX3" fmla="*/ 35532 w 49864"/>
                <a:gd name="connsiteY3" fmla="*/ 11549 h 27383"/>
                <a:gd name="connsiteX4" fmla="*/ 36049 w 49864"/>
                <a:gd name="connsiteY4" fmla="*/ 13104 h 27383"/>
                <a:gd name="connsiteX5" fmla="*/ 37668 w 49864"/>
                <a:gd name="connsiteY5" fmla="*/ 14987 h 27383"/>
                <a:gd name="connsiteX6" fmla="*/ 38091 w 49864"/>
                <a:gd name="connsiteY6" fmla="*/ 15480 h 27383"/>
                <a:gd name="connsiteX7" fmla="*/ 38679 w 49864"/>
                <a:gd name="connsiteY7" fmla="*/ 16912 h 27383"/>
                <a:gd name="connsiteX8" fmla="*/ 36165 w 49864"/>
                <a:gd name="connsiteY8" fmla="*/ 17336 h 27383"/>
                <a:gd name="connsiteX9" fmla="*/ 33643 w 49864"/>
                <a:gd name="connsiteY9" fmla="*/ 17475 h 27383"/>
                <a:gd name="connsiteX10" fmla="*/ 32240 w 49864"/>
                <a:gd name="connsiteY10" fmla="*/ 17291 h 27383"/>
                <a:gd name="connsiteX11" fmla="*/ 30922 w 49864"/>
                <a:gd name="connsiteY11" fmla="*/ 17376 h 27383"/>
                <a:gd name="connsiteX12" fmla="*/ 26832 w 49864"/>
                <a:gd name="connsiteY12" fmla="*/ 21465 h 27383"/>
                <a:gd name="connsiteX13" fmla="*/ 24632 w 49864"/>
                <a:gd name="connsiteY13" fmla="*/ 22855 h 27383"/>
                <a:gd name="connsiteX14" fmla="*/ 22015 w 49864"/>
                <a:gd name="connsiteY14" fmla="*/ 23683 h 27383"/>
                <a:gd name="connsiteX15" fmla="*/ 19350 w 49864"/>
                <a:gd name="connsiteY15" fmla="*/ 24175 h 27383"/>
                <a:gd name="connsiteX16" fmla="*/ 18011 w 49864"/>
                <a:gd name="connsiteY16" fmla="*/ 24237 h 27383"/>
                <a:gd name="connsiteX17" fmla="*/ 16834 w 49864"/>
                <a:gd name="connsiteY17" fmla="*/ 24756 h 27383"/>
                <a:gd name="connsiteX18" fmla="*/ 16007 w 49864"/>
                <a:gd name="connsiteY18" fmla="*/ 25702 h 27383"/>
                <a:gd name="connsiteX19" fmla="*/ 15986 w 49864"/>
                <a:gd name="connsiteY19" fmla="*/ 26624 h 27383"/>
                <a:gd name="connsiteX20" fmla="*/ 15632 w 49864"/>
                <a:gd name="connsiteY20" fmla="*/ 27383 h 27383"/>
                <a:gd name="connsiteX21" fmla="*/ 14170 w 49864"/>
                <a:gd name="connsiteY21" fmla="*/ 27226 h 27383"/>
                <a:gd name="connsiteX22" fmla="*/ 13561 w 49864"/>
                <a:gd name="connsiteY22" fmla="*/ 25737 h 27383"/>
                <a:gd name="connsiteX23" fmla="*/ 12520 w 49864"/>
                <a:gd name="connsiteY23" fmla="*/ 25097 h 27383"/>
                <a:gd name="connsiteX24" fmla="*/ 9931 w 49864"/>
                <a:gd name="connsiteY24" fmla="*/ 25430 h 27383"/>
                <a:gd name="connsiteX25" fmla="*/ 8668 w 49864"/>
                <a:gd name="connsiteY25" fmla="*/ 25391 h 27383"/>
                <a:gd name="connsiteX26" fmla="*/ 4524 w 49864"/>
                <a:gd name="connsiteY26" fmla="*/ 23970 h 27383"/>
                <a:gd name="connsiteX27" fmla="*/ 3273 w 49864"/>
                <a:gd name="connsiteY27" fmla="*/ 23390 h 27383"/>
                <a:gd name="connsiteX28" fmla="*/ 2494 w 49864"/>
                <a:gd name="connsiteY28" fmla="*/ 22176 h 27383"/>
                <a:gd name="connsiteX29" fmla="*/ 358 w 49864"/>
                <a:gd name="connsiteY29" fmla="*/ 17790 h 27383"/>
                <a:gd name="connsiteX30" fmla="*/ 0 w 49864"/>
                <a:gd name="connsiteY30" fmla="*/ 14543 h 27383"/>
                <a:gd name="connsiteX31" fmla="*/ 1989 w 49864"/>
                <a:gd name="connsiteY31" fmla="*/ 15374 h 27383"/>
                <a:gd name="connsiteX32" fmla="*/ 3848 w 49864"/>
                <a:gd name="connsiteY32" fmla="*/ 14367 h 27383"/>
                <a:gd name="connsiteX33" fmla="*/ 5638 w 49864"/>
                <a:gd name="connsiteY33" fmla="*/ 12718 h 27383"/>
                <a:gd name="connsiteX34" fmla="*/ 7769 w 49864"/>
                <a:gd name="connsiteY34" fmla="*/ 12044 h 27383"/>
                <a:gd name="connsiteX35" fmla="*/ 9104 w 49864"/>
                <a:gd name="connsiteY35" fmla="*/ 12335 h 27383"/>
                <a:gd name="connsiteX36" fmla="*/ 10423 w 49864"/>
                <a:gd name="connsiteY36" fmla="*/ 12623 h 27383"/>
                <a:gd name="connsiteX37" fmla="*/ 12800 w 49864"/>
                <a:gd name="connsiteY37" fmla="*/ 12096 h 27383"/>
                <a:gd name="connsiteX38" fmla="*/ 13829 w 49864"/>
                <a:gd name="connsiteY38" fmla="*/ 9650 h 27383"/>
                <a:gd name="connsiteX39" fmla="*/ 14165 w 49864"/>
                <a:gd name="connsiteY39" fmla="*/ 6829 h 27383"/>
                <a:gd name="connsiteX40" fmla="*/ 18186 w 49864"/>
                <a:gd name="connsiteY40" fmla="*/ 7639 h 27383"/>
                <a:gd name="connsiteX41" fmla="*/ 22263 w 49864"/>
                <a:gd name="connsiteY41" fmla="*/ 8058 h 27383"/>
                <a:gd name="connsiteX42" fmla="*/ 25602 w 49864"/>
                <a:gd name="connsiteY42" fmla="*/ 8199 h 27383"/>
                <a:gd name="connsiteX43" fmla="*/ 28892 w 49864"/>
                <a:gd name="connsiteY43" fmla="*/ 7740 h 27383"/>
                <a:gd name="connsiteX44" fmla="*/ 38972 w 49864"/>
                <a:gd name="connsiteY44" fmla="*/ 4730 h 27383"/>
                <a:gd name="connsiteX45" fmla="*/ 41825 w 49864"/>
                <a:gd name="connsiteY45" fmla="*/ 2927 h 27383"/>
                <a:gd name="connsiteX46" fmla="*/ 43591 w 49864"/>
                <a:gd name="connsiteY46" fmla="*/ 2317 h 27383"/>
                <a:gd name="connsiteX47" fmla="*/ 46660 w 49864"/>
                <a:gd name="connsiteY47" fmla="*/ 825 h 27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9864" h="27383">
                  <a:moveTo>
                    <a:pt x="49864" y="0"/>
                  </a:moveTo>
                  <a:lnTo>
                    <a:pt x="47811" y="1725"/>
                  </a:lnTo>
                  <a:lnTo>
                    <a:pt x="36286" y="9300"/>
                  </a:lnTo>
                  <a:lnTo>
                    <a:pt x="35532" y="11549"/>
                  </a:lnTo>
                  <a:lnTo>
                    <a:pt x="36049" y="13104"/>
                  </a:lnTo>
                  <a:lnTo>
                    <a:pt x="37668" y="14987"/>
                  </a:lnTo>
                  <a:lnTo>
                    <a:pt x="38091" y="15480"/>
                  </a:lnTo>
                  <a:lnTo>
                    <a:pt x="38679" y="16912"/>
                  </a:lnTo>
                  <a:lnTo>
                    <a:pt x="36165" y="17336"/>
                  </a:lnTo>
                  <a:lnTo>
                    <a:pt x="33643" y="17475"/>
                  </a:lnTo>
                  <a:lnTo>
                    <a:pt x="32240" y="17291"/>
                  </a:lnTo>
                  <a:lnTo>
                    <a:pt x="30922" y="17376"/>
                  </a:lnTo>
                  <a:lnTo>
                    <a:pt x="26832" y="21465"/>
                  </a:lnTo>
                  <a:lnTo>
                    <a:pt x="24632" y="22855"/>
                  </a:lnTo>
                  <a:lnTo>
                    <a:pt x="22015" y="23683"/>
                  </a:lnTo>
                  <a:lnTo>
                    <a:pt x="19350" y="24175"/>
                  </a:lnTo>
                  <a:lnTo>
                    <a:pt x="18011" y="24237"/>
                  </a:lnTo>
                  <a:lnTo>
                    <a:pt x="16834" y="24756"/>
                  </a:lnTo>
                  <a:lnTo>
                    <a:pt x="16007" y="25702"/>
                  </a:lnTo>
                  <a:lnTo>
                    <a:pt x="15986" y="26624"/>
                  </a:lnTo>
                  <a:lnTo>
                    <a:pt x="15632" y="27383"/>
                  </a:lnTo>
                  <a:lnTo>
                    <a:pt x="14170" y="27226"/>
                  </a:lnTo>
                  <a:lnTo>
                    <a:pt x="13561" y="25737"/>
                  </a:lnTo>
                  <a:lnTo>
                    <a:pt x="12520" y="25097"/>
                  </a:lnTo>
                  <a:lnTo>
                    <a:pt x="9931" y="25430"/>
                  </a:lnTo>
                  <a:lnTo>
                    <a:pt x="8668" y="25391"/>
                  </a:lnTo>
                  <a:lnTo>
                    <a:pt x="4524" y="23970"/>
                  </a:lnTo>
                  <a:lnTo>
                    <a:pt x="3273" y="23390"/>
                  </a:lnTo>
                  <a:lnTo>
                    <a:pt x="2494" y="22176"/>
                  </a:lnTo>
                  <a:lnTo>
                    <a:pt x="358" y="17790"/>
                  </a:lnTo>
                  <a:lnTo>
                    <a:pt x="0" y="14543"/>
                  </a:lnTo>
                  <a:lnTo>
                    <a:pt x="1989" y="15374"/>
                  </a:lnTo>
                  <a:lnTo>
                    <a:pt x="3848" y="14367"/>
                  </a:lnTo>
                  <a:lnTo>
                    <a:pt x="5638" y="12718"/>
                  </a:lnTo>
                  <a:lnTo>
                    <a:pt x="7769" y="12044"/>
                  </a:lnTo>
                  <a:lnTo>
                    <a:pt x="9104" y="12335"/>
                  </a:lnTo>
                  <a:lnTo>
                    <a:pt x="10423" y="12623"/>
                  </a:lnTo>
                  <a:lnTo>
                    <a:pt x="12800" y="12096"/>
                  </a:lnTo>
                  <a:lnTo>
                    <a:pt x="13829" y="9650"/>
                  </a:lnTo>
                  <a:lnTo>
                    <a:pt x="14165" y="6829"/>
                  </a:lnTo>
                  <a:lnTo>
                    <a:pt x="18186" y="7639"/>
                  </a:lnTo>
                  <a:lnTo>
                    <a:pt x="22263" y="8058"/>
                  </a:lnTo>
                  <a:lnTo>
                    <a:pt x="25602" y="8199"/>
                  </a:lnTo>
                  <a:lnTo>
                    <a:pt x="28892" y="7740"/>
                  </a:lnTo>
                  <a:lnTo>
                    <a:pt x="38972" y="4730"/>
                  </a:lnTo>
                  <a:lnTo>
                    <a:pt x="41825" y="2927"/>
                  </a:lnTo>
                  <a:lnTo>
                    <a:pt x="43591" y="2317"/>
                  </a:lnTo>
                  <a:lnTo>
                    <a:pt x="46660" y="82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23" name="ee4p_GE_1_15912">
              <a:extLst>
                <a:ext uri="{FF2B5EF4-FFF2-40B4-BE49-F238E27FC236}">
                  <a16:creationId xmlns:a16="http://schemas.microsoft.com/office/drawing/2014/main" id="{416ED9B2-1EAA-D613-7D97-F3A5F27C7C9C}"/>
                </a:ext>
              </a:extLst>
            </p:cNvPr>
            <p:cNvSpPr>
              <a:spLocks noChangeAspect="1"/>
            </p:cNvSpPr>
            <p:nvPr>
              <p:custDataLst>
                <p:tags r:id="rId9"/>
              </p:custDataLst>
            </p:nvPr>
          </p:nvSpPr>
          <p:spPr>
            <a:xfrm>
              <a:off x="7276110" y="5241915"/>
              <a:ext cx="241652" cy="226013"/>
            </a:xfrm>
            <a:custGeom>
              <a:avLst/>
              <a:gdLst>
                <a:gd name="connsiteX0" fmla="*/ 3801 w 60958"/>
                <a:gd name="connsiteY0" fmla="*/ 0 h 57013"/>
                <a:gd name="connsiteX1" fmla="*/ 8048 w 60958"/>
                <a:gd name="connsiteY1" fmla="*/ 728 h 57013"/>
                <a:gd name="connsiteX2" fmla="*/ 11954 w 60958"/>
                <a:gd name="connsiteY2" fmla="*/ 1556 h 57013"/>
                <a:gd name="connsiteX3" fmla="*/ 14809 w 60958"/>
                <a:gd name="connsiteY3" fmla="*/ 967 h 57013"/>
                <a:gd name="connsiteX4" fmla="*/ 18206 w 60958"/>
                <a:gd name="connsiteY4" fmla="*/ 2420 h 57013"/>
                <a:gd name="connsiteX5" fmla="*/ 21309 w 60958"/>
                <a:gd name="connsiteY5" fmla="*/ 4085 h 57013"/>
                <a:gd name="connsiteX6" fmla="*/ 24429 w 60958"/>
                <a:gd name="connsiteY6" fmla="*/ 5258 h 57013"/>
                <a:gd name="connsiteX7" fmla="*/ 30512 w 60958"/>
                <a:gd name="connsiteY7" fmla="*/ 6362 h 57013"/>
                <a:gd name="connsiteX8" fmla="*/ 32780 w 60958"/>
                <a:gd name="connsiteY8" fmla="*/ 7896 h 57013"/>
                <a:gd name="connsiteX9" fmla="*/ 35429 w 60958"/>
                <a:gd name="connsiteY9" fmla="*/ 9429 h 57013"/>
                <a:gd name="connsiteX10" fmla="*/ 45809 w 60958"/>
                <a:gd name="connsiteY10" fmla="*/ 10211 h 57013"/>
                <a:gd name="connsiteX11" fmla="*/ 46645 w 60958"/>
                <a:gd name="connsiteY11" fmla="*/ 9970 h 57013"/>
                <a:gd name="connsiteX12" fmla="*/ 47407 w 60958"/>
                <a:gd name="connsiteY12" fmla="*/ 9749 h 57013"/>
                <a:gd name="connsiteX13" fmla="*/ 50888 w 60958"/>
                <a:gd name="connsiteY13" fmla="*/ 9192 h 57013"/>
                <a:gd name="connsiteX14" fmla="*/ 53970 w 60958"/>
                <a:gd name="connsiteY14" fmla="*/ 9296 h 57013"/>
                <a:gd name="connsiteX15" fmla="*/ 57220 w 60958"/>
                <a:gd name="connsiteY15" fmla="*/ 11151 h 57013"/>
                <a:gd name="connsiteX16" fmla="*/ 59303 w 60958"/>
                <a:gd name="connsiteY16" fmla="*/ 11044 h 57013"/>
                <a:gd name="connsiteX17" fmla="*/ 60958 w 60958"/>
                <a:gd name="connsiteY17" fmla="*/ 10835 h 57013"/>
                <a:gd name="connsiteX18" fmla="*/ 60958 w 60958"/>
                <a:gd name="connsiteY18" fmla="*/ 53093 h 57013"/>
                <a:gd name="connsiteX19" fmla="*/ 59793 w 60958"/>
                <a:gd name="connsiteY19" fmla="*/ 52960 h 57013"/>
                <a:gd name="connsiteX20" fmla="*/ 58122 w 60958"/>
                <a:gd name="connsiteY20" fmla="*/ 53143 h 57013"/>
                <a:gd name="connsiteX21" fmla="*/ 57759 w 60958"/>
                <a:gd name="connsiteY21" fmla="*/ 53358 h 57013"/>
                <a:gd name="connsiteX22" fmla="*/ 57250 w 60958"/>
                <a:gd name="connsiteY22" fmla="*/ 53660 h 57013"/>
                <a:gd name="connsiteX23" fmla="*/ 55935 w 60958"/>
                <a:gd name="connsiteY23" fmla="*/ 56017 h 57013"/>
                <a:gd name="connsiteX24" fmla="*/ 55017 w 60958"/>
                <a:gd name="connsiteY24" fmla="*/ 56816 h 57013"/>
                <a:gd name="connsiteX25" fmla="*/ 52760 w 60958"/>
                <a:gd name="connsiteY25" fmla="*/ 56442 h 57013"/>
                <a:gd name="connsiteX26" fmla="*/ 50895 w 60958"/>
                <a:gd name="connsiteY26" fmla="*/ 55887 h 57013"/>
                <a:gd name="connsiteX27" fmla="*/ 49372 w 60958"/>
                <a:gd name="connsiteY27" fmla="*/ 55577 h 57013"/>
                <a:gd name="connsiteX28" fmla="*/ 46423 w 60958"/>
                <a:gd name="connsiteY28" fmla="*/ 55383 h 57013"/>
                <a:gd name="connsiteX29" fmla="*/ 43063 w 60958"/>
                <a:gd name="connsiteY29" fmla="*/ 55341 h 57013"/>
                <a:gd name="connsiteX30" fmla="*/ 40802 w 60958"/>
                <a:gd name="connsiteY30" fmla="*/ 57013 h 57013"/>
                <a:gd name="connsiteX31" fmla="*/ 39826 w 60958"/>
                <a:gd name="connsiteY31" fmla="*/ 56798 h 57013"/>
                <a:gd name="connsiteX32" fmla="*/ 38109 w 60958"/>
                <a:gd name="connsiteY32" fmla="*/ 55977 h 57013"/>
                <a:gd name="connsiteX33" fmla="*/ 35341 w 60958"/>
                <a:gd name="connsiteY33" fmla="*/ 55298 h 57013"/>
                <a:gd name="connsiteX34" fmla="*/ 33870 w 60958"/>
                <a:gd name="connsiteY34" fmla="*/ 54765 h 57013"/>
                <a:gd name="connsiteX35" fmla="*/ 38109 w 60958"/>
                <a:gd name="connsiteY35" fmla="*/ 49793 h 57013"/>
                <a:gd name="connsiteX36" fmla="*/ 39370 w 60958"/>
                <a:gd name="connsiteY36" fmla="*/ 46834 h 57013"/>
                <a:gd name="connsiteX37" fmla="*/ 39413 w 60958"/>
                <a:gd name="connsiteY37" fmla="*/ 45038 h 57013"/>
                <a:gd name="connsiteX38" fmla="*/ 39463 w 60958"/>
                <a:gd name="connsiteY38" fmla="*/ 42779 h 57013"/>
                <a:gd name="connsiteX39" fmla="*/ 37258 w 60958"/>
                <a:gd name="connsiteY39" fmla="*/ 38082 h 57013"/>
                <a:gd name="connsiteX40" fmla="*/ 35367 w 60958"/>
                <a:gd name="connsiteY40" fmla="*/ 31402 h 57013"/>
                <a:gd name="connsiteX41" fmla="*/ 33399 w 60958"/>
                <a:gd name="connsiteY41" fmla="*/ 24426 h 57013"/>
                <a:gd name="connsiteX42" fmla="*/ 31866 w 60958"/>
                <a:gd name="connsiteY42" fmla="*/ 22333 h 57013"/>
                <a:gd name="connsiteX43" fmla="*/ 25438 w 60958"/>
                <a:gd name="connsiteY43" fmla="*/ 19913 h 57013"/>
                <a:gd name="connsiteX44" fmla="*/ 23954 w 60958"/>
                <a:gd name="connsiteY44" fmla="*/ 17163 h 57013"/>
                <a:gd name="connsiteX45" fmla="*/ 18979 w 60958"/>
                <a:gd name="connsiteY45" fmla="*/ 13609 h 57013"/>
                <a:gd name="connsiteX46" fmla="*/ 12067 w 60958"/>
                <a:gd name="connsiteY46" fmla="*/ 12065 h 57013"/>
                <a:gd name="connsiteX47" fmla="*/ 10698 w 60958"/>
                <a:gd name="connsiteY47" fmla="*/ 11403 h 57013"/>
                <a:gd name="connsiteX48" fmla="*/ 4694 w 60958"/>
                <a:gd name="connsiteY48" fmla="*/ 6926 h 57013"/>
                <a:gd name="connsiteX49" fmla="*/ 0 w 60958"/>
                <a:gd name="connsiteY49" fmla="*/ 4037 h 57013"/>
                <a:gd name="connsiteX50" fmla="*/ 1004 w 60958"/>
                <a:gd name="connsiteY50" fmla="*/ 2287 h 57013"/>
                <a:gd name="connsiteX51" fmla="*/ 2350 w 60958"/>
                <a:gd name="connsiteY51" fmla="*/ 448 h 5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958" h="57013">
                  <a:moveTo>
                    <a:pt x="3801" y="0"/>
                  </a:moveTo>
                  <a:lnTo>
                    <a:pt x="8048" y="728"/>
                  </a:lnTo>
                  <a:lnTo>
                    <a:pt x="11954" y="1556"/>
                  </a:lnTo>
                  <a:lnTo>
                    <a:pt x="14809" y="967"/>
                  </a:lnTo>
                  <a:lnTo>
                    <a:pt x="18206" y="2420"/>
                  </a:lnTo>
                  <a:lnTo>
                    <a:pt x="21309" y="4085"/>
                  </a:lnTo>
                  <a:lnTo>
                    <a:pt x="24429" y="5258"/>
                  </a:lnTo>
                  <a:lnTo>
                    <a:pt x="30512" y="6362"/>
                  </a:lnTo>
                  <a:lnTo>
                    <a:pt x="32780" y="7896"/>
                  </a:lnTo>
                  <a:lnTo>
                    <a:pt x="35429" y="9429"/>
                  </a:lnTo>
                  <a:lnTo>
                    <a:pt x="45809" y="10211"/>
                  </a:lnTo>
                  <a:lnTo>
                    <a:pt x="46645" y="9970"/>
                  </a:lnTo>
                  <a:lnTo>
                    <a:pt x="47407" y="9749"/>
                  </a:lnTo>
                  <a:lnTo>
                    <a:pt x="50888" y="9192"/>
                  </a:lnTo>
                  <a:lnTo>
                    <a:pt x="53970" y="9296"/>
                  </a:lnTo>
                  <a:lnTo>
                    <a:pt x="57220" y="11151"/>
                  </a:lnTo>
                  <a:lnTo>
                    <a:pt x="59303" y="11044"/>
                  </a:lnTo>
                  <a:lnTo>
                    <a:pt x="60958" y="10835"/>
                  </a:lnTo>
                  <a:lnTo>
                    <a:pt x="60958" y="53093"/>
                  </a:lnTo>
                  <a:lnTo>
                    <a:pt x="59793" y="52960"/>
                  </a:lnTo>
                  <a:lnTo>
                    <a:pt x="58122" y="53143"/>
                  </a:lnTo>
                  <a:lnTo>
                    <a:pt x="57759" y="53358"/>
                  </a:lnTo>
                  <a:lnTo>
                    <a:pt x="57250" y="53660"/>
                  </a:lnTo>
                  <a:lnTo>
                    <a:pt x="55935" y="56017"/>
                  </a:lnTo>
                  <a:lnTo>
                    <a:pt x="55017" y="56816"/>
                  </a:lnTo>
                  <a:lnTo>
                    <a:pt x="52760" y="56442"/>
                  </a:lnTo>
                  <a:lnTo>
                    <a:pt x="50895" y="55887"/>
                  </a:lnTo>
                  <a:lnTo>
                    <a:pt x="49372" y="55577"/>
                  </a:lnTo>
                  <a:lnTo>
                    <a:pt x="46423" y="55383"/>
                  </a:lnTo>
                  <a:lnTo>
                    <a:pt x="43063" y="55341"/>
                  </a:lnTo>
                  <a:lnTo>
                    <a:pt x="40802" y="57013"/>
                  </a:lnTo>
                  <a:lnTo>
                    <a:pt x="39826" y="56798"/>
                  </a:lnTo>
                  <a:lnTo>
                    <a:pt x="38109" y="55977"/>
                  </a:lnTo>
                  <a:lnTo>
                    <a:pt x="35341" y="55298"/>
                  </a:lnTo>
                  <a:lnTo>
                    <a:pt x="33870" y="54765"/>
                  </a:lnTo>
                  <a:lnTo>
                    <a:pt x="38109" y="49793"/>
                  </a:lnTo>
                  <a:lnTo>
                    <a:pt x="39370" y="46834"/>
                  </a:lnTo>
                  <a:lnTo>
                    <a:pt x="39413" y="45038"/>
                  </a:lnTo>
                  <a:lnTo>
                    <a:pt x="39463" y="42779"/>
                  </a:lnTo>
                  <a:lnTo>
                    <a:pt x="37258" y="38082"/>
                  </a:lnTo>
                  <a:lnTo>
                    <a:pt x="35367" y="31402"/>
                  </a:lnTo>
                  <a:lnTo>
                    <a:pt x="33399" y="24426"/>
                  </a:lnTo>
                  <a:lnTo>
                    <a:pt x="31866" y="22333"/>
                  </a:lnTo>
                  <a:lnTo>
                    <a:pt x="25438" y="19913"/>
                  </a:lnTo>
                  <a:lnTo>
                    <a:pt x="23954" y="17163"/>
                  </a:lnTo>
                  <a:lnTo>
                    <a:pt x="18979" y="13609"/>
                  </a:lnTo>
                  <a:lnTo>
                    <a:pt x="12067" y="12065"/>
                  </a:lnTo>
                  <a:lnTo>
                    <a:pt x="10698" y="11403"/>
                  </a:lnTo>
                  <a:lnTo>
                    <a:pt x="4694" y="6926"/>
                  </a:lnTo>
                  <a:lnTo>
                    <a:pt x="0" y="4037"/>
                  </a:lnTo>
                  <a:lnTo>
                    <a:pt x="1004" y="2287"/>
                  </a:lnTo>
                  <a:lnTo>
                    <a:pt x="2350" y="44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66" name="ee4p_IQ_1_15912">
              <a:extLst>
                <a:ext uri="{FF2B5EF4-FFF2-40B4-BE49-F238E27FC236}">
                  <a16:creationId xmlns:a16="http://schemas.microsoft.com/office/drawing/2014/main" id="{C48C953F-E3D3-95B1-C098-043F401B244F}"/>
                </a:ext>
              </a:extLst>
            </p:cNvPr>
            <p:cNvSpPr>
              <a:spLocks noChangeAspect="1"/>
            </p:cNvSpPr>
            <p:nvPr>
              <p:custDataLst>
                <p:tags r:id="rId10"/>
              </p:custDataLst>
            </p:nvPr>
          </p:nvSpPr>
          <p:spPr>
            <a:xfrm>
              <a:off x="7372065" y="5887232"/>
              <a:ext cx="145701" cy="278618"/>
            </a:xfrm>
            <a:custGeom>
              <a:avLst/>
              <a:gdLst>
                <a:gd name="connsiteX0" fmla="*/ 36754 w 36754"/>
                <a:gd name="connsiteY0" fmla="*/ 0 h 70283"/>
                <a:gd name="connsiteX1" fmla="*/ 36754 w 36754"/>
                <a:gd name="connsiteY1" fmla="*/ 70283 h 70283"/>
                <a:gd name="connsiteX2" fmla="*/ 0 w 36754"/>
                <a:gd name="connsiteY2" fmla="*/ 70283 h 70283"/>
                <a:gd name="connsiteX3" fmla="*/ 577 w 36754"/>
                <a:gd name="connsiteY3" fmla="*/ 69218 h 70283"/>
                <a:gd name="connsiteX4" fmla="*/ 2693 w 36754"/>
                <a:gd name="connsiteY4" fmla="*/ 65303 h 70283"/>
                <a:gd name="connsiteX5" fmla="*/ 2793 w 36754"/>
                <a:gd name="connsiteY5" fmla="*/ 64394 h 70283"/>
                <a:gd name="connsiteX6" fmla="*/ 2801 w 36754"/>
                <a:gd name="connsiteY6" fmla="*/ 58836 h 70283"/>
                <a:gd name="connsiteX7" fmla="*/ 3173 w 36754"/>
                <a:gd name="connsiteY7" fmla="*/ 52298 h 70283"/>
                <a:gd name="connsiteX8" fmla="*/ 3879 w 36754"/>
                <a:gd name="connsiteY8" fmla="*/ 48799 h 70283"/>
                <a:gd name="connsiteX9" fmla="*/ 5095 w 36754"/>
                <a:gd name="connsiteY9" fmla="*/ 45704 h 70283"/>
                <a:gd name="connsiteX10" fmla="*/ 6218 w 36754"/>
                <a:gd name="connsiteY10" fmla="*/ 43445 h 70283"/>
                <a:gd name="connsiteX11" fmla="*/ 6334 w 36754"/>
                <a:gd name="connsiteY11" fmla="*/ 41327 h 70283"/>
                <a:gd name="connsiteX12" fmla="*/ 6185 w 36754"/>
                <a:gd name="connsiteY12" fmla="*/ 39177 h 70283"/>
                <a:gd name="connsiteX13" fmla="*/ 5025 w 36754"/>
                <a:gd name="connsiteY13" fmla="*/ 35925 h 70283"/>
                <a:gd name="connsiteX14" fmla="*/ 3818 w 36754"/>
                <a:gd name="connsiteY14" fmla="*/ 32532 h 70283"/>
                <a:gd name="connsiteX15" fmla="*/ 3954 w 36754"/>
                <a:gd name="connsiteY15" fmla="*/ 29257 h 70283"/>
                <a:gd name="connsiteX16" fmla="*/ 4177 w 36754"/>
                <a:gd name="connsiteY16" fmla="*/ 27503 h 70283"/>
                <a:gd name="connsiteX17" fmla="*/ 4933 w 36754"/>
                <a:gd name="connsiteY17" fmla="*/ 24697 h 70283"/>
                <a:gd name="connsiteX18" fmla="*/ 6219 w 36754"/>
                <a:gd name="connsiteY18" fmla="*/ 22645 h 70283"/>
                <a:gd name="connsiteX19" fmla="*/ 7604 w 36754"/>
                <a:gd name="connsiteY19" fmla="*/ 21373 h 70283"/>
                <a:gd name="connsiteX20" fmla="*/ 12765 w 36754"/>
                <a:gd name="connsiteY20" fmla="*/ 20061 h 70283"/>
                <a:gd name="connsiteX21" fmla="*/ 15825 w 36754"/>
                <a:gd name="connsiteY21" fmla="*/ 19281 h 70283"/>
                <a:gd name="connsiteX22" fmla="*/ 19925 w 36754"/>
                <a:gd name="connsiteY22" fmla="*/ 15638 h 70283"/>
                <a:gd name="connsiteX23" fmla="*/ 22357 w 36754"/>
                <a:gd name="connsiteY23" fmla="*/ 13474 h 70283"/>
                <a:gd name="connsiteX24" fmla="*/ 25747 w 36754"/>
                <a:gd name="connsiteY24" fmla="*/ 10042 h 70283"/>
                <a:gd name="connsiteX25" fmla="*/ 28241 w 36754"/>
                <a:gd name="connsiteY25" fmla="*/ 7512 h 70283"/>
                <a:gd name="connsiteX26" fmla="*/ 28440 w 36754"/>
                <a:gd name="connsiteY26" fmla="*/ 6636 h 70283"/>
                <a:gd name="connsiteX27" fmla="*/ 28438 w 36754"/>
                <a:gd name="connsiteY27" fmla="*/ 6290 h 70283"/>
                <a:gd name="connsiteX28" fmla="*/ 30580 w 36754"/>
                <a:gd name="connsiteY28" fmla="*/ 5778 h 70283"/>
                <a:gd name="connsiteX29" fmla="*/ 34551 w 36754"/>
                <a:gd name="connsiteY29" fmla="*/ 2708 h 7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754" h="70283">
                  <a:moveTo>
                    <a:pt x="36754" y="0"/>
                  </a:moveTo>
                  <a:lnTo>
                    <a:pt x="36754" y="70283"/>
                  </a:lnTo>
                  <a:lnTo>
                    <a:pt x="0" y="70283"/>
                  </a:lnTo>
                  <a:lnTo>
                    <a:pt x="577" y="69218"/>
                  </a:lnTo>
                  <a:lnTo>
                    <a:pt x="2693" y="65303"/>
                  </a:lnTo>
                  <a:lnTo>
                    <a:pt x="2793" y="64394"/>
                  </a:lnTo>
                  <a:lnTo>
                    <a:pt x="2801" y="58836"/>
                  </a:lnTo>
                  <a:lnTo>
                    <a:pt x="3173" y="52298"/>
                  </a:lnTo>
                  <a:lnTo>
                    <a:pt x="3879" y="48799"/>
                  </a:lnTo>
                  <a:lnTo>
                    <a:pt x="5095" y="45704"/>
                  </a:lnTo>
                  <a:lnTo>
                    <a:pt x="6218" y="43445"/>
                  </a:lnTo>
                  <a:lnTo>
                    <a:pt x="6334" y="41327"/>
                  </a:lnTo>
                  <a:lnTo>
                    <a:pt x="6185" y="39177"/>
                  </a:lnTo>
                  <a:lnTo>
                    <a:pt x="5025" y="35925"/>
                  </a:lnTo>
                  <a:lnTo>
                    <a:pt x="3818" y="32532"/>
                  </a:lnTo>
                  <a:lnTo>
                    <a:pt x="3954" y="29257"/>
                  </a:lnTo>
                  <a:lnTo>
                    <a:pt x="4177" y="27503"/>
                  </a:lnTo>
                  <a:lnTo>
                    <a:pt x="4933" y="24697"/>
                  </a:lnTo>
                  <a:lnTo>
                    <a:pt x="6219" y="22645"/>
                  </a:lnTo>
                  <a:lnTo>
                    <a:pt x="7604" y="21373"/>
                  </a:lnTo>
                  <a:lnTo>
                    <a:pt x="12765" y="20061"/>
                  </a:lnTo>
                  <a:lnTo>
                    <a:pt x="15825" y="19281"/>
                  </a:lnTo>
                  <a:lnTo>
                    <a:pt x="19925" y="15638"/>
                  </a:lnTo>
                  <a:lnTo>
                    <a:pt x="22357" y="13474"/>
                  </a:lnTo>
                  <a:lnTo>
                    <a:pt x="25747" y="10042"/>
                  </a:lnTo>
                  <a:lnTo>
                    <a:pt x="28241" y="7512"/>
                  </a:lnTo>
                  <a:lnTo>
                    <a:pt x="28440" y="6636"/>
                  </a:lnTo>
                  <a:lnTo>
                    <a:pt x="28438" y="6290"/>
                  </a:lnTo>
                  <a:lnTo>
                    <a:pt x="30580" y="5778"/>
                  </a:lnTo>
                  <a:lnTo>
                    <a:pt x="34551" y="270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69" name="ee4p_SY_1_15912">
              <a:extLst>
                <a:ext uri="{FF2B5EF4-FFF2-40B4-BE49-F238E27FC236}">
                  <a16:creationId xmlns:a16="http://schemas.microsoft.com/office/drawing/2014/main" id="{4B84CC01-09E6-37D5-84B9-2F15AD088370}"/>
                </a:ext>
              </a:extLst>
            </p:cNvPr>
            <p:cNvSpPr>
              <a:spLocks noChangeAspect="1"/>
            </p:cNvSpPr>
            <p:nvPr>
              <p:custDataLst>
                <p:tags r:id="rId11"/>
              </p:custDataLst>
            </p:nvPr>
          </p:nvSpPr>
          <p:spPr>
            <a:xfrm>
              <a:off x="6906731" y="5893115"/>
              <a:ext cx="578072" cy="272735"/>
            </a:xfrm>
            <a:custGeom>
              <a:avLst/>
              <a:gdLst>
                <a:gd name="connsiteX0" fmla="*/ 142365 w 145822"/>
                <a:gd name="connsiteY0" fmla="*/ 0 h 68799"/>
                <a:gd name="connsiteX1" fmla="*/ 143356 w 145822"/>
                <a:gd name="connsiteY1" fmla="*/ 384 h 68799"/>
                <a:gd name="connsiteX2" fmla="*/ 143820 w 145822"/>
                <a:gd name="connsiteY2" fmla="*/ 528 h 68799"/>
                <a:gd name="connsiteX3" fmla="*/ 144800 w 145822"/>
                <a:gd name="connsiteY3" fmla="*/ 1725 h 68799"/>
                <a:gd name="connsiteX4" fmla="*/ 145820 w 145822"/>
                <a:gd name="connsiteY4" fmla="*/ 4806 h 68799"/>
                <a:gd name="connsiteX5" fmla="*/ 145822 w 145822"/>
                <a:gd name="connsiteY5" fmla="*/ 5152 h 68799"/>
                <a:gd name="connsiteX6" fmla="*/ 145623 w 145822"/>
                <a:gd name="connsiteY6" fmla="*/ 6028 h 68799"/>
                <a:gd name="connsiteX7" fmla="*/ 143129 w 145822"/>
                <a:gd name="connsiteY7" fmla="*/ 8558 h 68799"/>
                <a:gd name="connsiteX8" fmla="*/ 139739 w 145822"/>
                <a:gd name="connsiteY8" fmla="*/ 11990 h 68799"/>
                <a:gd name="connsiteX9" fmla="*/ 137307 w 145822"/>
                <a:gd name="connsiteY9" fmla="*/ 14154 h 68799"/>
                <a:gd name="connsiteX10" fmla="*/ 133207 w 145822"/>
                <a:gd name="connsiteY10" fmla="*/ 17797 h 68799"/>
                <a:gd name="connsiteX11" fmla="*/ 130147 w 145822"/>
                <a:gd name="connsiteY11" fmla="*/ 18577 h 68799"/>
                <a:gd name="connsiteX12" fmla="*/ 124986 w 145822"/>
                <a:gd name="connsiteY12" fmla="*/ 19889 h 68799"/>
                <a:gd name="connsiteX13" fmla="*/ 123601 w 145822"/>
                <a:gd name="connsiteY13" fmla="*/ 21161 h 68799"/>
                <a:gd name="connsiteX14" fmla="*/ 122315 w 145822"/>
                <a:gd name="connsiteY14" fmla="*/ 23213 h 68799"/>
                <a:gd name="connsiteX15" fmla="*/ 121559 w 145822"/>
                <a:gd name="connsiteY15" fmla="*/ 26019 h 68799"/>
                <a:gd name="connsiteX16" fmla="*/ 121336 w 145822"/>
                <a:gd name="connsiteY16" fmla="*/ 27773 h 68799"/>
                <a:gd name="connsiteX17" fmla="*/ 121200 w 145822"/>
                <a:gd name="connsiteY17" fmla="*/ 31048 h 68799"/>
                <a:gd name="connsiteX18" fmla="*/ 122407 w 145822"/>
                <a:gd name="connsiteY18" fmla="*/ 34441 h 68799"/>
                <a:gd name="connsiteX19" fmla="*/ 123567 w 145822"/>
                <a:gd name="connsiteY19" fmla="*/ 37693 h 68799"/>
                <a:gd name="connsiteX20" fmla="*/ 123716 w 145822"/>
                <a:gd name="connsiteY20" fmla="*/ 39843 h 68799"/>
                <a:gd name="connsiteX21" fmla="*/ 123600 w 145822"/>
                <a:gd name="connsiteY21" fmla="*/ 41961 h 68799"/>
                <a:gd name="connsiteX22" fmla="*/ 122477 w 145822"/>
                <a:gd name="connsiteY22" fmla="*/ 44220 h 68799"/>
                <a:gd name="connsiteX23" fmla="*/ 121261 w 145822"/>
                <a:gd name="connsiteY23" fmla="*/ 47315 h 68799"/>
                <a:gd name="connsiteX24" fmla="*/ 120555 w 145822"/>
                <a:gd name="connsiteY24" fmla="*/ 50814 h 68799"/>
                <a:gd name="connsiteX25" fmla="*/ 120183 w 145822"/>
                <a:gd name="connsiteY25" fmla="*/ 57352 h 68799"/>
                <a:gd name="connsiteX26" fmla="*/ 120175 w 145822"/>
                <a:gd name="connsiteY26" fmla="*/ 62910 h 68799"/>
                <a:gd name="connsiteX27" fmla="*/ 120075 w 145822"/>
                <a:gd name="connsiteY27" fmla="*/ 63819 h 68799"/>
                <a:gd name="connsiteX28" fmla="*/ 117959 w 145822"/>
                <a:gd name="connsiteY28" fmla="*/ 67734 h 68799"/>
                <a:gd name="connsiteX29" fmla="*/ 117382 w 145822"/>
                <a:gd name="connsiteY29" fmla="*/ 68799 h 68799"/>
                <a:gd name="connsiteX30" fmla="*/ 13862 w 145822"/>
                <a:gd name="connsiteY30" fmla="*/ 68799 h 68799"/>
                <a:gd name="connsiteX31" fmla="*/ 14784 w 145822"/>
                <a:gd name="connsiteY31" fmla="*/ 67704 h 68799"/>
                <a:gd name="connsiteX32" fmla="*/ 13698 w 145822"/>
                <a:gd name="connsiteY32" fmla="*/ 66595 h 68799"/>
                <a:gd name="connsiteX33" fmla="*/ 11761 w 145822"/>
                <a:gd name="connsiteY33" fmla="*/ 66075 h 68799"/>
                <a:gd name="connsiteX34" fmla="*/ 11037 w 145822"/>
                <a:gd name="connsiteY34" fmla="*/ 67220 h 68799"/>
                <a:gd name="connsiteX35" fmla="*/ 8550 w 145822"/>
                <a:gd name="connsiteY35" fmla="*/ 67327 h 68799"/>
                <a:gd name="connsiteX36" fmla="*/ 4684 w 145822"/>
                <a:gd name="connsiteY36" fmla="*/ 67312 h 68799"/>
                <a:gd name="connsiteX37" fmla="*/ 2982 w 145822"/>
                <a:gd name="connsiteY37" fmla="*/ 61740 h 68799"/>
                <a:gd name="connsiteX38" fmla="*/ 2730 w 145822"/>
                <a:gd name="connsiteY38" fmla="*/ 59325 h 68799"/>
                <a:gd name="connsiteX39" fmla="*/ 2776 w 145822"/>
                <a:gd name="connsiteY39" fmla="*/ 56528 h 68799"/>
                <a:gd name="connsiteX40" fmla="*/ 3950 w 145822"/>
                <a:gd name="connsiteY40" fmla="*/ 52428 h 68799"/>
                <a:gd name="connsiteX41" fmla="*/ 3397 w 145822"/>
                <a:gd name="connsiteY41" fmla="*/ 50529 h 68799"/>
                <a:gd name="connsiteX42" fmla="*/ 3352 w 145822"/>
                <a:gd name="connsiteY42" fmla="*/ 49248 h 68799"/>
                <a:gd name="connsiteX43" fmla="*/ 3052 w 145822"/>
                <a:gd name="connsiteY43" fmla="*/ 47486 h 68799"/>
                <a:gd name="connsiteX44" fmla="*/ 0 w 145822"/>
                <a:gd name="connsiteY44" fmla="*/ 43693 h 68799"/>
                <a:gd name="connsiteX45" fmla="*/ 1663 w 145822"/>
                <a:gd name="connsiteY45" fmla="*/ 36703 h 68799"/>
                <a:gd name="connsiteX46" fmla="*/ 2836 w 145822"/>
                <a:gd name="connsiteY46" fmla="*/ 35006 h 68799"/>
                <a:gd name="connsiteX47" fmla="*/ 4492 w 145822"/>
                <a:gd name="connsiteY47" fmla="*/ 35170 h 68799"/>
                <a:gd name="connsiteX48" fmla="*/ 8025 w 145822"/>
                <a:gd name="connsiteY48" fmla="*/ 37151 h 68799"/>
                <a:gd name="connsiteX49" fmla="*/ 8606 w 145822"/>
                <a:gd name="connsiteY49" fmla="*/ 37090 h 68799"/>
                <a:gd name="connsiteX50" fmla="*/ 9675 w 145822"/>
                <a:gd name="connsiteY50" fmla="*/ 34476 h 68799"/>
                <a:gd name="connsiteX51" fmla="*/ 10711 w 145822"/>
                <a:gd name="connsiteY51" fmla="*/ 33589 h 68799"/>
                <a:gd name="connsiteX52" fmla="*/ 12894 w 145822"/>
                <a:gd name="connsiteY52" fmla="*/ 32812 h 68799"/>
                <a:gd name="connsiteX53" fmla="*/ 13510 w 145822"/>
                <a:gd name="connsiteY53" fmla="*/ 28577 h 68799"/>
                <a:gd name="connsiteX54" fmla="*/ 14529 w 145822"/>
                <a:gd name="connsiteY54" fmla="*/ 27763 h 68799"/>
                <a:gd name="connsiteX55" fmla="*/ 15758 w 145822"/>
                <a:gd name="connsiteY55" fmla="*/ 27327 h 68799"/>
                <a:gd name="connsiteX56" fmla="*/ 17645 w 145822"/>
                <a:gd name="connsiteY56" fmla="*/ 27245 h 68799"/>
                <a:gd name="connsiteX57" fmla="*/ 19288 w 145822"/>
                <a:gd name="connsiteY57" fmla="*/ 26991 h 68799"/>
                <a:gd name="connsiteX58" fmla="*/ 19392 w 145822"/>
                <a:gd name="connsiteY58" fmla="*/ 26244 h 68799"/>
                <a:gd name="connsiteX59" fmla="*/ 17094 w 145822"/>
                <a:gd name="connsiteY59" fmla="*/ 21338 h 68799"/>
                <a:gd name="connsiteX60" fmla="*/ 17297 w 145822"/>
                <a:gd name="connsiteY60" fmla="*/ 20099 h 68799"/>
                <a:gd name="connsiteX61" fmla="*/ 18407 w 145822"/>
                <a:gd name="connsiteY61" fmla="*/ 15155 h 68799"/>
                <a:gd name="connsiteX62" fmla="*/ 19105 w 145822"/>
                <a:gd name="connsiteY62" fmla="*/ 13218 h 68799"/>
                <a:gd name="connsiteX63" fmla="*/ 19772 w 145822"/>
                <a:gd name="connsiteY63" fmla="*/ 12587 h 68799"/>
                <a:gd name="connsiteX64" fmla="*/ 22381 w 145822"/>
                <a:gd name="connsiteY64" fmla="*/ 12837 h 68799"/>
                <a:gd name="connsiteX65" fmla="*/ 26034 w 145822"/>
                <a:gd name="connsiteY65" fmla="*/ 13707 h 68799"/>
                <a:gd name="connsiteX66" fmla="*/ 26997 w 145822"/>
                <a:gd name="connsiteY66" fmla="*/ 15129 h 68799"/>
                <a:gd name="connsiteX67" fmla="*/ 28785 w 145822"/>
                <a:gd name="connsiteY67" fmla="*/ 16391 h 68799"/>
                <a:gd name="connsiteX68" fmla="*/ 31465 w 145822"/>
                <a:gd name="connsiteY68" fmla="*/ 16308 h 68799"/>
                <a:gd name="connsiteX69" fmla="*/ 34553 w 145822"/>
                <a:gd name="connsiteY69" fmla="*/ 16544 h 68799"/>
                <a:gd name="connsiteX70" fmla="*/ 36969 w 145822"/>
                <a:gd name="connsiteY70" fmla="*/ 16627 h 68799"/>
                <a:gd name="connsiteX71" fmla="*/ 38898 w 145822"/>
                <a:gd name="connsiteY71" fmla="*/ 15739 h 68799"/>
                <a:gd name="connsiteX72" fmla="*/ 43249 w 145822"/>
                <a:gd name="connsiteY72" fmla="*/ 14081 h 68799"/>
                <a:gd name="connsiteX73" fmla="*/ 45408 w 145822"/>
                <a:gd name="connsiteY73" fmla="*/ 13525 h 68799"/>
                <a:gd name="connsiteX74" fmla="*/ 47369 w 145822"/>
                <a:gd name="connsiteY74" fmla="*/ 12788 h 68799"/>
                <a:gd name="connsiteX75" fmla="*/ 53672 w 145822"/>
                <a:gd name="connsiteY75" fmla="*/ 10071 h 68799"/>
                <a:gd name="connsiteX76" fmla="*/ 56196 w 145822"/>
                <a:gd name="connsiteY76" fmla="*/ 10280 h 68799"/>
                <a:gd name="connsiteX77" fmla="*/ 57924 w 145822"/>
                <a:gd name="connsiteY77" fmla="*/ 10638 h 68799"/>
                <a:gd name="connsiteX78" fmla="*/ 59245 w 145822"/>
                <a:gd name="connsiteY78" fmla="*/ 11070 h 68799"/>
                <a:gd name="connsiteX79" fmla="*/ 62215 w 145822"/>
                <a:gd name="connsiteY79" fmla="*/ 12928 h 68799"/>
                <a:gd name="connsiteX80" fmla="*/ 64666 w 145822"/>
                <a:gd name="connsiteY80" fmla="*/ 14806 h 68799"/>
                <a:gd name="connsiteX81" fmla="*/ 66384 w 145822"/>
                <a:gd name="connsiteY81" fmla="*/ 15364 h 68799"/>
                <a:gd name="connsiteX82" fmla="*/ 69476 w 145822"/>
                <a:gd name="connsiteY82" fmla="*/ 15324 h 68799"/>
                <a:gd name="connsiteX83" fmla="*/ 73942 w 145822"/>
                <a:gd name="connsiteY83" fmla="*/ 15682 h 68799"/>
                <a:gd name="connsiteX84" fmla="*/ 79431 w 145822"/>
                <a:gd name="connsiteY84" fmla="*/ 15656 h 68799"/>
                <a:gd name="connsiteX85" fmla="*/ 82634 w 145822"/>
                <a:gd name="connsiteY85" fmla="*/ 15132 h 68799"/>
                <a:gd name="connsiteX86" fmla="*/ 86726 w 145822"/>
                <a:gd name="connsiteY86" fmla="*/ 14209 h 68799"/>
                <a:gd name="connsiteX87" fmla="*/ 94020 w 145822"/>
                <a:gd name="connsiteY87" fmla="*/ 11989 h 68799"/>
                <a:gd name="connsiteX88" fmla="*/ 103616 w 145822"/>
                <a:gd name="connsiteY88" fmla="*/ 7343 h 68799"/>
                <a:gd name="connsiteX89" fmla="*/ 109261 w 145822"/>
                <a:gd name="connsiteY89" fmla="*/ 5083 h 68799"/>
                <a:gd name="connsiteX90" fmla="*/ 111693 w 145822"/>
                <a:gd name="connsiteY90" fmla="*/ 4818 h 68799"/>
                <a:gd name="connsiteX91" fmla="*/ 114861 w 145822"/>
                <a:gd name="connsiteY91" fmla="*/ 4792 h 68799"/>
                <a:gd name="connsiteX92" fmla="*/ 118028 w 145822"/>
                <a:gd name="connsiteY92" fmla="*/ 5384 h 68799"/>
                <a:gd name="connsiteX93" fmla="*/ 121621 w 145822"/>
                <a:gd name="connsiteY93" fmla="*/ 5805 h 68799"/>
                <a:gd name="connsiteX94" fmla="*/ 123278 w 145822"/>
                <a:gd name="connsiteY94" fmla="*/ 5768 h 68799"/>
                <a:gd name="connsiteX95" fmla="*/ 127169 w 145822"/>
                <a:gd name="connsiteY95" fmla="*/ 5301 h 68799"/>
                <a:gd name="connsiteX96" fmla="*/ 132211 w 145822"/>
                <a:gd name="connsiteY96" fmla="*/ 4360 h 68799"/>
                <a:gd name="connsiteX97" fmla="*/ 135379 w 145822"/>
                <a:gd name="connsiteY97" fmla="*/ 3589 h 68799"/>
                <a:gd name="connsiteX98" fmla="*/ 139205 w 145822"/>
                <a:gd name="connsiteY98" fmla="*/ 2325 h 68799"/>
                <a:gd name="connsiteX99" fmla="*/ 141594 w 145822"/>
                <a:gd name="connsiteY99" fmla="*/ 221 h 6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45822" h="68799">
                  <a:moveTo>
                    <a:pt x="142365" y="0"/>
                  </a:moveTo>
                  <a:lnTo>
                    <a:pt x="143356" y="384"/>
                  </a:lnTo>
                  <a:lnTo>
                    <a:pt x="143820" y="528"/>
                  </a:lnTo>
                  <a:lnTo>
                    <a:pt x="144800" y="1725"/>
                  </a:lnTo>
                  <a:lnTo>
                    <a:pt x="145820" y="4806"/>
                  </a:lnTo>
                  <a:lnTo>
                    <a:pt x="145822" y="5152"/>
                  </a:lnTo>
                  <a:lnTo>
                    <a:pt x="145623" y="6028"/>
                  </a:lnTo>
                  <a:lnTo>
                    <a:pt x="143129" y="8558"/>
                  </a:lnTo>
                  <a:lnTo>
                    <a:pt x="139739" y="11990"/>
                  </a:lnTo>
                  <a:lnTo>
                    <a:pt x="137307" y="14154"/>
                  </a:lnTo>
                  <a:lnTo>
                    <a:pt x="133207" y="17797"/>
                  </a:lnTo>
                  <a:lnTo>
                    <a:pt x="130147" y="18577"/>
                  </a:lnTo>
                  <a:lnTo>
                    <a:pt x="124986" y="19889"/>
                  </a:lnTo>
                  <a:lnTo>
                    <a:pt x="123601" y="21161"/>
                  </a:lnTo>
                  <a:lnTo>
                    <a:pt x="122315" y="23213"/>
                  </a:lnTo>
                  <a:lnTo>
                    <a:pt x="121559" y="26019"/>
                  </a:lnTo>
                  <a:lnTo>
                    <a:pt x="121336" y="27773"/>
                  </a:lnTo>
                  <a:lnTo>
                    <a:pt x="121200" y="31048"/>
                  </a:lnTo>
                  <a:lnTo>
                    <a:pt x="122407" y="34441"/>
                  </a:lnTo>
                  <a:lnTo>
                    <a:pt x="123567" y="37693"/>
                  </a:lnTo>
                  <a:lnTo>
                    <a:pt x="123716" y="39843"/>
                  </a:lnTo>
                  <a:lnTo>
                    <a:pt x="123600" y="41961"/>
                  </a:lnTo>
                  <a:lnTo>
                    <a:pt x="122477" y="44220"/>
                  </a:lnTo>
                  <a:lnTo>
                    <a:pt x="121261" y="47315"/>
                  </a:lnTo>
                  <a:lnTo>
                    <a:pt x="120555" y="50814"/>
                  </a:lnTo>
                  <a:lnTo>
                    <a:pt x="120183" y="57352"/>
                  </a:lnTo>
                  <a:lnTo>
                    <a:pt x="120175" y="62910"/>
                  </a:lnTo>
                  <a:lnTo>
                    <a:pt x="120075" y="63819"/>
                  </a:lnTo>
                  <a:lnTo>
                    <a:pt x="117959" y="67734"/>
                  </a:lnTo>
                  <a:lnTo>
                    <a:pt x="117382" y="68799"/>
                  </a:lnTo>
                  <a:lnTo>
                    <a:pt x="13862" y="68799"/>
                  </a:lnTo>
                  <a:lnTo>
                    <a:pt x="14784" y="67704"/>
                  </a:lnTo>
                  <a:lnTo>
                    <a:pt x="13698" y="66595"/>
                  </a:lnTo>
                  <a:lnTo>
                    <a:pt x="11761" y="66075"/>
                  </a:lnTo>
                  <a:lnTo>
                    <a:pt x="11037" y="67220"/>
                  </a:lnTo>
                  <a:lnTo>
                    <a:pt x="8550" y="67327"/>
                  </a:lnTo>
                  <a:lnTo>
                    <a:pt x="4684" y="67312"/>
                  </a:lnTo>
                  <a:lnTo>
                    <a:pt x="2982" y="61740"/>
                  </a:lnTo>
                  <a:lnTo>
                    <a:pt x="2730" y="59325"/>
                  </a:lnTo>
                  <a:lnTo>
                    <a:pt x="2776" y="56528"/>
                  </a:lnTo>
                  <a:lnTo>
                    <a:pt x="3950" y="52428"/>
                  </a:lnTo>
                  <a:lnTo>
                    <a:pt x="3397" y="50529"/>
                  </a:lnTo>
                  <a:lnTo>
                    <a:pt x="3352" y="49248"/>
                  </a:lnTo>
                  <a:lnTo>
                    <a:pt x="3052" y="47486"/>
                  </a:lnTo>
                  <a:lnTo>
                    <a:pt x="0" y="43693"/>
                  </a:lnTo>
                  <a:lnTo>
                    <a:pt x="1663" y="36703"/>
                  </a:lnTo>
                  <a:lnTo>
                    <a:pt x="2836" y="35006"/>
                  </a:lnTo>
                  <a:lnTo>
                    <a:pt x="4492" y="35170"/>
                  </a:lnTo>
                  <a:lnTo>
                    <a:pt x="8025" y="37151"/>
                  </a:lnTo>
                  <a:lnTo>
                    <a:pt x="8606" y="37090"/>
                  </a:lnTo>
                  <a:lnTo>
                    <a:pt x="9675" y="34476"/>
                  </a:lnTo>
                  <a:lnTo>
                    <a:pt x="10711" y="33589"/>
                  </a:lnTo>
                  <a:lnTo>
                    <a:pt x="12894" y="32812"/>
                  </a:lnTo>
                  <a:lnTo>
                    <a:pt x="13510" y="28577"/>
                  </a:lnTo>
                  <a:lnTo>
                    <a:pt x="14529" y="27763"/>
                  </a:lnTo>
                  <a:lnTo>
                    <a:pt x="15758" y="27327"/>
                  </a:lnTo>
                  <a:lnTo>
                    <a:pt x="17645" y="27245"/>
                  </a:lnTo>
                  <a:lnTo>
                    <a:pt x="19288" y="26991"/>
                  </a:lnTo>
                  <a:lnTo>
                    <a:pt x="19392" y="26244"/>
                  </a:lnTo>
                  <a:lnTo>
                    <a:pt x="17094" y="21338"/>
                  </a:lnTo>
                  <a:lnTo>
                    <a:pt x="17297" y="20099"/>
                  </a:lnTo>
                  <a:lnTo>
                    <a:pt x="18407" y="15155"/>
                  </a:lnTo>
                  <a:lnTo>
                    <a:pt x="19105" y="13218"/>
                  </a:lnTo>
                  <a:lnTo>
                    <a:pt x="19772" y="12587"/>
                  </a:lnTo>
                  <a:lnTo>
                    <a:pt x="22381" y="12837"/>
                  </a:lnTo>
                  <a:lnTo>
                    <a:pt x="26034" y="13707"/>
                  </a:lnTo>
                  <a:lnTo>
                    <a:pt x="26997" y="15129"/>
                  </a:lnTo>
                  <a:lnTo>
                    <a:pt x="28785" y="16391"/>
                  </a:lnTo>
                  <a:lnTo>
                    <a:pt x="31465" y="16308"/>
                  </a:lnTo>
                  <a:lnTo>
                    <a:pt x="34553" y="16544"/>
                  </a:lnTo>
                  <a:lnTo>
                    <a:pt x="36969" y="16627"/>
                  </a:lnTo>
                  <a:lnTo>
                    <a:pt x="38898" y="15739"/>
                  </a:lnTo>
                  <a:lnTo>
                    <a:pt x="43249" y="14081"/>
                  </a:lnTo>
                  <a:lnTo>
                    <a:pt x="45408" y="13525"/>
                  </a:lnTo>
                  <a:lnTo>
                    <a:pt x="47369" y="12788"/>
                  </a:lnTo>
                  <a:lnTo>
                    <a:pt x="53672" y="10071"/>
                  </a:lnTo>
                  <a:lnTo>
                    <a:pt x="56196" y="10280"/>
                  </a:lnTo>
                  <a:lnTo>
                    <a:pt x="57924" y="10638"/>
                  </a:lnTo>
                  <a:lnTo>
                    <a:pt x="59245" y="11070"/>
                  </a:lnTo>
                  <a:lnTo>
                    <a:pt x="62215" y="12928"/>
                  </a:lnTo>
                  <a:lnTo>
                    <a:pt x="64666" y="14806"/>
                  </a:lnTo>
                  <a:lnTo>
                    <a:pt x="66384" y="15364"/>
                  </a:lnTo>
                  <a:lnTo>
                    <a:pt x="69476" y="15324"/>
                  </a:lnTo>
                  <a:lnTo>
                    <a:pt x="73942" y="15682"/>
                  </a:lnTo>
                  <a:lnTo>
                    <a:pt x="79431" y="15656"/>
                  </a:lnTo>
                  <a:lnTo>
                    <a:pt x="82634" y="15132"/>
                  </a:lnTo>
                  <a:lnTo>
                    <a:pt x="86726" y="14209"/>
                  </a:lnTo>
                  <a:lnTo>
                    <a:pt x="94020" y="11989"/>
                  </a:lnTo>
                  <a:lnTo>
                    <a:pt x="103616" y="7343"/>
                  </a:lnTo>
                  <a:lnTo>
                    <a:pt x="109261" y="5083"/>
                  </a:lnTo>
                  <a:lnTo>
                    <a:pt x="111693" y="4818"/>
                  </a:lnTo>
                  <a:lnTo>
                    <a:pt x="114861" y="4792"/>
                  </a:lnTo>
                  <a:lnTo>
                    <a:pt x="118028" y="5384"/>
                  </a:lnTo>
                  <a:lnTo>
                    <a:pt x="121621" y="5805"/>
                  </a:lnTo>
                  <a:lnTo>
                    <a:pt x="123278" y="5768"/>
                  </a:lnTo>
                  <a:lnTo>
                    <a:pt x="127169" y="5301"/>
                  </a:lnTo>
                  <a:lnTo>
                    <a:pt x="132211" y="4360"/>
                  </a:lnTo>
                  <a:lnTo>
                    <a:pt x="135379" y="3589"/>
                  </a:lnTo>
                  <a:lnTo>
                    <a:pt x="139205" y="2325"/>
                  </a:lnTo>
                  <a:lnTo>
                    <a:pt x="141594" y="221"/>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0" name="ee4p_TR_1_15912">
              <a:extLst>
                <a:ext uri="{FF2B5EF4-FFF2-40B4-BE49-F238E27FC236}">
                  <a16:creationId xmlns:a16="http://schemas.microsoft.com/office/drawing/2014/main" id="{0D586ECE-6CA6-9B7F-18AF-1D4C142118AA}"/>
                </a:ext>
              </a:extLst>
            </p:cNvPr>
            <p:cNvSpPr>
              <a:spLocks noChangeAspect="1"/>
            </p:cNvSpPr>
            <p:nvPr>
              <p:custDataLst>
                <p:tags r:id="rId12"/>
              </p:custDataLst>
            </p:nvPr>
          </p:nvSpPr>
          <p:spPr>
            <a:xfrm>
              <a:off x="6021788" y="5398526"/>
              <a:ext cx="1495974" cy="641860"/>
            </a:xfrm>
            <a:custGeom>
              <a:avLst/>
              <a:gdLst>
                <a:gd name="connsiteX0" fmla="*/ 5515 w 377368"/>
                <a:gd name="connsiteY0" fmla="*/ 48881 h 161913"/>
                <a:gd name="connsiteX1" fmla="*/ 6812 w 377368"/>
                <a:gd name="connsiteY1" fmla="*/ 50453 h 161913"/>
                <a:gd name="connsiteX2" fmla="*/ 6657 w 377368"/>
                <a:gd name="connsiteY2" fmla="*/ 51536 h 161913"/>
                <a:gd name="connsiteX3" fmla="*/ 1576 w 377368"/>
                <a:gd name="connsiteY3" fmla="*/ 52342 h 161913"/>
                <a:gd name="connsiteX4" fmla="*/ 0 w 377368"/>
                <a:gd name="connsiteY4" fmla="*/ 51547 h 161913"/>
                <a:gd name="connsiteX5" fmla="*/ 1591 w 377368"/>
                <a:gd name="connsiteY5" fmla="*/ 49970 h 161913"/>
                <a:gd name="connsiteX6" fmla="*/ 4552 w 377368"/>
                <a:gd name="connsiteY6" fmla="*/ 48993 h 161913"/>
                <a:gd name="connsiteX7" fmla="*/ 206472 w 377368"/>
                <a:gd name="connsiteY7" fmla="*/ 797 h 161913"/>
                <a:gd name="connsiteX8" fmla="*/ 209754 w 377368"/>
                <a:gd name="connsiteY8" fmla="*/ 1746 h 161913"/>
                <a:gd name="connsiteX9" fmla="*/ 209447 w 377368"/>
                <a:gd name="connsiteY9" fmla="*/ 2756 h 161913"/>
                <a:gd name="connsiteX10" fmla="*/ 208851 w 377368"/>
                <a:gd name="connsiteY10" fmla="*/ 3619 h 161913"/>
                <a:gd name="connsiteX11" fmla="*/ 209028 w 377368"/>
                <a:gd name="connsiteY11" fmla="*/ 5367 h 161913"/>
                <a:gd name="connsiteX12" fmla="*/ 210954 w 377368"/>
                <a:gd name="connsiteY12" fmla="*/ 7931 h 161913"/>
                <a:gd name="connsiteX13" fmla="*/ 212913 w 377368"/>
                <a:gd name="connsiteY13" fmla="*/ 9676 h 161913"/>
                <a:gd name="connsiteX14" fmla="*/ 218668 w 377368"/>
                <a:gd name="connsiteY14" fmla="*/ 12177 h 161913"/>
                <a:gd name="connsiteX15" fmla="*/ 226668 w 377368"/>
                <a:gd name="connsiteY15" fmla="*/ 10067 h 161913"/>
                <a:gd name="connsiteX16" fmla="*/ 227957 w 377368"/>
                <a:gd name="connsiteY16" fmla="*/ 10303 h 161913"/>
                <a:gd name="connsiteX17" fmla="*/ 229586 w 377368"/>
                <a:gd name="connsiteY17" fmla="*/ 10892 h 161913"/>
                <a:gd name="connsiteX18" fmla="*/ 232403 w 377368"/>
                <a:gd name="connsiteY18" fmla="*/ 17660 h 161913"/>
                <a:gd name="connsiteX19" fmla="*/ 234597 w 377368"/>
                <a:gd name="connsiteY19" fmla="*/ 20048 h 161913"/>
                <a:gd name="connsiteX20" fmla="*/ 237404 w 377368"/>
                <a:gd name="connsiteY20" fmla="*/ 21671 h 161913"/>
                <a:gd name="connsiteX21" fmla="*/ 239711 w 377368"/>
                <a:gd name="connsiteY21" fmla="*/ 21990 h 161913"/>
                <a:gd name="connsiteX22" fmla="*/ 241423 w 377368"/>
                <a:gd name="connsiteY22" fmla="*/ 20297 h 161913"/>
                <a:gd name="connsiteX23" fmla="*/ 242749 w 377368"/>
                <a:gd name="connsiteY23" fmla="*/ 19615 h 161913"/>
                <a:gd name="connsiteX24" fmla="*/ 245638 w 377368"/>
                <a:gd name="connsiteY24" fmla="*/ 19326 h 161913"/>
                <a:gd name="connsiteX25" fmla="*/ 250376 w 377368"/>
                <a:gd name="connsiteY25" fmla="*/ 21650 h 161913"/>
                <a:gd name="connsiteX26" fmla="*/ 252017 w 377368"/>
                <a:gd name="connsiteY26" fmla="*/ 24048 h 161913"/>
                <a:gd name="connsiteX27" fmla="*/ 260083 w 377368"/>
                <a:gd name="connsiteY27" fmla="*/ 25900 h 161913"/>
                <a:gd name="connsiteX28" fmla="*/ 267483 w 377368"/>
                <a:gd name="connsiteY28" fmla="*/ 26827 h 161913"/>
                <a:gd name="connsiteX29" fmla="*/ 270676 w 377368"/>
                <a:gd name="connsiteY29" fmla="*/ 28854 h 161913"/>
                <a:gd name="connsiteX30" fmla="*/ 281091 w 377368"/>
                <a:gd name="connsiteY30" fmla="*/ 30889 h 161913"/>
                <a:gd name="connsiteX31" fmla="*/ 284980 w 377368"/>
                <a:gd name="connsiteY31" fmla="*/ 30573 h 161913"/>
                <a:gd name="connsiteX32" fmla="*/ 291508 w 377368"/>
                <a:gd name="connsiteY32" fmla="*/ 28438 h 161913"/>
                <a:gd name="connsiteX33" fmla="*/ 304205 w 377368"/>
                <a:gd name="connsiteY33" fmla="*/ 26102 h 161913"/>
                <a:gd name="connsiteX34" fmla="*/ 312642 w 377368"/>
                <a:gd name="connsiteY34" fmla="*/ 29363 h 161913"/>
                <a:gd name="connsiteX35" fmla="*/ 314924 w 377368"/>
                <a:gd name="connsiteY35" fmla="*/ 29786 h 161913"/>
                <a:gd name="connsiteX36" fmla="*/ 316894 w 377368"/>
                <a:gd name="connsiteY36" fmla="*/ 29505 h 161913"/>
                <a:gd name="connsiteX37" fmla="*/ 319729 w 377368"/>
                <a:gd name="connsiteY37" fmla="*/ 30402 h 161913"/>
                <a:gd name="connsiteX38" fmla="*/ 322754 w 377368"/>
                <a:gd name="connsiteY38" fmla="*/ 29920 h 161913"/>
                <a:gd name="connsiteX39" fmla="*/ 332091 w 377368"/>
                <a:gd name="connsiteY39" fmla="*/ 26076 h 161913"/>
                <a:gd name="connsiteX40" fmla="*/ 335011 w 377368"/>
                <a:gd name="connsiteY40" fmla="*/ 23895 h 161913"/>
                <a:gd name="connsiteX41" fmla="*/ 338105 w 377368"/>
                <a:gd name="connsiteY41" fmla="*/ 23331 h 161913"/>
                <a:gd name="connsiteX42" fmla="*/ 340850 w 377368"/>
                <a:gd name="connsiteY42" fmla="*/ 22024 h 161913"/>
                <a:gd name="connsiteX43" fmla="*/ 348164 w 377368"/>
                <a:gd name="connsiteY43" fmla="*/ 17738 h 161913"/>
                <a:gd name="connsiteX44" fmla="*/ 350280 w 377368"/>
                <a:gd name="connsiteY44" fmla="*/ 15259 h 161913"/>
                <a:gd name="connsiteX45" fmla="*/ 351751 w 377368"/>
                <a:gd name="connsiteY45" fmla="*/ 15792 h 161913"/>
                <a:gd name="connsiteX46" fmla="*/ 354519 w 377368"/>
                <a:gd name="connsiteY46" fmla="*/ 16471 h 161913"/>
                <a:gd name="connsiteX47" fmla="*/ 356236 w 377368"/>
                <a:gd name="connsiteY47" fmla="*/ 17292 h 161913"/>
                <a:gd name="connsiteX48" fmla="*/ 357212 w 377368"/>
                <a:gd name="connsiteY48" fmla="*/ 17507 h 161913"/>
                <a:gd name="connsiteX49" fmla="*/ 359473 w 377368"/>
                <a:gd name="connsiteY49" fmla="*/ 15835 h 161913"/>
                <a:gd name="connsiteX50" fmla="*/ 362833 w 377368"/>
                <a:gd name="connsiteY50" fmla="*/ 15877 h 161913"/>
                <a:gd name="connsiteX51" fmla="*/ 365782 w 377368"/>
                <a:gd name="connsiteY51" fmla="*/ 16071 h 161913"/>
                <a:gd name="connsiteX52" fmla="*/ 367305 w 377368"/>
                <a:gd name="connsiteY52" fmla="*/ 16381 h 161913"/>
                <a:gd name="connsiteX53" fmla="*/ 369170 w 377368"/>
                <a:gd name="connsiteY53" fmla="*/ 16936 h 161913"/>
                <a:gd name="connsiteX54" fmla="*/ 371427 w 377368"/>
                <a:gd name="connsiteY54" fmla="*/ 17310 h 161913"/>
                <a:gd name="connsiteX55" fmla="*/ 372345 w 377368"/>
                <a:gd name="connsiteY55" fmla="*/ 16511 h 161913"/>
                <a:gd name="connsiteX56" fmla="*/ 373660 w 377368"/>
                <a:gd name="connsiteY56" fmla="*/ 14154 h 161913"/>
                <a:gd name="connsiteX57" fmla="*/ 374169 w 377368"/>
                <a:gd name="connsiteY57" fmla="*/ 13852 h 161913"/>
                <a:gd name="connsiteX58" fmla="*/ 374532 w 377368"/>
                <a:gd name="connsiteY58" fmla="*/ 13637 h 161913"/>
                <a:gd name="connsiteX59" fmla="*/ 376203 w 377368"/>
                <a:gd name="connsiteY59" fmla="*/ 13454 h 161913"/>
                <a:gd name="connsiteX60" fmla="*/ 377368 w 377368"/>
                <a:gd name="connsiteY60" fmla="*/ 13587 h 161913"/>
                <a:gd name="connsiteX61" fmla="*/ 377368 w 377368"/>
                <a:gd name="connsiteY61" fmla="*/ 123278 h 161913"/>
                <a:gd name="connsiteX62" fmla="*/ 375165 w 377368"/>
                <a:gd name="connsiteY62" fmla="*/ 125986 h 161913"/>
                <a:gd name="connsiteX63" fmla="*/ 371194 w 377368"/>
                <a:gd name="connsiteY63" fmla="*/ 129056 h 161913"/>
                <a:gd name="connsiteX64" fmla="*/ 369052 w 377368"/>
                <a:gd name="connsiteY64" fmla="*/ 129568 h 161913"/>
                <a:gd name="connsiteX65" fmla="*/ 368032 w 377368"/>
                <a:gd name="connsiteY65" fmla="*/ 126487 h 161913"/>
                <a:gd name="connsiteX66" fmla="*/ 367052 w 377368"/>
                <a:gd name="connsiteY66" fmla="*/ 125290 h 161913"/>
                <a:gd name="connsiteX67" fmla="*/ 366588 w 377368"/>
                <a:gd name="connsiteY67" fmla="*/ 125146 h 161913"/>
                <a:gd name="connsiteX68" fmla="*/ 365597 w 377368"/>
                <a:gd name="connsiteY68" fmla="*/ 124762 h 161913"/>
                <a:gd name="connsiteX69" fmla="*/ 364826 w 377368"/>
                <a:gd name="connsiteY69" fmla="*/ 124983 h 161913"/>
                <a:gd name="connsiteX70" fmla="*/ 362437 w 377368"/>
                <a:gd name="connsiteY70" fmla="*/ 127087 h 161913"/>
                <a:gd name="connsiteX71" fmla="*/ 358611 w 377368"/>
                <a:gd name="connsiteY71" fmla="*/ 128351 h 161913"/>
                <a:gd name="connsiteX72" fmla="*/ 355443 w 377368"/>
                <a:gd name="connsiteY72" fmla="*/ 129122 h 161913"/>
                <a:gd name="connsiteX73" fmla="*/ 350401 w 377368"/>
                <a:gd name="connsiteY73" fmla="*/ 130063 h 161913"/>
                <a:gd name="connsiteX74" fmla="*/ 346510 w 377368"/>
                <a:gd name="connsiteY74" fmla="*/ 130530 h 161913"/>
                <a:gd name="connsiteX75" fmla="*/ 344853 w 377368"/>
                <a:gd name="connsiteY75" fmla="*/ 130567 h 161913"/>
                <a:gd name="connsiteX76" fmla="*/ 341260 w 377368"/>
                <a:gd name="connsiteY76" fmla="*/ 130146 h 161913"/>
                <a:gd name="connsiteX77" fmla="*/ 338093 w 377368"/>
                <a:gd name="connsiteY77" fmla="*/ 129554 h 161913"/>
                <a:gd name="connsiteX78" fmla="*/ 334925 w 377368"/>
                <a:gd name="connsiteY78" fmla="*/ 129580 h 161913"/>
                <a:gd name="connsiteX79" fmla="*/ 332493 w 377368"/>
                <a:gd name="connsiteY79" fmla="*/ 129845 h 161913"/>
                <a:gd name="connsiteX80" fmla="*/ 326848 w 377368"/>
                <a:gd name="connsiteY80" fmla="*/ 132105 h 161913"/>
                <a:gd name="connsiteX81" fmla="*/ 317252 w 377368"/>
                <a:gd name="connsiteY81" fmla="*/ 136751 h 161913"/>
                <a:gd name="connsiteX82" fmla="*/ 309958 w 377368"/>
                <a:gd name="connsiteY82" fmla="*/ 138971 h 161913"/>
                <a:gd name="connsiteX83" fmla="*/ 305866 w 377368"/>
                <a:gd name="connsiteY83" fmla="*/ 139894 h 161913"/>
                <a:gd name="connsiteX84" fmla="*/ 302663 w 377368"/>
                <a:gd name="connsiteY84" fmla="*/ 140418 h 161913"/>
                <a:gd name="connsiteX85" fmla="*/ 297174 w 377368"/>
                <a:gd name="connsiteY85" fmla="*/ 140444 h 161913"/>
                <a:gd name="connsiteX86" fmla="*/ 292708 w 377368"/>
                <a:gd name="connsiteY86" fmla="*/ 140086 h 161913"/>
                <a:gd name="connsiteX87" fmla="*/ 289616 w 377368"/>
                <a:gd name="connsiteY87" fmla="*/ 140126 h 161913"/>
                <a:gd name="connsiteX88" fmla="*/ 287898 w 377368"/>
                <a:gd name="connsiteY88" fmla="*/ 139568 h 161913"/>
                <a:gd name="connsiteX89" fmla="*/ 285447 w 377368"/>
                <a:gd name="connsiteY89" fmla="*/ 137690 h 161913"/>
                <a:gd name="connsiteX90" fmla="*/ 282477 w 377368"/>
                <a:gd name="connsiteY90" fmla="*/ 135832 h 161913"/>
                <a:gd name="connsiteX91" fmla="*/ 281156 w 377368"/>
                <a:gd name="connsiteY91" fmla="*/ 135400 h 161913"/>
                <a:gd name="connsiteX92" fmla="*/ 279428 w 377368"/>
                <a:gd name="connsiteY92" fmla="*/ 135042 h 161913"/>
                <a:gd name="connsiteX93" fmla="*/ 276904 w 377368"/>
                <a:gd name="connsiteY93" fmla="*/ 134833 h 161913"/>
                <a:gd name="connsiteX94" fmla="*/ 270601 w 377368"/>
                <a:gd name="connsiteY94" fmla="*/ 137550 h 161913"/>
                <a:gd name="connsiteX95" fmla="*/ 268640 w 377368"/>
                <a:gd name="connsiteY95" fmla="*/ 138287 h 161913"/>
                <a:gd name="connsiteX96" fmla="*/ 266481 w 377368"/>
                <a:gd name="connsiteY96" fmla="*/ 138843 h 161913"/>
                <a:gd name="connsiteX97" fmla="*/ 262130 w 377368"/>
                <a:gd name="connsiteY97" fmla="*/ 140501 h 161913"/>
                <a:gd name="connsiteX98" fmla="*/ 260201 w 377368"/>
                <a:gd name="connsiteY98" fmla="*/ 141389 h 161913"/>
                <a:gd name="connsiteX99" fmla="*/ 257785 w 377368"/>
                <a:gd name="connsiteY99" fmla="*/ 141306 h 161913"/>
                <a:gd name="connsiteX100" fmla="*/ 254697 w 377368"/>
                <a:gd name="connsiteY100" fmla="*/ 141070 h 161913"/>
                <a:gd name="connsiteX101" fmla="*/ 252017 w 377368"/>
                <a:gd name="connsiteY101" fmla="*/ 141153 h 161913"/>
                <a:gd name="connsiteX102" fmla="*/ 250229 w 377368"/>
                <a:gd name="connsiteY102" fmla="*/ 139891 h 161913"/>
                <a:gd name="connsiteX103" fmla="*/ 249266 w 377368"/>
                <a:gd name="connsiteY103" fmla="*/ 138469 h 161913"/>
                <a:gd name="connsiteX104" fmla="*/ 245613 w 377368"/>
                <a:gd name="connsiteY104" fmla="*/ 137599 h 161913"/>
                <a:gd name="connsiteX105" fmla="*/ 243004 w 377368"/>
                <a:gd name="connsiteY105" fmla="*/ 137349 h 161913"/>
                <a:gd name="connsiteX106" fmla="*/ 242337 w 377368"/>
                <a:gd name="connsiteY106" fmla="*/ 137980 h 161913"/>
                <a:gd name="connsiteX107" fmla="*/ 241639 w 377368"/>
                <a:gd name="connsiteY107" fmla="*/ 139917 h 161913"/>
                <a:gd name="connsiteX108" fmla="*/ 240529 w 377368"/>
                <a:gd name="connsiteY108" fmla="*/ 144861 h 161913"/>
                <a:gd name="connsiteX109" fmla="*/ 240326 w 377368"/>
                <a:gd name="connsiteY109" fmla="*/ 146100 h 161913"/>
                <a:gd name="connsiteX110" fmla="*/ 242624 w 377368"/>
                <a:gd name="connsiteY110" fmla="*/ 151006 h 161913"/>
                <a:gd name="connsiteX111" fmla="*/ 242520 w 377368"/>
                <a:gd name="connsiteY111" fmla="*/ 151753 h 161913"/>
                <a:gd name="connsiteX112" fmla="*/ 240877 w 377368"/>
                <a:gd name="connsiteY112" fmla="*/ 152007 h 161913"/>
                <a:gd name="connsiteX113" fmla="*/ 238990 w 377368"/>
                <a:gd name="connsiteY113" fmla="*/ 152089 h 161913"/>
                <a:gd name="connsiteX114" fmla="*/ 237761 w 377368"/>
                <a:gd name="connsiteY114" fmla="*/ 152525 h 161913"/>
                <a:gd name="connsiteX115" fmla="*/ 236742 w 377368"/>
                <a:gd name="connsiteY115" fmla="*/ 153339 h 161913"/>
                <a:gd name="connsiteX116" fmla="*/ 236126 w 377368"/>
                <a:gd name="connsiteY116" fmla="*/ 157574 h 161913"/>
                <a:gd name="connsiteX117" fmla="*/ 233943 w 377368"/>
                <a:gd name="connsiteY117" fmla="*/ 158351 h 161913"/>
                <a:gd name="connsiteX118" fmla="*/ 232907 w 377368"/>
                <a:gd name="connsiteY118" fmla="*/ 159238 h 161913"/>
                <a:gd name="connsiteX119" fmla="*/ 231838 w 377368"/>
                <a:gd name="connsiteY119" fmla="*/ 161852 h 161913"/>
                <a:gd name="connsiteX120" fmla="*/ 231257 w 377368"/>
                <a:gd name="connsiteY120" fmla="*/ 161913 h 161913"/>
                <a:gd name="connsiteX121" fmla="*/ 227724 w 377368"/>
                <a:gd name="connsiteY121" fmla="*/ 159932 h 161913"/>
                <a:gd name="connsiteX122" fmla="*/ 226068 w 377368"/>
                <a:gd name="connsiteY122" fmla="*/ 159768 h 161913"/>
                <a:gd name="connsiteX123" fmla="*/ 227489 w 377368"/>
                <a:gd name="connsiteY123" fmla="*/ 157709 h 161913"/>
                <a:gd name="connsiteX124" fmla="*/ 225945 w 377368"/>
                <a:gd name="connsiteY124" fmla="*/ 153646 h 161913"/>
                <a:gd name="connsiteX125" fmla="*/ 224260 w 377368"/>
                <a:gd name="connsiteY125" fmla="*/ 149834 h 161913"/>
                <a:gd name="connsiteX126" fmla="*/ 225850 w 377368"/>
                <a:gd name="connsiteY126" fmla="*/ 147393 h 161913"/>
                <a:gd name="connsiteX127" fmla="*/ 229143 w 377368"/>
                <a:gd name="connsiteY127" fmla="*/ 144446 h 161913"/>
                <a:gd name="connsiteX128" fmla="*/ 232609 w 377368"/>
                <a:gd name="connsiteY128" fmla="*/ 140992 h 161913"/>
                <a:gd name="connsiteX129" fmla="*/ 232602 w 377368"/>
                <a:gd name="connsiteY129" fmla="*/ 138859 h 161913"/>
                <a:gd name="connsiteX130" fmla="*/ 232423 w 377368"/>
                <a:gd name="connsiteY130" fmla="*/ 137230 h 161913"/>
                <a:gd name="connsiteX131" fmla="*/ 231430 w 377368"/>
                <a:gd name="connsiteY131" fmla="*/ 136103 h 161913"/>
                <a:gd name="connsiteX132" fmla="*/ 229523 w 377368"/>
                <a:gd name="connsiteY132" fmla="*/ 134604 h 161913"/>
                <a:gd name="connsiteX133" fmla="*/ 226331 w 377368"/>
                <a:gd name="connsiteY133" fmla="*/ 136204 h 161913"/>
                <a:gd name="connsiteX134" fmla="*/ 224053 w 377368"/>
                <a:gd name="connsiteY134" fmla="*/ 137970 h 161913"/>
                <a:gd name="connsiteX135" fmla="*/ 222565 w 377368"/>
                <a:gd name="connsiteY135" fmla="*/ 138328 h 161913"/>
                <a:gd name="connsiteX136" fmla="*/ 220948 w 377368"/>
                <a:gd name="connsiteY136" fmla="*/ 139334 h 161913"/>
                <a:gd name="connsiteX137" fmla="*/ 220162 w 377368"/>
                <a:gd name="connsiteY137" fmla="*/ 141149 h 161913"/>
                <a:gd name="connsiteX138" fmla="*/ 218212 w 377368"/>
                <a:gd name="connsiteY138" fmla="*/ 142563 h 161913"/>
                <a:gd name="connsiteX139" fmla="*/ 215023 w 377368"/>
                <a:gd name="connsiteY139" fmla="*/ 143116 h 161913"/>
                <a:gd name="connsiteX140" fmla="*/ 210224 w 377368"/>
                <a:gd name="connsiteY140" fmla="*/ 141604 h 161913"/>
                <a:gd name="connsiteX141" fmla="*/ 205072 w 377368"/>
                <a:gd name="connsiteY141" fmla="*/ 139300 h 161913"/>
                <a:gd name="connsiteX142" fmla="*/ 202155 w 377368"/>
                <a:gd name="connsiteY142" fmla="*/ 137432 h 161913"/>
                <a:gd name="connsiteX143" fmla="*/ 199775 w 377368"/>
                <a:gd name="connsiteY143" fmla="*/ 136987 h 161913"/>
                <a:gd name="connsiteX144" fmla="*/ 197514 w 377368"/>
                <a:gd name="connsiteY144" fmla="*/ 137808 h 161913"/>
                <a:gd name="connsiteX145" fmla="*/ 190842 w 377368"/>
                <a:gd name="connsiteY145" fmla="*/ 142381 h 161913"/>
                <a:gd name="connsiteX146" fmla="*/ 184735 w 377368"/>
                <a:gd name="connsiteY146" fmla="*/ 149053 h 161913"/>
                <a:gd name="connsiteX147" fmla="*/ 183219 w 377368"/>
                <a:gd name="connsiteY147" fmla="*/ 150205 h 161913"/>
                <a:gd name="connsiteX148" fmla="*/ 177466 w 377368"/>
                <a:gd name="connsiteY148" fmla="*/ 153067 h 161913"/>
                <a:gd name="connsiteX149" fmla="*/ 173664 w 377368"/>
                <a:gd name="connsiteY149" fmla="*/ 154027 h 161913"/>
                <a:gd name="connsiteX150" fmla="*/ 171874 w 377368"/>
                <a:gd name="connsiteY150" fmla="*/ 153804 h 161913"/>
                <a:gd name="connsiteX151" fmla="*/ 164305 w 377368"/>
                <a:gd name="connsiteY151" fmla="*/ 155063 h 161913"/>
                <a:gd name="connsiteX152" fmla="*/ 160546 w 377368"/>
                <a:gd name="connsiteY152" fmla="*/ 155247 h 161913"/>
                <a:gd name="connsiteX153" fmla="*/ 157568 w 377368"/>
                <a:gd name="connsiteY153" fmla="*/ 156757 h 161913"/>
                <a:gd name="connsiteX154" fmla="*/ 151796 w 377368"/>
                <a:gd name="connsiteY154" fmla="*/ 155120 h 161913"/>
                <a:gd name="connsiteX155" fmla="*/ 148345 w 377368"/>
                <a:gd name="connsiteY155" fmla="*/ 153025 h 161913"/>
                <a:gd name="connsiteX156" fmla="*/ 146268 w 377368"/>
                <a:gd name="connsiteY156" fmla="*/ 150896 h 161913"/>
                <a:gd name="connsiteX157" fmla="*/ 142880 w 377368"/>
                <a:gd name="connsiteY157" fmla="*/ 146310 h 161913"/>
                <a:gd name="connsiteX158" fmla="*/ 140478 w 377368"/>
                <a:gd name="connsiteY158" fmla="*/ 144127 h 161913"/>
                <a:gd name="connsiteX159" fmla="*/ 135082 w 377368"/>
                <a:gd name="connsiteY159" fmla="*/ 142163 h 161913"/>
                <a:gd name="connsiteX160" fmla="*/ 125676 w 377368"/>
                <a:gd name="connsiteY160" fmla="*/ 137386 h 161913"/>
                <a:gd name="connsiteX161" fmla="*/ 123201 w 377368"/>
                <a:gd name="connsiteY161" fmla="*/ 136862 h 161913"/>
                <a:gd name="connsiteX162" fmla="*/ 116781 w 377368"/>
                <a:gd name="connsiteY162" fmla="*/ 136177 h 161913"/>
                <a:gd name="connsiteX163" fmla="*/ 110010 w 377368"/>
                <a:gd name="connsiteY163" fmla="*/ 135745 h 161913"/>
                <a:gd name="connsiteX164" fmla="*/ 108638 w 377368"/>
                <a:gd name="connsiteY164" fmla="*/ 137485 h 161913"/>
                <a:gd name="connsiteX165" fmla="*/ 108118 w 377368"/>
                <a:gd name="connsiteY165" fmla="*/ 144367 h 161913"/>
                <a:gd name="connsiteX166" fmla="*/ 106958 w 377368"/>
                <a:gd name="connsiteY166" fmla="*/ 146260 h 161913"/>
                <a:gd name="connsiteX167" fmla="*/ 106462 w 377368"/>
                <a:gd name="connsiteY167" fmla="*/ 149821 h 161913"/>
                <a:gd name="connsiteX168" fmla="*/ 105632 w 377368"/>
                <a:gd name="connsiteY168" fmla="*/ 150846 h 161913"/>
                <a:gd name="connsiteX169" fmla="*/ 104332 w 377368"/>
                <a:gd name="connsiteY169" fmla="*/ 151519 h 161913"/>
                <a:gd name="connsiteX170" fmla="*/ 102300 w 377368"/>
                <a:gd name="connsiteY170" fmla="*/ 150395 h 161913"/>
                <a:gd name="connsiteX171" fmla="*/ 100890 w 377368"/>
                <a:gd name="connsiteY171" fmla="*/ 149899 h 161913"/>
                <a:gd name="connsiteX172" fmla="*/ 97608 w 377368"/>
                <a:gd name="connsiteY172" fmla="*/ 151364 h 161913"/>
                <a:gd name="connsiteX173" fmla="*/ 91108 w 377368"/>
                <a:gd name="connsiteY173" fmla="*/ 153419 h 161913"/>
                <a:gd name="connsiteX174" fmla="*/ 88893 w 377368"/>
                <a:gd name="connsiteY174" fmla="*/ 153706 h 161913"/>
                <a:gd name="connsiteX175" fmla="*/ 81359 w 377368"/>
                <a:gd name="connsiteY175" fmla="*/ 151125 h 161913"/>
                <a:gd name="connsiteX176" fmla="*/ 78601 w 377368"/>
                <a:gd name="connsiteY176" fmla="*/ 149465 h 161913"/>
                <a:gd name="connsiteX177" fmla="*/ 76824 w 377368"/>
                <a:gd name="connsiteY177" fmla="*/ 147624 h 161913"/>
                <a:gd name="connsiteX178" fmla="*/ 76224 w 377368"/>
                <a:gd name="connsiteY178" fmla="*/ 144512 h 161913"/>
                <a:gd name="connsiteX179" fmla="*/ 75105 w 377368"/>
                <a:gd name="connsiteY179" fmla="*/ 142739 h 161913"/>
                <a:gd name="connsiteX180" fmla="*/ 74941 w 377368"/>
                <a:gd name="connsiteY180" fmla="*/ 141521 h 161913"/>
                <a:gd name="connsiteX181" fmla="*/ 74503 w 377368"/>
                <a:gd name="connsiteY181" fmla="*/ 140117 h 161913"/>
                <a:gd name="connsiteX182" fmla="*/ 72985 w 377368"/>
                <a:gd name="connsiteY182" fmla="*/ 139562 h 161913"/>
                <a:gd name="connsiteX183" fmla="*/ 71354 w 377368"/>
                <a:gd name="connsiteY183" fmla="*/ 140621 h 161913"/>
                <a:gd name="connsiteX184" fmla="*/ 69607 w 377368"/>
                <a:gd name="connsiteY184" fmla="*/ 140578 h 161913"/>
                <a:gd name="connsiteX185" fmla="*/ 67413 w 377368"/>
                <a:gd name="connsiteY185" fmla="*/ 139929 h 161913"/>
                <a:gd name="connsiteX186" fmla="*/ 62237 w 377368"/>
                <a:gd name="connsiteY186" fmla="*/ 137317 h 161913"/>
                <a:gd name="connsiteX187" fmla="*/ 58260 w 377368"/>
                <a:gd name="connsiteY187" fmla="*/ 137110 h 161913"/>
                <a:gd name="connsiteX188" fmla="*/ 55869 w 377368"/>
                <a:gd name="connsiteY188" fmla="*/ 140298 h 161913"/>
                <a:gd name="connsiteX189" fmla="*/ 54010 w 377368"/>
                <a:gd name="connsiteY189" fmla="*/ 141311 h 161913"/>
                <a:gd name="connsiteX190" fmla="*/ 51974 w 377368"/>
                <a:gd name="connsiteY190" fmla="*/ 141614 h 161913"/>
                <a:gd name="connsiteX191" fmla="*/ 51857 w 377368"/>
                <a:gd name="connsiteY191" fmla="*/ 140707 h 161913"/>
                <a:gd name="connsiteX192" fmla="*/ 53401 w 377368"/>
                <a:gd name="connsiteY192" fmla="*/ 138645 h 161913"/>
                <a:gd name="connsiteX193" fmla="*/ 47206 w 377368"/>
                <a:gd name="connsiteY193" fmla="*/ 139026 h 161913"/>
                <a:gd name="connsiteX194" fmla="*/ 43935 w 377368"/>
                <a:gd name="connsiteY194" fmla="*/ 140596 h 161913"/>
                <a:gd name="connsiteX195" fmla="*/ 41382 w 377368"/>
                <a:gd name="connsiteY195" fmla="*/ 140352 h 161913"/>
                <a:gd name="connsiteX196" fmla="*/ 39469 w 377368"/>
                <a:gd name="connsiteY196" fmla="*/ 139643 h 161913"/>
                <a:gd name="connsiteX197" fmla="*/ 39756 w 377368"/>
                <a:gd name="connsiteY197" fmla="*/ 138775 h 161913"/>
                <a:gd name="connsiteX198" fmla="*/ 41697 w 377368"/>
                <a:gd name="connsiteY198" fmla="*/ 138457 h 161913"/>
                <a:gd name="connsiteX199" fmla="*/ 43381 w 377368"/>
                <a:gd name="connsiteY199" fmla="*/ 137752 h 161913"/>
                <a:gd name="connsiteX200" fmla="*/ 50095 w 377368"/>
                <a:gd name="connsiteY200" fmla="*/ 137178 h 161913"/>
                <a:gd name="connsiteX201" fmla="*/ 51663 w 377368"/>
                <a:gd name="connsiteY201" fmla="*/ 136601 h 161913"/>
                <a:gd name="connsiteX202" fmla="*/ 53380 w 377368"/>
                <a:gd name="connsiteY202" fmla="*/ 134358 h 161913"/>
                <a:gd name="connsiteX203" fmla="*/ 56506 w 377368"/>
                <a:gd name="connsiteY203" fmla="*/ 132423 h 161913"/>
                <a:gd name="connsiteX204" fmla="*/ 56903 w 377368"/>
                <a:gd name="connsiteY204" fmla="*/ 131592 h 161913"/>
                <a:gd name="connsiteX205" fmla="*/ 54500 w 377368"/>
                <a:gd name="connsiteY205" fmla="*/ 131581 h 161913"/>
                <a:gd name="connsiteX206" fmla="*/ 44211 w 377368"/>
                <a:gd name="connsiteY206" fmla="*/ 132143 h 161913"/>
                <a:gd name="connsiteX207" fmla="*/ 37147 w 377368"/>
                <a:gd name="connsiteY207" fmla="*/ 131833 h 161913"/>
                <a:gd name="connsiteX208" fmla="*/ 36310 w 377368"/>
                <a:gd name="connsiteY208" fmla="*/ 132792 h 161913"/>
                <a:gd name="connsiteX209" fmla="*/ 35247 w 377368"/>
                <a:gd name="connsiteY209" fmla="*/ 132927 h 161913"/>
                <a:gd name="connsiteX210" fmla="*/ 34954 w 377368"/>
                <a:gd name="connsiteY210" fmla="*/ 130317 h 161913"/>
                <a:gd name="connsiteX211" fmla="*/ 36070 w 377368"/>
                <a:gd name="connsiteY211" fmla="*/ 129104 h 161913"/>
                <a:gd name="connsiteX212" fmla="*/ 37573 w 377368"/>
                <a:gd name="connsiteY212" fmla="*/ 129216 h 161913"/>
                <a:gd name="connsiteX213" fmla="*/ 41263 w 377368"/>
                <a:gd name="connsiteY213" fmla="*/ 128161 h 161913"/>
                <a:gd name="connsiteX214" fmla="*/ 40933 w 377368"/>
                <a:gd name="connsiteY214" fmla="*/ 125989 h 161913"/>
                <a:gd name="connsiteX215" fmla="*/ 38290 w 377368"/>
                <a:gd name="connsiteY215" fmla="*/ 124521 h 161913"/>
                <a:gd name="connsiteX216" fmla="*/ 37752 w 377368"/>
                <a:gd name="connsiteY216" fmla="*/ 123655 h 161913"/>
                <a:gd name="connsiteX217" fmla="*/ 35835 w 377368"/>
                <a:gd name="connsiteY217" fmla="*/ 123452 h 161913"/>
                <a:gd name="connsiteX218" fmla="*/ 34280 w 377368"/>
                <a:gd name="connsiteY218" fmla="*/ 122419 h 161913"/>
                <a:gd name="connsiteX219" fmla="*/ 33941 w 377368"/>
                <a:gd name="connsiteY219" fmla="*/ 119810 h 161913"/>
                <a:gd name="connsiteX220" fmla="*/ 32703 w 377368"/>
                <a:gd name="connsiteY220" fmla="*/ 116943 h 161913"/>
                <a:gd name="connsiteX221" fmla="*/ 30935 w 377368"/>
                <a:gd name="connsiteY221" fmla="*/ 115556 h 161913"/>
                <a:gd name="connsiteX222" fmla="*/ 31153 w 377368"/>
                <a:gd name="connsiteY222" fmla="*/ 114794 h 161913"/>
                <a:gd name="connsiteX223" fmla="*/ 34394 w 377368"/>
                <a:gd name="connsiteY223" fmla="*/ 113829 h 161913"/>
                <a:gd name="connsiteX224" fmla="*/ 35066 w 377368"/>
                <a:gd name="connsiteY224" fmla="*/ 109813 h 161913"/>
                <a:gd name="connsiteX225" fmla="*/ 34571 w 377368"/>
                <a:gd name="connsiteY225" fmla="*/ 107345 h 161913"/>
                <a:gd name="connsiteX226" fmla="*/ 32941 w 377368"/>
                <a:gd name="connsiteY226" fmla="*/ 107135 h 161913"/>
                <a:gd name="connsiteX227" fmla="*/ 28191 w 377368"/>
                <a:gd name="connsiteY227" fmla="*/ 105185 h 161913"/>
                <a:gd name="connsiteX228" fmla="*/ 26748 w 377368"/>
                <a:gd name="connsiteY228" fmla="*/ 105393 h 161913"/>
                <a:gd name="connsiteX229" fmla="*/ 25174 w 377368"/>
                <a:gd name="connsiteY229" fmla="*/ 103250 h 161913"/>
                <a:gd name="connsiteX230" fmla="*/ 22418 w 377368"/>
                <a:gd name="connsiteY230" fmla="*/ 101709 h 161913"/>
                <a:gd name="connsiteX231" fmla="*/ 21054 w 377368"/>
                <a:gd name="connsiteY231" fmla="*/ 102273 h 161913"/>
                <a:gd name="connsiteX232" fmla="*/ 20198 w 377368"/>
                <a:gd name="connsiteY232" fmla="*/ 102969 h 161913"/>
                <a:gd name="connsiteX233" fmla="*/ 18922 w 377368"/>
                <a:gd name="connsiteY233" fmla="*/ 102635 h 161913"/>
                <a:gd name="connsiteX234" fmla="*/ 16782 w 377368"/>
                <a:gd name="connsiteY234" fmla="*/ 101298 h 161913"/>
                <a:gd name="connsiteX235" fmla="*/ 14681 w 377368"/>
                <a:gd name="connsiteY235" fmla="*/ 100575 h 161913"/>
                <a:gd name="connsiteX236" fmla="*/ 13748 w 377368"/>
                <a:gd name="connsiteY236" fmla="*/ 99683 h 161913"/>
                <a:gd name="connsiteX237" fmla="*/ 14919 w 377368"/>
                <a:gd name="connsiteY237" fmla="*/ 97296 h 161913"/>
                <a:gd name="connsiteX238" fmla="*/ 16528 w 377368"/>
                <a:gd name="connsiteY238" fmla="*/ 97353 h 161913"/>
                <a:gd name="connsiteX239" fmla="*/ 16821 w 377368"/>
                <a:gd name="connsiteY239" fmla="*/ 95481 h 161913"/>
                <a:gd name="connsiteX240" fmla="*/ 15551 w 377368"/>
                <a:gd name="connsiteY240" fmla="*/ 92359 h 161913"/>
                <a:gd name="connsiteX241" fmla="*/ 15675 w 377368"/>
                <a:gd name="connsiteY241" fmla="*/ 90755 h 161913"/>
                <a:gd name="connsiteX242" fmla="*/ 17078 w 377368"/>
                <a:gd name="connsiteY242" fmla="*/ 90316 h 161913"/>
                <a:gd name="connsiteX243" fmla="*/ 18676 w 377368"/>
                <a:gd name="connsiteY243" fmla="*/ 90618 h 161913"/>
                <a:gd name="connsiteX244" fmla="*/ 20289 w 377368"/>
                <a:gd name="connsiteY244" fmla="*/ 92485 h 161913"/>
                <a:gd name="connsiteX245" fmla="*/ 20816 w 377368"/>
                <a:gd name="connsiteY245" fmla="*/ 94290 h 161913"/>
                <a:gd name="connsiteX246" fmla="*/ 20477 w 377368"/>
                <a:gd name="connsiteY246" fmla="*/ 96048 h 161913"/>
                <a:gd name="connsiteX247" fmla="*/ 21501 w 377368"/>
                <a:gd name="connsiteY247" fmla="*/ 97749 h 161913"/>
                <a:gd name="connsiteX248" fmla="*/ 22228 w 377368"/>
                <a:gd name="connsiteY248" fmla="*/ 98179 h 161913"/>
                <a:gd name="connsiteX249" fmla="*/ 22718 w 377368"/>
                <a:gd name="connsiteY249" fmla="*/ 96388 h 161913"/>
                <a:gd name="connsiteX250" fmla="*/ 23403 w 377368"/>
                <a:gd name="connsiteY250" fmla="*/ 96048 h 161913"/>
                <a:gd name="connsiteX251" fmla="*/ 24345 w 377368"/>
                <a:gd name="connsiteY251" fmla="*/ 96830 h 161913"/>
                <a:gd name="connsiteX252" fmla="*/ 26368 w 377368"/>
                <a:gd name="connsiteY252" fmla="*/ 97222 h 161913"/>
                <a:gd name="connsiteX253" fmla="*/ 31613 w 377368"/>
                <a:gd name="connsiteY253" fmla="*/ 96122 h 161913"/>
                <a:gd name="connsiteX254" fmla="*/ 32621 w 377368"/>
                <a:gd name="connsiteY254" fmla="*/ 95190 h 161913"/>
                <a:gd name="connsiteX255" fmla="*/ 28778 w 377368"/>
                <a:gd name="connsiteY255" fmla="*/ 95295 h 161913"/>
                <a:gd name="connsiteX256" fmla="*/ 27372 w 377368"/>
                <a:gd name="connsiteY256" fmla="*/ 94423 h 161913"/>
                <a:gd name="connsiteX257" fmla="*/ 25845 w 377368"/>
                <a:gd name="connsiteY257" fmla="*/ 92471 h 161913"/>
                <a:gd name="connsiteX258" fmla="*/ 24906 w 377368"/>
                <a:gd name="connsiteY258" fmla="*/ 90697 h 161913"/>
                <a:gd name="connsiteX259" fmla="*/ 24738 w 377368"/>
                <a:gd name="connsiteY259" fmla="*/ 89826 h 161913"/>
                <a:gd name="connsiteX260" fmla="*/ 24206 w 377368"/>
                <a:gd name="connsiteY260" fmla="*/ 88552 h 161913"/>
                <a:gd name="connsiteX261" fmla="*/ 24792 w 377368"/>
                <a:gd name="connsiteY261" fmla="*/ 87870 h 161913"/>
                <a:gd name="connsiteX262" fmla="*/ 27424 w 377368"/>
                <a:gd name="connsiteY262" fmla="*/ 86846 h 161913"/>
                <a:gd name="connsiteX263" fmla="*/ 29734 w 377368"/>
                <a:gd name="connsiteY263" fmla="*/ 83978 h 161913"/>
                <a:gd name="connsiteX264" fmla="*/ 28771 w 377368"/>
                <a:gd name="connsiteY264" fmla="*/ 83147 h 161913"/>
                <a:gd name="connsiteX265" fmla="*/ 27670 w 377368"/>
                <a:gd name="connsiteY265" fmla="*/ 82754 h 161913"/>
                <a:gd name="connsiteX266" fmla="*/ 26474 w 377368"/>
                <a:gd name="connsiteY266" fmla="*/ 83046 h 161913"/>
                <a:gd name="connsiteX267" fmla="*/ 25340 w 377368"/>
                <a:gd name="connsiteY267" fmla="*/ 82063 h 161913"/>
                <a:gd name="connsiteX268" fmla="*/ 25193 w 377368"/>
                <a:gd name="connsiteY268" fmla="*/ 80695 h 161913"/>
                <a:gd name="connsiteX269" fmla="*/ 26100 w 377368"/>
                <a:gd name="connsiteY269" fmla="*/ 79588 h 161913"/>
                <a:gd name="connsiteX270" fmla="*/ 26195 w 377368"/>
                <a:gd name="connsiteY270" fmla="*/ 78064 h 161913"/>
                <a:gd name="connsiteX271" fmla="*/ 23226 w 377368"/>
                <a:gd name="connsiteY271" fmla="*/ 74309 h 161913"/>
                <a:gd name="connsiteX272" fmla="*/ 22397 w 377368"/>
                <a:gd name="connsiteY272" fmla="*/ 73491 h 161913"/>
                <a:gd name="connsiteX273" fmla="*/ 23036 w 377368"/>
                <a:gd name="connsiteY273" fmla="*/ 72262 h 161913"/>
                <a:gd name="connsiteX274" fmla="*/ 25303 w 377368"/>
                <a:gd name="connsiteY274" fmla="*/ 70203 h 161913"/>
                <a:gd name="connsiteX275" fmla="*/ 27463 w 377368"/>
                <a:gd name="connsiteY275" fmla="*/ 67652 h 161913"/>
                <a:gd name="connsiteX276" fmla="*/ 27203 w 377368"/>
                <a:gd name="connsiteY276" fmla="*/ 66812 h 161913"/>
                <a:gd name="connsiteX277" fmla="*/ 25608 w 377368"/>
                <a:gd name="connsiteY277" fmla="*/ 66469 h 161913"/>
                <a:gd name="connsiteX278" fmla="*/ 18024 w 377368"/>
                <a:gd name="connsiteY278" fmla="*/ 67564 h 161913"/>
                <a:gd name="connsiteX279" fmla="*/ 15076 w 377368"/>
                <a:gd name="connsiteY279" fmla="*/ 68515 h 161913"/>
                <a:gd name="connsiteX280" fmla="*/ 9820 w 377368"/>
                <a:gd name="connsiteY280" fmla="*/ 68948 h 161913"/>
                <a:gd name="connsiteX281" fmla="*/ 9442 w 377368"/>
                <a:gd name="connsiteY281" fmla="*/ 67562 h 161913"/>
                <a:gd name="connsiteX282" fmla="*/ 9561 w 377368"/>
                <a:gd name="connsiteY282" fmla="*/ 66311 h 161913"/>
                <a:gd name="connsiteX283" fmla="*/ 10740 w 377368"/>
                <a:gd name="connsiteY283" fmla="*/ 64032 h 161913"/>
                <a:gd name="connsiteX284" fmla="*/ 10632 w 377368"/>
                <a:gd name="connsiteY284" fmla="*/ 58406 h 161913"/>
                <a:gd name="connsiteX285" fmla="*/ 11330 w 377368"/>
                <a:gd name="connsiteY285" fmla="*/ 55351 h 161913"/>
                <a:gd name="connsiteX286" fmla="*/ 14250 w 377368"/>
                <a:gd name="connsiteY286" fmla="*/ 54441 h 161913"/>
                <a:gd name="connsiteX287" fmla="*/ 17832 w 377368"/>
                <a:gd name="connsiteY287" fmla="*/ 49945 h 161913"/>
                <a:gd name="connsiteX288" fmla="*/ 23640 w 377368"/>
                <a:gd name="connsiteY288" fmla="*/ 44639 h 161913"/>
                <a:gd name="connsiteX289" fmla="*/ 29700 w 377368"/>
                <a:gd name="connsiteY289" fmla="*/ 44741 h 161913"/>
                <a:gd name="connsiteX290" fmla="*/ 32122 w 377368"/>
                <a:gd name="connsiteY290" fmla="*/ 43275 h 161913"/>
                <a:gd name="connsiteX291" fmla="*/ 35725 w 377368"/>
                <a:gd name="connsiteY291" fmla="*/ 43189 h 161913"/>
                <a:gd name="connsiteX292" fmla="*/ 36379 w 377368"/>
                <a:gd name="connsiteY292" fmla="*/ 44255 h 161913"/>
                <a:gd name="connsiteX293" fmla="*/ 36787 w 377368"/>
                <a:gd name="connsiteY293" fmla="*/ 45275 h 161913"/>
                <a:gd name="connsiteX294" fmla="*/ 39948 w 377368"/>
                <a:gd name="connsiteY294" fmla="*/ 46739 h 161913"/>
                <a:gd name="connsiteX295" fmla="*/ 45530 w 377368"/>
                <a:gd name="connsiteY295" fmla="*/ 46507 h 161913"/>
                <a:gd name="connsiteX296" fmla="*/ 46886 w 377368"/>
                <a:gd name="connsiteY296" fmla="*/ 45930 h 161913"/>
                <a:gd name="connsiteX297" fmla="*/ 48195 w 377368"/>
                <a:gd name="connsiteY297" fmla="*/ 45123 h 161913"/>
                <a:gd name="connsiteX298" fmla="*/ 45614 w 377368"/>
                <a:gd name="connsiteY298" fmla="*/ 42512 h 161913"/>
                <a:gd name="connsiteX299" fmla="*/ 46439 w 377368"/>
                <a:gd name="connsiteY299" fmla="*/ 41775 h 161913"/>
                <a:gd name="connsiteX300" fmla="*/ 48778 w 377368"/>
                <a:gd name="connsiteY300" fmla="*/ 41688 h 161913"/>
                <a:gd name="connsiteX301" fmla="*/ 51313 w 377368"/>
                <a:gd name="connsiteY301" fmla="*/ 42303 h 161913"/>
                <a:gd name="connsiteX302" fmla="*/ 51430 w 377368"/>
                <a:gd name="connsiteY302" fmla="*/ 42901 h 161913"/>
                <a:gd name="connsiteX303" fmla="*/ 50756 w 377368"/>
                <a:gd name="connsiteY303" fmla="*/ 43721 h 161913"/>
                <a:gd name="connsiteX304" fmla="*/ 49972 w 377368"/>
                <a:gd name="connsiteY304" fmla="*/ 45157 h 161913"/>
                <a:gd name="connsiteX305" fmla="*/ 50717 w 377368"/>
                <a:gd name="connsiteY305" fmla="*/ 45433 h 161913"/>
                <a:gd name="connsiteX306" fmla="*/ 57936 w 377368"/>
                <a:gd name="connsiteY306" fmla="*/ 44566 h 161913"/>
                <a:gd name="connsiteX307" fmla="*/ 65481 w 377368"/>
                <a:gd name="connsiteY307" fmla="*/ 45261 h 161913"/>
                <a:gd name="connsiteX308" fmla="*/ 67882 w 377368"/>
                <a:gd name="connsiteY308" fmla="*/ 44884 h 161913"/>
                <a:gd name="connsiteX309" fmla="*/ 73814 w 377368"/>
                <a:gd name="connsiteY309" fmla="*/ 44913 h 161913"/>
                <a:gd name="connsiteX310" fmla="*/ 74876 w 377368"/>
                <a:gd name="connsiteY310" fmla="*/ 44012 h 161913"/>
                <a:gd name="connsiteX311" fmla="*/ 73082 w 377368"/>
                <a:gd name="connsiteY311" fmla="*/ 42881 h 161913"/>
                <a:gd name="connsiteX312" fmla="*/ 71326 w 377368"/>
                <a:gd name="connsiteY312" fmla="*/ 42488 h 161913"/>
                <a:gd name="connsiteX313" fmla="*/ 70145 w 377368"/>
                <a:gd name="connsiteY313" fmla="*/ 41936 h 161913"/>
                <a:gd name="connsiteX314" fmla="*/ 68966 w 377368"/>
                <a:gd name="connsiteY314" fmla="*/ 41136 h 161913"/>
                <a:gd name="connsiteX315" fmla="*/ 72728 w 377368"/>
                <a:gd name="connsiteY315" fmla="*/ 38606 h 161913"/>
                <a:gd name="connsiteX316" fmla="*/ 74852 w 377368"/>
                <a:gd name="connsiteY316" fmla="*/ 38119 h 161913"/>
                <a:gd name="connsiteX317" fmla="*/ 84881 w 377368"/>
                <a:gd name="connsiteY317" fmla="*/ 36564 h 161913"/>
                <a:gd name="connsiteX318" fmla="*/ 92339 w 377368"/>
                <a:gd name="connsiteY318" fmla="*/ 35785 h 161913"/>
                <a:gd name="connsiteX319" fmla="*/ 92434 w 377368"/>
                <a:gd name="connsiteY319" fmla="*/ 35207 h 161913"/>
                <a:gd name="connsiteX320" fmla="*/ 91359 w 377368"/>
                <a:gd name="connsiteY320" fmla="*/ 35206 h 161913"/>
                <a:gd name="connsiteX321" fmla="*/ 81721 w 377368"/>
                <a:gd name="connsiteY321" fmla="*/ 33916 h 161913"/>
                <a:gd name="connsiteX322" fmla="*/ 79400 w 377368"/>
                <a:gd name="connsiteY322" fmla="*/ 32917 h 161913"/>
                <a:gd name="connsiteX323" fmla="*/ 76174 w 377368"/>
                <a:gd name="connsiteY323" fmla="*/ 30538 h 161913"/>
                <a:gd name="connsiteX324" fmla="*/ 75474 w 377368"/>
                <a:gd name="connsiteY324" fmla="*/ 29865 h 161913"/>
                <a:gd name="connsiteX325" fmla="*/ 74662 w 377368"/>
                <a:gd name="connsiteY325" fmla="*/ 28704 h 161913"/>
                <a:gd name="connsiteX326" fmla="*/ 75146 w 377368"/>
                <a:gd name="connsiteY326" fmla="*/ 26228 h 161913"/>
                <a:gd name="connsiteX327" fmla="*/ 75742 w 377368"/>
                <a:gd name="connsiteY327" fmla="*/ 24237 h 161913"/>
                <a:gd name="connsiteX328" fmla="*/ 76932 w 377368"/>
                <a:gd name="connsiteY328" fmla="*/ 23083 h 161913"/>
                <a:gd name="connsiteX329" fmla="*/ 80782 w 377368"/>
                <a:gd name="connsiteY329" fmla="*/ 22907 h 161913"/>
                <a:gd name="connsiteX330" fmla="*/ 93985 w 377368"/>
                <a:gd name="connsiteY330" fmla="*/ 24933 h 161913"/>
                <a:gd name="connsiteX331" fmla="*/ 103395 w 377368"/>
                <a:gd name="connsiteY331" fmla="*/ 23719 h 161913"/>
                <a:gd name="connsiteX332" fmla="*/ 113680 w 377368"/>
                <a:gd name="connsiteY332" fmla="*/ 26670 h 161913"/>
                <a:gd name="connsiteX333" fmla="*/ 123516 w 377368"/>
                <a:gd name="connsiteY333" fmla="*/ 26071 h 161913"/>
                <a:gd name="connsiteX334" fmla="*/ 125546 w 377368"/>
                <a:gd name="connsiteY334" fmla="*/ 24746 h 161913"/>
                <a:gd name="connsiteX335" fmla="*/ 128008 w 377368"/>
                <a:gd name="connsiteY335" fmla="*/ 20473 h 161913"/>
                <a:gd name="connsiteX336" fmla="*/ 141904 w 377368"/>
                <a:gd name="connsiteY336" fmla="*/ 13362 h 161913"/>
                <a:gd name="connsiteX337" fmla="*/ 146769 w 377368"/>
                <a:gd name="connsiteY337" fmla="*/ 9647 h 161913"/>
                <a:gd name="connsiteX338" fmla="*/ 151981 w 377368"/>
                <a:gd name="connsiteY338" fmla="*/ 7613 h 161913"/>
                <a:gd name="connsiteX339" fmla="*/ 160925 w 377368"/>
                <a:gd name="connsiteY339" fmla="*/ 5350 h 161913"/>
                <a:gd name="connsiteX340" fmla="*/ 168401 w 377368"/>
                <a:gd name="connsiteY340" fmla="*/ 2356 h 161913"/>
                <a:gd name="connsiteX341" fmla="*/ 170537 w 377368"/>
                <a:gd name="connsiteY341" fmla="*/ 2011 h 161913"/>
                <a:gd name="connsiteX342" fmla="*/ 188484 w 377368"/>
                <a:gd name="connsiteY342" fmla="*/ 3441 h 161913"/>
                <a:gd name="connsiteX343" fmla="*/ 200812 w 377368"/>
                <a:gd name="connsiteY343" fmla="*/ 3623 h 161913"/>
                <a:gd name="connsiteX344" fmla="*/ 34835 w 377368"/>
                <a:gd name="connsiteY344" fmla="*/ 0 h 161913"/>
                <a:gd name="connsiteX345" fmla="*/ 35953 w 377368"/>
                <a:gd name="connsiteY345" fmla="*/ 365 h 161913"/>
                <a:gd name="connsiteX346" fmla="*/ 37456 w 377368"/>
                <a:gd name="connsiteY346" fmla="*/ 1812 h 161913"/>
                <a:gd name="connsiteX347" fmla="*/ 39931 w 377368"/>
                <a:gd name="connsiteY347" fmla="*/ 3887 h 161913"/>
                <a:gd name="connsiteX348" fmla="*/ 41259 w 377368"/>
                <a:gd name="connsiteY348" fmla="*/ 4579 h 161913"/>
                <a:gd name="connsiteX349" fmla="*/ 42254 w 377368"/>
                <a:gd name="connsiteY349" fmla="*/ 4258 h 161913"/>
                <a:gd name="connsiteX350" fmla="*/ 44051 w 377368"/>
                <a:gd name="connsiteY350" fmla="*/ 3504 h 161913"/>
                <a:gd name="connsiteX351" fmla="*/ 45770 w 377368"/>
                <a:gd name="connsiteY351" fmla="*/ 3498 h 161913"/>
                <a:gd name="connsiteX352" fmla="*/ 47158 w 377368"/>
                <a:gd name="connsiteY352" fmla="*/ 3631 h 161913"/>
                <a:gd name="connsiteX353" fmla="*/ 47828 w 377368"/>
                <a:gd name="connsiteY353" fmla="*/ 2974 h 161913"/>
                <a:gd name="connsiteX354" fmla="*/ 48873 w 377368"/>
                <a:gd name="connsiteY354" fmla="*/ 2833 h 161913"/>
                <a:gd name="connsiteX355" fmla="*/ 51864 w 377368"/>
                <a:gd name="connsiteY355" fmla="*/ 3299 h 161913"/>
                <a:gd name="connsiteX356" fmla="*/ 51264 w 377368"/>
                <a:gd name="connsiteY356" fmla="*/ 6327 h 161913"/>
                <a:gd name="connsiteX357" fmla="*/ 52656 w 377368"/>
                <a:gd name="connsiteY357" fmla="*/ 9659 h 161913"/>
                <a:gd name="connsiteX358" fmla="*/ 55919 w 377368"/>
                <a:gd name="connsiteY358" fmla="*/ 14280 h 161913"/>
                <a:gd name="connsiteX359" fmla="*/ 59203 w 377368"/>
                <a:gd name="connsiteY359" fmla="*/ 16609 h 161913"/>
                <a:gd name="connsiteX360" fmla="*/ 72479 w 377368"/>
                <a:gd name="connsiteY360" fmla="*/ 22362 h 161913"/>
                <a:gd name="connsiteX361" fmla="*/ 74922 w 377368"/>
                <a:gd name="connsiteY361" fmla="*/ 22853 h 161913"/>
                <a:gd name="connsiteX362" fmla="*/ 74367 w 377368"/>
                <a:gd name="connsiteY362" fmla="*/ 25206 h 161913"/>
                <a:gd name="connsiteX363" fmla="*/ 73568 w 377368"/>
                <a:gd name="connsiteY363" fmla="*/ 27295 h 161913"/>
                <a:gd name="connsiteX364" fmla="*/ 72689 w 377368"/>
                <a:gd name="connsiteY364" fmla="*/ 28688 h 161913"/>
                <a:gd name="connsiteX365" fmla="*/ 68800 w 377368"/>
                <a:gd name="connsiteY365" fmla="*/ 29583 h 161913"/>
                <a:gd name="connsiteX366" fmla="*/ 58065 w 377368"/>
                <a:gd name="connsiteY366" fmla="*/ 27022 h 161913"/>
                <a:gd name="connsiteX367" fmla="*/ 55351 w 377368"/>
                <a:gd name="connsiteY367" fmla="*/ 26780 h 161913"/>
                <a:gd name="connsiteX368" fmla="*/ 53436 w 377368"/>
                <a:gd name="connsiteY368" fmla="*/ 27290 h 161913"/>
                <a:gd name="connsiteX369" fmla="*/ 49890 w 377368"/>
                <a:gd name="connsiteY369" fmla="*/ 29151 h 161913"/>
                <a:gd name="connsiteX370" fmla="*/ 45958 w 377368"/>
                <a:gd name="connsiteY370" fmla="*/ 28554 h 161913"/>
                <a:gd name="connsiteX371" fmla="*/ 40475 w 377368"/>
                <a:gd name="connsiteY371" fmla="*/ 29610 h 161913"/>
                <a:gd name="connsiteX372" fmla="*/ 38944 w 377368"/>
                <a:gd name="connsiteY372" fmla="*/ 33111 h 161913"/>
                <a:gd name="connsiteX373" fmla="*/ 35137 w 377368"/>
                <a:gd name="connsiteY373" fmla="*/ 37117 h 161913"/>
                <a:gd name="connsiteX374" fmla="*/ 28871 w 377368"/>
                <a:gd name="connsiteY374" fmla="*/ 40350 h 161913"/>
                <a:gd name="connsiteX375" fmla="*/ 24392 w 377368"/>
                <a:gd name="connsiteY375" fmla="*/ 42078 h 161913"/>
                <a:gd name="connsiteX376" fmla="*/ 17668 w 377368"/>
                <a:gd name="connsiteY376" fmla="*/ 48267 h 161913"/>
                <a:gd name="connsiteX377" fmla="*/ 14617 w 377368"/>
                <a:gd name="connsiteY377" fmla="*/ 51874 h 161913"/>
                <a:gd name="connsiteX378" fmla="*/ 13329 w 377368"/>
                <a:gd name="connsiteY378" fmla="*/ 52573 h 161913"/>
                <a:gd name="connsiteX379" fmla="*/ 11803 w 377368"/>
                <a:gd name="connsiteY379" fmla="*/ 53126 h 161913"/>
                <a:gd name="connsiteX380" fmla="*/ 12317 w 377368"/>
                <a:gd name="connsiteY380" fmla="*/ 51396 h 161913"/>
                <a:gd name="connsiteX381" fmla="*/ 13072 w 377368"/>
                <a:gd name="connsiteY381" fmla="*/ 49811 h 161913"/>
                <a:gd name="connsiteX382" fmla="*/ 12900 w 377368"/>
                <a:gd name="connsiteY382" fmla="*/ 48615 h 161913"/>
                <a:gd name="connsiteX383" fmla="*/ 12932 w 377368"/>
                <a:gd name="connsiteY383" fmla="*/ 46876 h 161913"/>
                <a:gd name="connsiteX384" fmla="*/ 15176 w 377368"/>
                <a:gd name="connsiteY384" fmla="*/ 44900 h 161913"/>
                <a:gd name="connsiteX385" fmla="*/ 17214 w 377368"/>
                <a:gd name="connsiteY385" fmla="*/ 43467 h 161913"/>
                <a:gd name="connsiteX386" fmla="*/ 23247 w 377368"/>
                <a:gd name="connsiteY386" fmla="*/ 40868 h 161913"/>
                <a:gd name="connsiteX387" fmla="*/ 24835 w 377368"/>
                <a:gd name="connsiteY387" fmla="*/ 38709 h 161913"/>
                <a:gd name="connsiteX388" fmla="*/ 20103 w 377368"/>
                <a:gd name="connsiteY388" fmla="*/ 38761 h 161913"/>
                <a:gd name="connsiteX389" fmla="*/ 15301 w 377368"/>
                <a:gd name="connsiteY389" fmla="*/ 39241 h 161913"/>
                <a:gd name="connsiteX390" fmla="*/ 12278 w 377368"/>
                <a:gd name="connsiteY390" fmla="*/ 38934 h 161913"/>
                <a:gd name="connsiteX391" fmla="*/ 9652 w 377368"/>
                <a:gd name="connsiteY391" fmla="*/ 39110 h 161913"/>
                <a:gd name="connsiteX392" fmla="*/ 8818 w 377368"/>
                <a:gd name="connsiteY392" fmla="*/ 37220 h 161913"/>
                <a:gd name="connsiteX393" fmla="*/ 8182 w 377368"/>
                <a:gd name="connsiteY393" fmla="*/ 36083 h 161913"/>
                <a:gd name="connsiteX394" fmla="*/ 8862 w 377368"/>
                <a:gd name="connsiteY394" fmla="*/ 35728 h 161913"/>
                <a:gd name="connsiteX395" fmla="*/ 9734 w 377368"/>
                <a:gd name="connsiteY395" fmla="*/ 35482 h 161913"/>
                <a:gd name="connsiteX396" fmla="*/ 11276 w 377368"/>
                <a:gd name="connsiteY396" fmla="*/ 33464 h 161913"/>
                <a:gd name="connsiteX397" fmla="*/ 12653 w 377368"/>
                <a:gd name="connsiteY397" fmla="*/ 31974 h 161913"/>
                <a:gd name="connsiteX398" fmla="*/ 14640 w 377368"/>
                <a:gd name="connsiteY398" fmla="*/ 30100 h 161913"/>
                <a:gd name="connsiteX399" fmla="*/ 15150 w 377368"/>
                <a:gd name="connsiteY399" fmla="*/ 28981 h 161913"/>
                <a:gd name="connsiteX400" fmla="*/ 15150 w 377368"/>
                <a:gd name="connsiteY400" fmla="*/ 27936 h 161913"/>
                <a:gd name="connsiteX401" fmla="*/ 14675 w 377368"/>
                <a:gd name="connsiteY401" fmla="*/ 27211 h 161913"/>
                <a:gd name="connsiteX402" fmla="*/ 14582 w 377368"/>
                <a:gd name="connsiteY402" fmla="*/ 26350 h 161913"/>
                <a:gd name="connsiteX403" fmla="*/ 14522 w 377368"/>
                <a:gd name="connsiteY403" fmla="*/ 25132 h 161913"/>
                <a:gd name="connsiteX404" fmla="*/ 14632 w 377368"/>
                <a:gd name="connsiteY404" fmla="*/ 22616 h 161913"/>
                <a:gd name="connsiteX405" fmla="*/ 19181 w 377368"/>
                <a:gd name="connsiteY405" fmla="*/ 19863 h 161913"/>
                <a:gd name="connsiteX406" fmla="*/ 20639 w 377368"/>
                <a:gd name="connsiteY406" fmla="*/ 19572 h 161913"/>
                <a:gd name="connsiteX407" fmla="*/ 21138 w 377368"/>
                <a:gd name="connsiteY407" fmla="*/ 18316 h 161913"/>
                <a:gd name="connsiteX408" fmla="*/ 20803 w 377368"/>
                <a:gd name="connsiteY408" fmla="*/ 15399 h 161913"/>
                <a:gd name="connsiteX409" fmla="*/ 20175 w 377368"/>
                <a:gd name="connsiteY409" fmla="*/ 13043 h 161913"/>
                <a:gd name="connsiteX410" fmla="*/ 19360 w 377368"/>
                <a:gd name="connsiteY410" fmla="*/ 12885 h 161913"/>
                <a:gd name="connsiteX411" fmla="*/ 18266 w 377368"/>
                <a:gd name="connsiteY411" fmla="*/ 12197 h 161913"/>
                <a:gd name="connsiteX412" fmla="*/ 17547 w 377368"/>
                <a:gd name="connsiteY412" fmla="*/ 11400 h 161913"/>
                <a:gd name="connsiteX413" fmla="*/ 16398 w 377368"/>
                <a:gd name="connsiteY413" fmla="*/ 10527 h 161913"/>
                <a:gd name="connsiteX414" fmla="*/ 14415 w 377368"/>
                <a:gd name="connsiteY414" fmla="*/ 9992 h 161913"/>
                <a:gd name="connsiteX415" fmla="*/ 14351 w 377368"/>
                <a:gd name="connsiteY415" fmla="*/ 9247 h 161913"/>
                <a:gd name="connsiteX416" fmla="*/ 14556 w 377368"/>
                <a:gd name="connsiteY416" fmla="*/ 8502 h 161913"/>
                <a:gd name="connsiteX417" fmla="*/ 15288 w 377368"/>
                <a:gd name="connsiteY417" fmla="*/ 7740 h 161913"/>
                <a:gd name="connsiteX418" fmla="*/ 18629 w 377368"/>
                <a:gd name="connsiteY418" fmla="*/ 7083 h 161913"/>
                <a:gd name="connsiteX419" fmla="*/ 19024 w 377368"/>
                <a:gd name="connsiteY419" fmla="*/ 6545 h 161913"/>
                <a:gd name="connsiteX420" fmla="*/ 19475 w 377368"/>
                <a:gd name="connsiteY420" fmla="*/ 5218 h 161913"/>
                <a:gd name="connsiteX421" fmla="*/ 20138 w 377368"/>
                <a:gd name="connsiteY421" fmla="*/ 3859 h 161913"/>
                <a:gd name="connsiteX422" fmla="*/ 20926 w 377368"/>
                <a:gd name="connsiteY422" fmla="*/ 3409 h 161913"/>
                <a:gd name="connsiteX423" fmla="*/ 22339 w 377368"/>
                <a:gd name="connsiteY423" fmla="*/ 3451 h 161913"/>
                <a:gd name="connsiteX424" fmla="*/ 25018 w 377368"/>
                <a:gd name="connsiteY424" fmla="*/ 3137 h 161913"/>
                <a:gd name="connsiteX425" fmla="*/ 26886 w 377368"/>
                <a:gd name="connsiteY425" fmla="*/ 2694 h 161913"/>
                <a:gd name="connsiteX426" fmla="*/ 28741 w 377368"/>
                <a:gd name="connsiteY426" fmla="*/ 1764 h 161913"/>
                <a:gd name="connsiteX427" fmla="*/ 29691 w 377368"/>
                <a:gd name="connsiteY427" fmla="*/ 920 h 161913"/>
                <a:gd name="connsiteX428" fmla="*/ 33708 w 377368"/>
                <a:gd name="connsiteY428" fmla="*/ 430 h 16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Lst>
              <a:rect l="l" t="t" r="r" b="b"/>
              <a:pathLst>
                <a:path w="377368" h="161913">
                  <a:moveTo>
                    <a:pt x="5515" y="48881"/>
                  </a:moveTo>
                  <a:lnTo>
                    <a:pt x="6812" y="50453"/>
                  </a:lnTo>
                  <a:lnTo>
                    <a:pt x="6657" y="51536"/>
                  </a:lnTo>
                  <a:lnTo>
                    <a:pt x="1576" y="52342"/>
                  </a:lnTo>
                  <a:lnTo>
                    <a:pt x="0" y="51547"/>
                  </a:lnTo>
                  <a:lnTo>
                    <a:pt x="1591" y="49970"/>
                  </a:lnTo>
                  <a:lnTo>
                    <a:pt x="4552" y="48993"/>
                  </a:lnTo>
                  <a:close/>
                  <a:moveTo>
                    <a:pt x="206472" y="797"/>
                  </a:moveTo>
                  <a:lnTo>
                    <a:pt x="209754" y="1746"/>
                  </a:lnTo>
                  <a:lnTo>
                    <a:pt x="209447" y="2756"/>
                  </a:lnTo>
                  <a:lnTo>
                    <a:pt x="208851" y="3619"/>
                  </a:lnTo>
                  <a:lnTo>
                    <a:pt x="209028" y="5367"/>
                  </a:lnTo>
                  <a:lnTo>
                    <a:pt x="210954" y="7931"/>
                  </a:lnTo>
                  <a:lnTo>
                    <a:pt x="212913" y="9676"/>
                  </a:lnTo>
                  <a:lnTo>
                    <a:pt x="218668" y="12177"/>
                  </a:lnTo>
                  <a:lnTo>
                    <a:pt x="226668" y="10067"/>
                  </a:lnTo>
                  <a:lnTo>
                    <a:pt x="227957" y="10303"/>
                  </a:lnTo>
                  <a:lnTo>
                    <a:pt x="229586" y="10892"/>
                  </a:lnTo>
                  <a:lnTo>
                    <a:pt x="232403" y="17660"/>
                  </a:lnTo>
                  <a:lnTo>
                    <a:pt x="234597" y="20048"/>
                  </a:lnTo>
                  <a:lnTo>
                    <a:pt x="237404" y="21671"/>
                  </a:lnTo>
                  <a:lnTo>
                    <a:pt x="239711" y="21990"/>
                  </a:lnTo>
                  <a:lnTo>
                    <a:pt x="241423" y="20297"/>
                  </a:lnTo>
                  <a:lnTo>
                    <a:pt x="242749" y="19615"/>
                  </a:lnTo>
                  <a:lnTo>
                    <a:pt x="245638" y="19326"/>
                  </a:lnTo>
                  <a:lnTo>
                    <a:pt x="250376" y="21650"/>
                  </a:lnTo>
                  <a:lnTo>
                    <a:pt x="252017" y="24048"/>
                  </a:lnTo>
                  <a:lnTo>
                    <a:pt x="260083" y="25900"/>
                  </a:lnTo>
                  <a:lnTo>
                    <a:pt x="267483" y="26827"/>
                  </a:lnTo>
                  <a:lnTo>
                    <a:pt x="270676" y="28854"/>
                  </a:lnTo>
                  <a:lnTo>
                    <a:pt x="281091" y="30889"/>
                  </a:lnTo>
                  <a:lnTo>
                    <a:pt x="284980" y="30573"/>
                  </a:lnTo>
                  <a:lnTo>
                    <a:pt x="291508" y="28438"/>
                  </a:lnTo>
                  <a:lnTo>
                    <a:pt x="304205" y="26102"/>
                  </a:lnTo>
                  <a:lnTo>
                    <a:pt x="312642" y="29363"/>
                  </a:lnTo>
                  <a:lnTo>
                    <a:pt x="314924" y="29786"/>
                  </a:lnTo>
                  <a:lnTo>
                    <a:pt x="316894" y="29505"/>
                  </a:lnTo>
                  <a:lnTo>
                    <a:pt x="319729" y="30402"/>
                  </a:lnTo>
                  <a:lnTo>
                    <a:pt x="322754" y="29920"/>
                  </a:lnTo>
                  <a:lnTo>
                    <a:pt x="332091" y="26076"/>
                  </a:lnTo>
                  <a:lnTo>
                    <a:pt x="335011" y="23895"/>
                  </a:lnTo>
                  <a:lnTo>
                    <a:pt x="338105" y="23331"/>
                  </a:lnTo>
                  <a:lnTo>
                    <a:pt x="340850" y="22024"/>
                  </a:lnTo>
                  <a:lnTo>
                    <a:pt x="348164" y="17738"/>
                  </a:lnTo>
                  <a:lnTo>
                    <a:pt x="350280" y="15259"/>
                  </a:lnTo>
                  <a:lnTo>
                    <a:pt x="351751" y="15792"/>
                  </a:lnTo>
                  <a:lnTo>
                    <a:pt x="354519" y="16471"/>
                  </a:lnTo>
                  <a:lnTo>
                    <a:pt x="356236" y="17292"/>
                  </a:lnTo>
                  <a:lnTo>
                    <a:pt x="357212" y="17507"/>
                  </a:lnTo>
                  <a:lnTo>
                    <a:pt x="359473" y="15835"/>
                  </a:lnTo>
                  <a:lnTo>
                    <a:pt x="362833" y="15877"/>
                  </a:lnTo>
                  <a:lnTo>
                    <a:pt x="365782" y="16071"/>
                  </a:lnTo>
                  <a:lnTo>
                    <a:pt x="367305" y="16381"/>
                  </a:lnTo>
                  <a:lnTo>
                    <a:pt x="369170" y="16936"/>
                  </a:lnTo>
                  <a:lnTo>
                    <a:pt x="371427" y="17310"/>
                  </a:lnTo>
                  <a:lnTo>
                    <a:pt x="372345" y="16511"/>
                  </a:lnTo>
                  <a:lnTo>
                    <a:pt x="373660" y="14154"/>
                  </a:lnTo>
                  <a:lnTo>
                    <a:pt x="374169" y="13852"/>
                  </a:lnTo>
                  <a:lnTo>
                    <a:pt x="374532" y="13637"/>
                  </a:lnTo>
                  <a:lnTo>
                    <a:pt x="376203" y="13454"/>
                  </a:lnTo>
                  <a:lnTo>
                    <a:pt x="377368" y="13587"/>
                  </a:lnTo>
                  <a:lnTo>
                    <a:pt x="377368" y="123278"/>
                  </a:lnTo>
                  <a:lnTo>
                    <a:pt x="375165" y="125986"/>
                  </a:lnTo>
                  <a:lnTo>
                    <a:pt x="371194" y="129056"/>
                  </a:lnTo>
                  <a:lnTo>
                    <a:pt x="369052" y="129568"/>
                  </a:lnTo>
                  <a:lnTo>
                    <a:pt x="368032" y="126487"/>
                  </a:lnTo>
                  <a:lnTo>
                    <a:pt x="367052" y="125290"/>
                  </a:lnTo>
                  <a:lnTo>
                    <a:pt x="366588" y="125146"/>
                  </a:lnTo>
                  <a:lnTo>
                    <a:pt x="365597" y="124762"/>
                  </a:lnTo>
                  <a:lnTo>
                    <a:pt x="364826" y="124983"/>
                  </a:lnTo>
                  <a:lnTo>
                    <a:pt x="362437" y="127087"/>
                  </a:lnTo>
                  <a:lnTo>
                    <a:pt x="358611" y="128351"/>
                  </a:lnTo>
                  <a:lnTo>
                    <a:pt x="355443" y="129122"/>
                  </a:lnTo>
                  <a:lnTo>
                    <a:pt x="350401" y="130063"/>
                  </a:lnTo>
                  <a:lnTo>
                    <a:pt x="346510" y="130530"/>
                  </a:lnTo>
                  <a:lnTo>
                    <a:pt x="344853" y="130567"/>
                  </a:lnTo>
                  <a:lnTo>
                    <a:pt x="341260" y="130146"/>
                  </a:lnTo>
                  <a:lnTo>
                    <a:pt x="338093" y="129554"/>
                  </a:lnTo>
                  <a:lnTo>
                    <a:pt x="334925" y="129580"/>
                  </a:lnTo>
                  <a:lnTo>
                    <a:pt x="332493" y="129845"/>
                  </a:lnTo>
                  <a:lnTo>
                    <a:pt x="326848" y="132105"/>
                  </a:lnTo>
                  <a:lnTo>
                    <a:pt x="317252" y="136751"/>
                  </a:lnTo>
                  <a:lnTo>
                    <a:pt x="309958" y="138971"/>
                  </a:lnTo>
                  <a:lnTo>
                    <a:pt x="305866" y="139894"/>
                  </a:lnTo>
                  <a:lnTo>
                    <a:pt x="302663" y="140418"/>
                  </a:lnTo>
                  <a:lnTo>
                    <a:pt x="297174" y="140444"/>
                  </a:lnTo>
                  <a:lnTo>
                    <a:pt x="292708" y="140086"/>
                  </a:lnTo>
                  <a:lnTo>
                    <a:pt x="289616" y="140126"/>
                  </a:lnTo>
                  <a:lnTo>
                    <a:pt x="287898" y="139568"/>
                  </a:lnTo>
                  <a:lnTo>
                    <a:pt x="285447" y="137690"/>
                  </a:lnTo>
                  <a:lnTo>
                    <a:pt x="282477" y="135832"/>
                  </a:lnTo>
                  <a:lnTo>
                    <a:pt x="281156" y="135400"/>
                  </a:lnTo>
                  <a:lnTo>
                    <a:pt x="279428" y="135042"/>
                  </a:lnTo>
                  <a:lnTo>
                    <a:pt x="276904" y="134833"/>
                  </a:lnTo>
                  <a:lnTo>
                    <a:pt x="270601" y="137550"/>
                  </a:lnTo>
                  <a:lnTo>
                    <a:pt x="268640" y="138287"/>
                  </a:lnTo>
                  <a:lnTo>
                    <a:pt x="266481" y="138843"/>
                  </a:lnTo>
                  <a:lnTo>
                    <a:pt x="262130" y="140501"/>
                  </a:lnTo>
                  <a:lnTo>
                    <a:pt x="260201" y="141389"/>
                  </a:lnTo>
                  <a:lnTo>
                    <a:pt x="257785" y="141306"/>
                  </a:lnTo>
                  <a:lnTo>
                    <a:pt x="254697" y="141070"/>
                  </a:lnTo>
                  <a:lnTo>
                    <a:pt x="252017" y="141153"/>
                  </a:lnTo>
                  <a:lnTo>
                    <a:pt x="250229" y="139891"/>
                  </a:lnTo>
                  <a:lnTo>
                    <a:pt x="249266" y="138469"/>
                  </a:lnTo>
                  <a:lnTo>
                    <a:pt x="245613" y="137599"/>
                  </a:lnTo>
                  <a:lnTo>
                    <a:pt x="243004" y="137349"/>
                  </a:lnTo>
                  <a:lnTo>
                    <a:pt x="242337" y="137980"/>
                  </a:lnTo>
                  <a:lnTo>
                    <a:pt x="241639" y="139917"/>
                  </a:lnTo>
                  <a:lnTo>
                    <a:pt x="240529" y="144861"/>
                  </a:lnTo>
                  <a:lnTo>
                    <a:pt x="240326" y="146100"/>
                  </a:lnTo>
                  <a:lnTo>
                    <a:pt x="242624" y="151006"/>
                  </a:lnTo>
                  <a:lnTo>
                    <a:pt x="242520" y="151753"/>
                  </a:lnTo>
                  <a:lnTo>
                    <a:pt x="240877" y="152007"/>
                  </a:lnTo>
                  <a:lnTo>
                    <a:pt x="238990" y="152089"/>
                  </a:lnTo>
                  <a:lnTo>
                    <a:pt x="237761" y="152525"/>
                  </a:lnTo>
                  <a:lnTo>
                    <a:pt x="236742" y="153339"/>
                  </a:lnTo>
                  <a:lnTo>
                    <a:pt x="236126" y="157574"/>
                  </a:lnTo>
                  <a:lnTo>
                    <a:pt x="233943" y="158351"/>
                  </a:lnTo>
                  <a:lnTo>
                    <a:pt x="232907" y="159238"/>
                  </a:lnTo>
                  <a:lnTo>
                    <a:pt x="231838" y="161852"/>
                  </a:lnTo>
                  <a:lnTo>
                    <a:pt x="231257" y="161913"/>
                  </a:lnTo>
                  <a:lnTo>
                    <a:pt x="227724" y="159932"/>
                  </a:lnTo>
                  <a:lnTo>
                    <a:pt x="226068" y="159768"/>
                  </a:lnTo>
                  <a:lnTo>
                    <a:pt x="227489" y="157709"/>
                  </a:lnTo>
                  <a:lnTo>
                    <a:pt x="225945" y="153646"/>
                  </a:lnTo>
                  <a:lnTo>
                    <a:pt x="224260" y="149834"/>
                  </a:lnTo>
                  <a:lnTo>
                    <a:pt x="225850" y="147393"/>
                  </a:lnTo>
                  <a:lnTo>
                    <a:pt x="229143" y="144446"/>
                  </a:lnTo>
                  <a:lnTo>
                    <a:pt x="232609" y="140992"/>
                  </a:lnTo>
                  <a:lnTo>
                    <a:pt x="232602" y="138859"/>
                  </a:lnTo>
                  <a:lnTo>
                    <a:pt x="232423" y="137230"/>
                  </a:lnTo>
                  <a:lnTo>
                    <a:pt x="231430" y="136103"/>
                  </a:lnTo>
                  <a:lnTo>
                    <a:pt x="229523" y="134604"/>
                  </a:lnTo>
                  <a:lnTo>
                    <a:pt x="226331" y="136204"/>
                  </a:lnTo>
                  <a:lnTo>
                    <a:pt x="224053" y="137970"/>
                  </a:lnTo>
                  <a:lnTo>
                    <a:pt x="222565" y="138328"/>
                  </a:lnTo>
                  <a:lnTo>
                    <a:pt x="220948" y="139334"/>
                  </a:lnTo>
                  <a:lnTo>
                    <a:pt x="220162" y="141149"/>
                  </a:lnTo>
                  <a:lnTo>
                    <a:pt x="218212" y="142563"/>
                  </a:lnTo>
                  <a:lnTo>
                    <a:pt x="215023" y="143116"/>
                  </a:lnTo>
                  <a:lnTo>
                    <a:pt x="210224" y="141604"/>
                  </a:lnTo>
                  <a:lnTo>
                    <a:pt x="205072" y="139300"/>
                  </a:lnTo>
                  <a:lnTo>
                    <a:pt x="202155" y="137432"/>
                  </a:lnTo>
                  <a:lnTo>
                    <a:pt x="199775" y="136987"/>
                  </a:lnTo>
                  <a:lnTo>
                    <a:pt x="197514" y="137808"/>
                  </a:lnTo>
                  <a:lnTo>
                    <a:pt x="190842" y="142381"/>
                  </a:lnTo>
                  <a:lnTo>
                    <a:pt x="184735" y="149053"/>
                  </a:lnTo>
                  <a:lnTo>
                    <a:pt x="183219" y="150205"/>
                  </a:lnTo>
                  <a:lnTo>
                    <a:pt x="177466" y="153067"/>
                  </a:lnTo>
                  <a:lnTo>
                    <a:pt x="173664" y="154027"/>
                  </a:lnTo>
                  <a:lnTo>
                    <a:pt x="171874" y="153804"/>
                  </a:lnTo>
                  <a:lnTo>
                    <a:pt x="164305" y="155063"/>
                  </a:lnTo>
                  <a:lnTo>
                    <a:pt x="160546" y="155247"/>
                  </a:lnTo>
                  <a:lnTo>
                    <a:pt x="157568" y="156757"/>
                  </a:lnTo>
                  <a:lnTo>
                    <a:pt x="151796" y="155120"/>
                  </a:lnTo>
                  <a:lnTo>
                    <a:pt x="148345" y="153025"/>
                  </a:lnTo>
                  <a:lnTo>
                    <a:pt x="146268" y="150896"/>
                  </a:lnTo>
                  <a:lnTo>
                    <a:pt x="142880" y="146310"/>
                  </a:lnTo>
                  <a:lnTo>
                    <a:pt x="140478" y="144127"/>
                  </a:lnTo>
                  <a:lnTo>
                    <a:pt x="135082" y="142163"/>
                  </a:lnTo>
                  <a:lnTo>
                    <a:pt x="125676" y="137386"/>
                  </a:lnTo>
                  <a:lnTo>
                    <a:pt x="123201" y="136862"/>
                  </a:lnTo>
                  <a:lnTo>
                    <a:pt x="116781" y="136177"/>
                  </a:lnTo>
                  <a:lnTo>
                    <a:pt x="110010" y="135745"/>
                  </a:lnTo>
                  <a:lnTo>
                    <a:pt x="108638" y="137485"/>
                  </a:lnTo>
                  <a:lnTo>
                    <a:pt x="108118" y="144367"/>
                  </a:lnTo>
                  <a:lnTo>
                    <a:pt x="106958" y="146260"/>
                  </a:lnTo>
                  <a:lnTo>
                    <a:pt x="106462" y="149821"/>
                  </a:lnTo>
                  <a:lnTo>
                    <a:pt x="105632" y="150846"/>
                  </a:lnTo>
                  <a:lnTo>
                    <a:pt x="104332" y="151519"/>
                  </a:lnTo>
                  <a:lnTo>
                    <a:pt x="102300" y="150395"/>
                  </a:lnTo>
                  <a:lnTo>
                    <a:pt x="100890" y="149899"/>
                  </a:lnTo>
                  <a:lnTo>
                    <a:pt x="97608" y="151364"/>
                  </a:lnTo>
                  <a:lnTo>
                    <a:pt x="91108" y="153419"/>
                  </a:lnTo>
                  <a:lnTo>
                    <a:pt x="88893" y="153706"/>
                  </a:lnTo>
                  <a:lnTo>
                    <a:pt x="81359" y="151125"/>
                  </a:lnTo>
                  <a:lnTo>
                    <a:pt x="78601" y="149465"/>
                  </a:lnTo>
                  <a:lnTo>
                    <a:pt x="76824" y="147624"/>
                  </a:lnTo>
                  <a:lnTo>
                    <a:pt x="76224" y="144512"/>
                  </a:lnTo>
                  <a:lnTo>
                    <a:pt x="75105" y="142739"/>
                  </a:lnTo>
                  <a:lnTo>
                    <a:pt x="74941" y="141521"/>
                  </a:lnTo>
                  <a:lnTo>
                    <a:pt x="74503" y="140117"/>
                  </a:lnTo>
                  <a:lnTo>
                    <a:pt x="72985" y="139562"/>
                  </a:lnTo>
                  <a:lnTo>
                    <a:pt x="71354" y="140621"/>
                  </a:lnTo>
                  <a:lnTo>
                    <a:pt x="69607" y="140578"/>
                  </a:lnTo>
                  <a:lnTo>
                    <a:pt x="67413" y="139929"/>
                  </a:lnTo>
                  <a:lnTo>
                    <a:pt x="62237" y="137317"/>
                  </a:lnTo>
                  <a:lnTo>
                    <a:pt x="58260" y="137110"/>
                  </a:lnTo>
                  <a:lnTo>
                    <a:pt x="55869" y="140298"/>
                  </a:lnTo>
                  <a:lnTo>
                    <a:pt x="54010" y="141311"/>
                  </a:lnTo>
                  <a:lnTo>
                    <a:pt x="51974" y="141614"/>
                  </a:lnTo>
                  <a:lnTo>
                    <a:pt x="51857" y="140707"/>
                  </a:lnTo>
                  <a:lnTo>
                    <a:pt x="53401" y="138645"/>
                  </a:lnTo>
                  <a:lnTo>
                    <a:pt x="47206" y="139026"/>
                  </a:lnTo>
                  <a:lnTo>
                    <a:pt x="43935" y="140596"/>
                  </a:lnTo>
                  <a:lnTo>
                    <a:pt x="41382" y="140352"/>
                  </a:lnTo>
                  <a:lnTo>
                    <a:pt x="39469" y="139643"/>
                  </a:lnTo>
                  <a:lnTo>
                    <a:pt x="39756" y="138775"/>
                  </a:lnTo>
                  <a:lnTo>
                    <a:pt x="41697" y="138457"/>
                  </a:lnTo>
                  <a:lnTo>
                    <a:pt x="43381" y="137752"/>
                  </a:lnTo>
                  <a:lnTo>
                    <a:pt x="50095" y="137178"/>
                  </a:lnTo>
                  <a:lnTo>
                    <a:pt x="51663" y="136601"/>
                  </a:lnTo>
                  <a:lnTo>
                    <a:pt x="53380" y="134358"/>
                  </a:lnTo>
                  <a:lnTo>
                    <a:pt x="56506" y="132423"/>
                  </a:lnTo>
                  <a:lnTo>
                    <a:pt x="56903" y="131592"/>
                  </a:lnTo>
                  <a:lnTo>
                    <a:pt x="54500" y="131581"/>
                  </a:lnTo>
                  <a:lnTo>
                    <a:pt x="44211" y="132143"/>
                  </a:lnTo>
                  <a:lnTo>
                    <a:pt x="37147" y="131833"/>
                  </a:lnTo>
                  <a:lnTo>
                    <a:pt x="36310" y="132792"/>
                  </a:lnTo>
                  <a:lnTo>
                    <a:pt x="35247" y="132927"/>
                  </a:lnTo>
                  <a:lnTo>
                    <a:pt x="34954" y="130317"/>
                  </a:lnTo>
                  <a:lnTo>
                    <a:pt x="36070" y="129104"/>
                  </a:lnTo>
                  <a:lnTo>
                    <a:pt x="37573" y="129216"/>
                  </a:lnTo>
                  <a:lnTo>
                    <a:pt x="41263" y="128161"/>
                  </a:lnTo>
                  <a:lnTo>
                    <a:pt x="40933" y="125989"/>
                  </a:lnTo>
                  <a:lnTo>
                    <a:pt x="38290" y="124521"/>
                  </a:lnTo>
                  <a:lnTo>
                    <a:pt x="37752" y="123655"/>
                  </a:lnTo>
                  <a:lnTo>
                    <a:pt x="35835" y="123452"/>
                  </a:lnTo>
                  <a:lnTo>
                    <a:pt x="34280" y="122419"/>
                  </a:lnTo>
                  <a:lnTo>
                    <a:pt x="33941" y="119810"/>
                  </a:lnTo>
                  <a:lnTo>
                    <a:pt x="32703" y="116943"/>
                  </a:lnTo>
                  <a:lnTo>
                    <a:pt x="30935" y="115556"/>
                  </a:lnTo>
                  <a:lnTo>
                    <a:pt x="31153" y="114794"/>
                  </a:lnTo>
                  <a:lnTo>
                    <a:pt x="34394" y="113829"/>
                  </a:lnTo>
                  <a:lnTo>
                    <a:pt x="35066" y="109813"/>
                  </a:lnTo>
                  <a:lnTo>
                    <a:pt x="34571" y="107345"/>
                  </a:lnTo>
                  <a:lnTo>
                    <a:pt x="32941" y="107135"/>
                  </a:lnTo>
                  <a:lnTo>
                    <a:pt x="28191" y="105185"/>
                  </a:lnTo>
                  <a:lnTo>
                    <a:pt x="26748" y="105393"/>
                  </a:lnTo>
                  <a:lnTo>
                    <a:pt x="25174" y="103250"/>
                  </a:lnTo>
                  <a:lnTo>
                    <a:pt x="22418" y="101709"/>
                  </a:lnTo>
                  <a:lnTo>
                    <a:pt x="21054" y="102273"/>
                  </a:lnTo>
                  <a:lnTo>
                    <a:pt x="20198" y="102969"/>
                  </a:lnTo>
                  <a:lnTo>
                    <a:pt x="18922" y="102635"/>
                  </a:lnTo>
                  <a:lnTo>
                    <a:pt x="16782" y="101298"/>
                  </a:lnTo>
                  <a:lnTo>
                    <a:pt x="14681" y="100575"/>
                  </a:lnTo>
                  <a:lnTo>
                    <a:pt x="13748" y="99683"/>
                  </a:lnTo>
                  <a:lnTo>
                    <a:pt x="14919" y="97296"/>
                  </a:lnTo>
                  <a:lnTo>
                    <a:pt x="16528" y="97353"/>
                  </a:lnTo>
                  <a:lnTo>
                    <a:pt x="16821" y="95481"/>
                  </a:lnTo>
                  <a:lnTo>
                    <a:pt x="15551" y="92359"/>
                  </a:lnTo>
                  <a:lnTo>
                    <a:pt x="15675" y="90755"/>
                  </a:lnTo>
                  <a:lnTo>
                    <a:pt x="17078" y="90316"/>
                  </a:lnTo>
                  <a:lnTo>
                    <a:pt x="18676" y="90618"/>
                  </a:lnTo>
                  <a:lnTo>
                    <a:pt x="20289" y="92485"/>
                  </a:lnTo>
                  <a:lnTo>
                    <a:pt x="20816" y="94290"/>
                  </a:lnTo>
                  <a:lnTo>
                    <a:pt x="20477" y="96048"/>
                  </a:lnTo>
                  <a:lnTo>
                    <a:pt x="21501" y="97749"/>
                  </a:lnTo>
                  <a:lnTo>
                    <a:pt x="22228" y="98179"/>
                  </a:lnTo>
                  <a:lnTo>
                    <a:pt x="22718" y="96388"/>
                  </a:lnTo>
                  <a:lnTo>
                    <a:pt x="23403" y="96048"/>
                  </a:lnTo>
                  <a:lnTo>
                    <a:pt x="24345" y="96830"/>
                  </a:lnTo>
                  <a:lnTo>
                    <a:pt x="26368" y="97222"/>
                  </a:lnTo>
                  <a:lnTo>
                    <a:pt x="31613" y="96122"/>
                  </a:lnTo>
                  <a:lnTo>
                    <a:pt x="32621" y="95190"/>
                  </a:lnTo>
                  <a:lnTo>
                    <a:pt x="28778" y="95295"/>
                  </a:lnTo>
                  <a:lnTo>
                    <a:pt x="27372" y="94423"/>
                  </a:lnTo>
                  <a:lnTo>
                    <a:pt x="25845" y="92471"/>
                  </a:lnTo>
                  <a:lnTo>
                    <a:pt x="24906" y="90697"/>
                  </a:lnTo>
                  <a:lnTo>
                    <a:pt x="24738" y="89826"/>
                  </a:lnTo>
                  <a:lnTo>
                    <a:pt x="24206" y="88552"/>
                  </a:lnTo>
                  <a:lnTo>
                    <a:pt x="24792" y="87870"/>
                  </a:lnTo>
                  <a:lnTo>
                    <a:pt x="27424" y="86846"/>
                  </a:lnTo>
                  <a:lnTo>
                    <a:pt x="29734" y="83978"/>
                  </a:lnTo>
                  <a:lnTo>
                    <a:pt x="28771" y="83147"/>
                  </a:lnTo>
                  <a:lnTo>
                    <a:pt x="27670" y="82754"/>
                  </a:lnTo>
                  <a:lnTo>
                    <a:pt x="26474" y="83046"/>
                  </a:lnTo>
                  <a:lnTo>
                    <a:pt x="25340" y="82063"/>
                  </a:lnTo>
                  <a:lnTo>
                    <a:pt x="25193" y="80695"/>
                  </a:lnTo>
                  <a:lnTo>
                    <a:pt x="26100" y="79588"/>
                  </a:lnTo>
                  <a:lnTo>
                    <a:pt x="26195" y="78064"/>
                  </a:lnTo>
                  <a:lnTo>
                    <a:pt x="23226" y="74309"/>
                  </a:lnTo>
                  <a:lnTo>
                    <a:pt x="22397" y="73491"/>
                  </a:lnTo>
                  <a:lnTo>
                    <a:pt x="23036" y="72262"/>
                  </a:lnTo>
                  <a:lnTo>
                    <a:pt x="25303" y="70203"/>
                  </a:lnTo>
                  <a:lnTo>
                    <a:pt x="27463" y="67652"/>
                  </a:lnTo>
                  <a:lnTo>
                    <a:pt x="27203" y="66812"/>
                  </a:lnTo>
                  <a:lnTo>
                    <a:pt x="25608" y="66469"/>
                  </a:lnTo>
                  <a:lnTo>
                    <a:pt x="18024" y="67564"/>
                  </a:lnTo>
                  <a:lnTo>
                    <a:pt x="15076" y="68515"/>
                  </a:lnTo>
                  <a:lnTo>
                    <a:pt x="9820" y="68948"/>
                  </a:lnTo>
                  <a:lnTo>
                    <a:pt x="9442" y="67562"/>
                  </a:lnTo>
                  <a:lnTo>
                    <a:pt x="9561" y="66311"/>
                  </a:lnTo>
                  <a:lnTo>
                    <a:pt x="10740" y="64032"/>
                  </a:lnTo>
                  <a:lnTo>
                    <a:pt x="10632" y="58406"/>
                  </a:lnTo>
                  <a:lnTo>
                    <a:pt x="11330" y="55351"/>
                  </a:lnTo>
                  <a:lnTo>
                    <a:pt x="14250" y="54441"/>
                  </a:lnTo>
                  <a:lnTo>
                    <a:pt x="17832" y="49945"/>
                  </a:lnTo>
                  <a:lnTo>
                    <a:pt x="23640" y="44639"/>
                  </a:lnTo>
                  <a:lnTo>
                    <a:pt x="29700" y="44741"/>
                  </a:lnTo>
                  <a:lnTo>
                    <a:pt x="32122" y="43275"/>
                  </a:lnTo>
                  <a:lnTo>
                    <a:pt x="35725" y="43189"/>
                  </a:lnTo>
                  <a:lnTo>
                    <a:pt x="36379" y="44255"/>
                  </a:lnTo>
                  <a:lnTo>
                    <a:pt x="36787" y="45275"/>
                  </a:lnTo>
                  <a:lnTo>
                    <a:pt x="39948" y="46739"/>
                  </a:lnTo>
                  <a:lnTo>
                    <a:pt x="45530" y="46507"/>
                  </a:lnTo>
                  <a:lnTo>
                    <a:pt x="46886" y="45930"/>
                  </a:lnTo>
                  <a:lnTo>
                    <a:pt x="48195" y="45123"/>
                  </a:lnTo>
                  <a:lnTo>
                    <a:pt x="45614" y="42512"/>
                  </a:lnTo>
                  <a:lnTo>
                    <a:pt x="46439" y="41775"/>
                  </a:lnTo>
                  <a:lnTo>
                    <a:pt x="48778" y="41688"/>
                  </a:lnTo>
                  <a:lnTo>
                    <a:pt x="51313" y="42303"/>
                  </a:lnTo>
                  <a:lnTo>
                    <a:pt x="51430" y="42901"/>
                  </a:lnTo>
                  <a:lnTo>
                    <a:pt x="50756" y="43721"/>
                  </a:lnTo>
                  <a:lnTo>
                    <a:pt x="49972" y="45157"/>
                  </a:lnTo>
                  <a:lnTo>
                    <a:pt x="50717" y="45433"/>
                  </a:lnTo>
                  <a:lnTo>
                    <a:pt x="57936" y="44566"/>
                  </a:lnTo>
                  <a:lnTo>
                    <a:pt x="65481" y="45261"/>
                  </a:lnTo>
                  <a:lnTo>
                    <a:pt x="67882" y="44884"/>
                  </a:lnTo>
                  <a:lnTo>
                    <a:pt x="73814" y="44913"/>
                  </a:lnTo>
                  <a:lnTo>
                    <a:pt x="74876" y="44012"/>
                  </a:lnTo>
                  <a:lnTo>
                    <a:pt x="73082" y="42881"/>
                  </a:lnTo>
                  <a:lnTo>
                    <a:pt x="71326" y="42488"/>
                  </a:lnTo>
                  <a:lnTo>
                    <a:pt x="70145" y="41936"/>
                  </a:lnTo>
                  <a:lnTo>
                    <a:pt x="68966" y="41136"/>
                  </a:lnTo>
                  <a:lnTo>
                    <a:pt x="72728" y="38606"/>
                  </a:lnTo>
                  <a:lnTo>
                    <a:pt x="74852" y="38119"/>
                  </a:lnTo>
                  <a:lnTo>
                    <a:pt x="84881" y="36564"/>
                  </a:lnTo>
                  <a:lnTo>
                    <a:pt x="92339" y="35785"/>
                  </a:lnTo>
                  <a:lnTo>
                    <a:pt x="92434" y="35207"/>
                  </a:lnTo>
                  <a:lnTo>
                    <a:pt x="91359" y="35206"/>
                  </a:lnTo>
                  <a:lnTo>
                    <a:pt x="81721" y="33916"/>
                  </a:lnTo>
                  <a:lnTo>
                    <a:pt x="79400" y="32917"/>
                  </a:lnTo>
                  <a:lnTo>
                    <a:pt x="76174" y="30538"/>
                  </a:lnTo>
                  <a:lnTo>
                    <a:pt x="75474" y="29865"/>
                  </a:lnTo>
                  <a:lnTo>
                    <a:pt x="74662" y="28704"/>
                  </a:lnTo>
                  <a:lnTo>
                    <a:pt x="75146" y="26228"/>
                  </a:lnTo>
                  <a:lnTo>
                    <a:pt x="75742" y="24237"/>
                  </a:lnTo>
                  <a:lnTo>
                    <a:pt x="76932" y="23083"/>
                  </a:lnTo>
                  <a:lnTo>
                    <a:pt x="80782" y="22907"/>
                  </a:lnTo>
                  <a:lnTo>
                    <a:pt x="93985" y="24933"/>
                  </a:lnTo>
                  <a:lnTo>
                    <a:pt x="103395" y="23719"/>
                  </a:lnTo>
                  <a:lnTo>
                    <a:pt x="113680" y="26670"/>
                  </a:lnTo>
                  <a:lnTo>
                    <a:pt x="123516" y="26071"/>
                  </a:lnTo>
                  <a:lnTo>
                    <a:pt x="125546" y="24746"/>
                  </a:lnTo>
                  <a:lnTo>
                    <a:pt x="128008" y="20473"/>
                  </a:lnTo>
                  <a:lnTo>
                    <a:pt x="141904" y="13362"/>
                  </a:lnTo>
                  <a:lnTo>
                    <a:pt x="146769" y="9647"/>
                  </a:lnTo>
                  <a:lnTo>
                    <a:pt x="151981" y="7613"/>
                  </a:lnTo>
                  <a:lnTo>
                    <a:pt x="160925" y="5350"/>
                  </a:lnTo>
                  <a:lnTo>
                    <a:pt x="168401" y="2356"/>
                  </a:lnTo>
                  <a:lnTo>
                    <a:pt x="170537" y="2011"/>
                  </a:lnTo>
                  <a:lnTo>
                    <a:pt x="188484" y="3441"/>
                  </a:lnTo>
                  <a:lnTo>
                    <a:pt x="200812" y="3623"/>
                  </a:lnTo>
                  <a:close/>
                  <a:moveTo>
                    <a:pt x="34835" y="0"/>
                  </a:moveTo>
                  <a:lnTo>
                    <a:pt x="35953" y="365"/>
                  </a:lnTo>
                  <a:lnTo>
                    <a:pt x="37456" y="1812"/>
                  </a:lnTo>
                  <a:lnTo>
                    <a:pt x="39931" y="3887"/>
                  </a:lnTo>
                  <a:lnTo>
                    <a:pt x="41259" y="4579"/>
                  </a:lnTo>
                  <a:lnTo>
                    <a:pt x="42254" y="4258"/>
                  </a:lnTo>
                  <a:lnTo>
                    <a:pt x="44051" y="3504"/>
                  </a:lnTo>
                  <a:lnTo>
                    <a:pt x="45770" y="3498"/>
                  </a:lnTo>
                  <a:lnTo>
                    <a:pt x="47158" y="3631"/>
                  </a:lnTo>
                  <a:lnTo>
                    <a:pt x="47828" y="2974"/>
                  </a:lnTo>
                  <a:lnTo>
                    <a:pt x="48873" y="2833"/>
                  </a:lnTo>
                  <a:lnTo>
                    <a:pt x="51864" y="3299"/>
                  </a:lnTo>
                  <a:lnTo>
                    <a:pt x="51264" y="6327"/>
                  </a:lnTo>
                  <a:lnTo>
                    <a:pt x="52656" y="9659"/>
                  </a:lnTo>
                  <a:lnTo>
                    <a:pt x="55919" y="14280"/>
                  </a:lnTo>
                  <a:lnTo>
                    <a:pt x="59203" y="16609"/>
                  </a:lnTo>
                  <a:lnTo>
                    <a:pt x="72479" y="22362"/>
                  </a:lnTo>
                  <a:lnTo>
                    <a:pt x="74922" y="22853"/>
                  </a:lnTo>
                  <a:lnTo>
                    <a:pt x="74367" y="25206"/>
                  </a:lnTo>
                  <a:lnTo>
                    <a:pt x="73568" y="27295"/>
                  </a:lnTo>
                  <a:lnTo>
                    <a:pt x="72689" y="28688"/>
                  </a:lnTo>
                  <a:lnTo>
                    <a:pt x="68800" y="29583"/>
                  </a:lnTo>
                  <a:lnTo>
                    <a:pt x="58065" y="27022"/>
                  </a:lnTo>
                  <a:lnTo>
                    <a:pt x="55351" y="26780"/>
                  </a:lnTo>
                  <a:lnTo>
                    <a:pt x="53436" y="27290"/>
                  </a:lnTo>
                  <a:lnTo>
                    <a:pt x="49890" y="29151"/>
                  </a:lnTo>
                  <a:lnTo>
                    <a:pt x="45958" y="28554"/>
                  </a:lnTo>
                  <a:lnTo>
                    <a:pt x="40475" y="29610"/>
                  </a:lnTo>
                  <a:lnTo>
                    <a:pt x="38944" y="33111"/>
                  </a:lnTo>
                  <a:lnTo>
                    <a:pt x="35137" y="37117"/>
                  </a:lnTo>
                  <a:lnTo>
                    <a:pt x="28871" y="40350"/>
                  </a:lnTo>
                  <a:lnTo>
                    <a:pt x="24392" y="42078"/>
                  </a:lnTo>
                  <a:lnTo>
                    <a:pt x="17668" y="48267"/>
                  </a:lnTo>
                  <a:lnTo>
                    <a:pt x="14617" y="51874"/>
                  </a:lnTo>
                  <a:lnTo>
                    <a:pt x="13329" y="52573"/>
                  </a:lnTo>
                  <a:lnTo>
                    <a:pt x="11803" y="53126"/>
                  </a:lnTo>
                  <a:lnTo>
                    <a:pt x="12317" y="51396"/>
                  </a:lnTo>
                  <a:lnTo>
                    <a:pt x="13072" y="49811"/>
                  </a:lnTo>
                  <a:lnTo>
                    <a:pt x="12900" y="48615"/>
                  </a:lnTo>
                  <a:lnTo>
                    <a:pt x="12932" y="46876"/>
                  </a:lnTo>
                  <a:lnTo>
                    <a:pt x="15176" y="44900"/>
                  </a:lnTo>
                  <a:lnTo>
                    <a:pt x="17214" y="43467"/>
                  </a:lnTo>
                  <a:lnTo>
                    <a:pt x="23247" y="40868"/>
                  </a:lnTo>
                  <a:lnTo>
                    <a:pt x="24835" y="38709"/>
                  </a:lnTo>
                  <a:lnTo>
                    <a:pt x="20103" y="38761"/>
                  </a:lnTo>
                  <a:lnTo>
                    <a:pt x="15301" y="39241"/>
                  </a:lnTo>
                  <a:lnTo>
                    <a:pt x="12278" y="38934"/>
                  </a:lnTo>
                  <a:lnTo>
                    <a:pt x="9652" y="39110"/>
                  </a:lnTo>
                  <a:lnTo>
                    <a:pt x="8818" y="37220"/>
                  </a:lnTo>
                  <a:lnTo>
                    <a:pt x="8182" y="36083"/>
                  </a:lnTo>
                  <a:lnTo>
                    <a:pt x="8862" y="35728"/>
                  </a:lnTo>
                  <a:lnTo>
                    <a:pt x="9734" y="35482"/>
                  </a:lnTo>
                  <a:lnTo>
                    <a:pt x="11276" y="33464"/>
                  </a:lnTo>
                  <a:lnTo>
                    <a:pt x="12653" y="31974"/>
                  </a:lnTo>
                  <a:lnTo>
                    <a:pt x="14640" y="30100"/>
                  </a:lnTo>
                  <a:lnTo>
                    <a:pt x="15150" y="28981"/>
                  </a:lnTo>
                  <a:lnTo>
                    <a:pt x="15150" y="27936"/>
                  </a:lnTo>
                  <a:lnTo>
                    <a:pt x="14675" y="27211"/>
                  </a:lnTo>
                  <a:lnTo>
                    <a:pt x="14582" y="26350"/>
                  </a:lnTo>
                  <a:lnTo>
                    <a:pt x="14522" y="25132"/>
                  </a:lnTo>
                  <a:lnTo>
                    <a:pt x="14632" y="22616"/>
                  </a:lnTo>
                  <a:lnTo>
                    <a:pt x="19181" y="19863"/>
                  </a:lnTo>
                  <a:lnTo>
                    <a:pt x="20639" y="19572"/>
                  </a:lnTo>
                  <a:lnTo>
                    <a:pt x="21138" y="18316"/>
                  </a:lnTo>
                  <a:lnTo>
                    <a:pt x="20803" y="15399"/>
                  </a:lnTo>
                  <a:lnTo>
                    <a:pt x="20175" y="13043"/>
                  </a:lnTo>
                  <a:lnTo>
                    <a:pt x="19360" y="12885"/>
                  </a:lnTo>
                  <a:lnTo>
                    <a:pt x="18266" y="12197"/>
                  </a:lnTo>
                  <a:lnTo>
                    <a:pt x="17547" y="11400"/>
                  </a:lnTo>
                  <a:lnTo>
                    <a:pt x="16398" y="10527"/>
                  </a:lnTo>
                  <a:lnTo>
                    <a:pt x="14415" y="9992"/>
                  </a:lnTo>
                  <a:lnTo>
                    <a:pt x="14351" y="9247"/>
                  </a:lnTo>
                  <a:lnTo>
                    <a:pt x="14556" y="8502"/>
                  </a:lnTo>
                  <a:lnTo>
                    <a:pt x="15288" y="7740"/>
                  </a:lnTo>
                  <a:lnTo>
                    <a:pt x="18629" y="7083"/>
                  </a:lnTo>
                  <a:lnTo>
                    <a:pt x="19024" y="6545"/>
                  </a:lnTo>
                  <a:lnTo>
                    <a:pt x="19475" y="5218"/>
                  </a:lnTo>
                  <a:lnTo>
                    <a:pt x="20138" y="3859"/>
                  </a:lnTo>
                  <a:lnTo>
                    <a:pt x="20926" y="3409"/>
                  </a:lnTo>
                  <a:lnTo>
                    <a:pt x="22339" y="3451"/>
                  </a:lnTo>
                  <a:lnTo>
                    <a:pt x="25018" y="3137"/>
                  </a:lnTo>
                  <a:lnTo>
                    <a:pt x="26886" y="2694"/>
                  </a:lnTo>
                  <a:lnTo>
                    <a:pt x="28741" y="1764"/>
                  </a:lnTo>
                  <a:lnTo>
                    <a:pt x="29691" y="920"/>
                  </a:lnTo>
                  <a:lnTo>
                    <a:pt x="33708" y="43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1" name="ee4p_RU_1_15912">
              <a:extLst>
                <a:ext uri="{FF2B5EF4-FFF2-40B4-BE49-F238E27FC236}">
                  <a16:creationId xmlns:a16="http://schemas.microsoft.com/office/drawing/2014/main" id="{CFB02A89-584D-D834-6078-8ABF7C95A2E8}"/>
                </a:ext>
              </a:extLst>
            </p:cNvPr>
            <p:cNvSpPr>
              <a:spLocks noChangeAspect="1"/>
            </p:cNvSpPr>
            <p:nvPr>
              <p:custDataLst>
                <p:tags r:id="rId13"/>
              </p:custDataLst>
            </p:nvPr>
          </p:nvSpPr>
          <p:spPr>
            <a:xfrm>
              <a:off x="5490185" y="1888665"/>
              <a:ext cx="2027577" cy="3397460"/>
            </a:xfrm>
            <a:custGeom>
              <a:avLst/>
              <a:gdLst>
                <a:gd name="connsiteX0" fmla="*/ 28644 w 511468"/>
                <a:gd name="connsiteY0" fmla="*/ 509016 h 857029"/>
                <a:gd name="connsiteX1" fmla="*/ 29927 w 511468"/>
                <a:gd name="connsiteY1" fmla="*/ 509255 h 857029"/>
                <a:gd name="connsiteX2" fmla="*/ 27750 w 511468"/>
                <a:gd name="connsiteY2" fmla="*/ 512193 h 857029"/>
                <a:gd name="connsiteX3" fmla="*/ 21900 w 511468"/>
                <a:gd name="connsiteY3" fmla="*/ 518387 h 857029"/>
                <a:gd name="connsiteX4" fmla="*/ 23733 w 511468"/>
                <a:gd name="connsiteY4" fmla="*/ 519208 h 857029"/>
                <a:gd name="connsiteX5" fmla="*/ 25862 w 511468"/>
                <a:gd name="connsiteY5" fmla="*/ 519473 h 857029"/>
                <a:gd name="connsiteX6" fmla="*/ 28372 w 511468"/>
                <a:gd name="connsiteY6" fmla="*/ 520626 h 857029"/>
                <a:gd name="connsiteX7" fmla="*/ 30769 w 511468"/>
                <a:gd name="connsiteY7" fmla="*/ 520834 h 857029"/>
                <a:gd name="connsiteX8" fmla="*/ 35036 w 511468"/>
                <a:gd name="connsiteY8" fmla="*/ 519836 h 857029"/>
                <a:gd name="connsiteX9" fmla="*/ 35787 w 511468"/>
                <a:gd name="connsiteY9" fmla="*/ 514530 h 857029"/>
                <a:gd name="connsiteX10" fmla="*/ 36072 w 511468"/>
                <a:gd name="connsiteY10" fmla="*/ 509712 h 857029"/>
                <a:gd name="connsiteX11" fmla="*/ 37439 w 511468"/>
                <a:gd name="connsiteY11" fmla="*/ 509701 h 857029"/>
                <a:gd name="connsiteX12" fmla="*/ 39467 w 511468"/>
                <a:gd name="connsiteY12" fmla="*/ 509360 h 857029"/>
                <a:gd name="connsiteX13" fmla="*/ 40745 w 511468"/>
                <a:gd name="connsiteY13" fmla="*/ 510627 h 857029"/>
                <a:gd name="connsiteX14" fmla="*/ 43125 w 511468"/>
                <a:gd name="connsiteY14" fmla="*/ 511833 h 857029"/>
                <a:gd name="connsiteX15" fmla="*/ 45955 w 511468"/>
                <a:gd name="connsiteY15" fmla="*/ 512911 h 857029"/>
                <a:gd name="connsiteX16" fmla="*/ 50184 w 511468"/>
                <a:gd name="connsiteY16" fmla="*/ 514747 h 857029"/>
                <a:gd name="connsiteX17" fmla="*/ 54572 w 511468"/>
                <a:gd name="connsiteY17" fmla="*/ 515887 h 857029"/>
                <a:gd name="connsiteX18" fmla="*/ 56020 w 511468"/>
                <a:gd name="connsiteY18" fmla="*/ 516019 h 857029"/>
                <a:gd name="connsiteX19" fmla="*/ 60631 w 511468"/>
                <a:gd name="connsiteY19" fmla="*/ 515869 h 857029"/>
                <a:gd name="connsiteX20" fmla="*/ 65515 w 511468"/>
                <a:gd name="connsiteY20" fmla="*/ 516027 h 857029"/>
                <a:gd name="connsiteX21" fmla="*/ 66846 w 511468"/>
                <a:gd name="connsiteY21" fmla="*/ 518746 h 857029"/>
                <a:gd name="connsiteX22" fmla="*/ 69257 w 511468"/>
                <a:gd name="connsiteY22" fmla="*/ 520031 h 857029"/>
                <a:gd name="connsiteX23" fmla="*/ 71207 w 511468"/>
                <a:gd name="connsiteY23" fmla="*/ 521798 h 857029"/>
                <a:gd name="connsiteX24" fmla="*/ 71352 w 511468"/>
                <a:gd name="connsiteY24" fmla="*/ 522805 h 857029"/>
                <a:gd name="connsiteX25" fmla="*/ 68664 w 511468"/>
                <a:gd name="connsiteY25" fmla="*/ 529110 h 857029"/>
                <a:gd name="connsiteX26" fmla="*/ 68107 w 511468"/>
                <a:gd name="connsiteY26" fmla="*/ 531241 h 857029"/>
                <a:gd name="connsiteX27" fmla="*/ 68005 w 511468"/>
                <a:gd name="connsiteY27" fmla="*/ 533376 h 857029"/>
                <a:gd name="connsiteX28" fmla="*/ 68988 w 511468"/>
                <a:gd name="connsiteY28" fmla="*/ 536043 h 857029"/>
                <a:gd name="connsiteX29" fmla="*/ 69914 w 511468"/>
                <a:gd name="connsiteY29" fmla="*/ 537532 h 857029"/>
                <a:gd name="connsiteX30" fmla="*/ 69154 w 511468"/>
                <a:gd name="connsiteY30" fmla="*/ 537736 h 857029"/>
                <a:gd name="connsiteX31" fmla="*/ 56696 w 511468"/>
                <a:gd name="connsiteY31" fmla="*/ 537438 h 857029"/>
                <a:gd name="connsiteX32" fmla="*/ 44883 w 511468"/>
                <a:gd name="connsiteY32" fmla="*/ 536932 h 857029"/>
                <a:gd name="connsiteX33" fmla="*/ 33967 w 511468"/>
                <a:gd name="connsiteY33" fmla="*/ 536465 h 857029"/>
                <a:gd name="connsiteX34" fmla="*/ 23446 w 511468"/>
                <a:gd name="connsiteY34" fmla="*/ 536012 h 857029"/>
                <a:gd name="connsiteX35" fmla="*/ 13351 w 511468"/>
                <a:gd name="connsiteY35" fmla="*/ 535582 h 857029"/>
                <a:gd name="connsiteX36" fmla="*/ 7074 w 511468"/>
                <a:gd name="connsiteY36" fmla="*/ 535178 h 857029"/>
                <a:gd name="connsiteX37" fmla="*/ 881 w 511468"/>
                <a:gd name="connsiteY37" fmla="*/ 534779 h 857029"/>
                <a:gd name="connsiteX38" fmla="*/ 0 w 511468"/>
                <a:gd name="connsiteY38" fmla="*/ 534410 h 857029"/>
                <a:gd name="connsiteX39" fmla="*/ 3407 w 511468"/>
                <a:gd name="connsiteY39" fmla="*/ 531794 h 857029"/>
                <a:gd name="connsiteX40" fmla="*/ 5627 w 511468"/>
                <a:gd name="connsiteY40" fmla="*/ 529073 h 857029"/>
                <a:gd name="connsiteX41" fmla="*/ 7512 w 511468"/>
                <a:gd name="connsiteY41" fmla="*/ 525517 h 857029"/>
                <a:gd name="connsiteX42" fmla="*/ 7713 w 511468"/>
                <a:gd name="connsiteY42" fmla="*/ 523051 h 857029"/>
                <a:gd name="connsiteX43" fmla="*/ 8184 w 511468"/>
                <a:gd name="connsiteY43" fmla="*/ 520266 h 857029"/>
                <a:gd name="connsiteX44" fmla="*/ 11127 w 511468"/>
                <a:gd name="connsiteY44" fmla="*/ 519182 h 857029"/>
                <a:gd name="connsiteX45" fmla="*/ 17519 w 511468"/>
                <a:gd name="connsiteY45" fmla="*/ 519343 h 857029"/>
                <a:gd name="connsiteX46" fmla="*/ 20252 w 511468"/>
                <a:gd name="connsiteY46" fmla="*/ 518003 h 857029"/>
                <a:gd name="connsiteX47" fmla="*/ 23759 w 511468"/>
                <a:gd name="connsiteY47" fmla="*/ 514688 h 857029"/>
                <a:gd name="connsiteX48" fmla="*/ 27448 w 511468"/>
                <a:gd name="connsiteY48" fmla="*/ 510701 h 857029"/>
                <a:gd name="connsiteX49" fmla="*/ 356551 w 511468"/>
                <a:gd name="connsiteY49" fmla="*/ 179341 h 857029"/>
                <a:gd name="connsiteX50" fmla="*/ 358475 w 511468"/>
                <a:gd name="connsiteY50" fmla="*/ 179899 h 857029"/>
                <a:gd name="connsiteX51" fmla="*/ 359190 w 511468"/>
                <a:gd name="connsiteY51" fmla="*/ 181318 h 857029"/>
                <a:gd name="connsiteX52" fmla="*/ 359410 w 511468"/>
                <a:gd name="connsiteY52" fmla="*/ 183648 h 857029"/>
                <a:gd name="connsiteX53" fmla="*/ 358723 w 511468"/>
                <a:gd name="connsiteY53" fmla="*/ 185139 h 857029"/>
                <a:gd name="connsiteX54" fmla="*/ 359054 w 511468"/>
                <a:gd name="connsiteY54" fmla="*/ 186396 h 857029"/>
                <a:gd name="connsiteX55" fmla="*/ 357648 w 511468"/>
                <a:gd name="connsiteY55" fmla="*/ 187287 h 857029"/>
                <a:gd name="connsiteX56" fmla="*/ 355467 w 511468"/>
                <a:gd name="connsiteY56" fmla="*/ 184379 h 857029"/>
                <a:gd name="connsiteX57" fmla="*/ 354169 w 511468"/>
                <a:gd name="connsiteY57" fmla="*/ 184337 h 857029"/>
                <a:gd name="connsiteX58" fmla="*/ 352780 w 511468"/>
                <a:gd name="connsiteY58" fmla="*/ 183084 h 857029"/>
                <a:gd name="connsiteX59" fmla="*/ 352124 w 511468"/>
                <a:gd name="connsiteY59" fmla="*/ 181016 h 857029"/>
                <a:gd name="connsiteX60" fmla="*/ 353381 w 511468"/>
                <a:gd name="connsiteY60" fmla="*/ 180439 h 857029"/>
                <a:gd name="connsiteX61" fmla="*/ 353889 w 511468"/>
                <a:gd name="connsiteY61" fmla="*/ 180798 h 857029"/>
                <a:gd name="connsiteX62" fmla="*/ 507319 w 511468"/>
                <a:gd name="connsiteY62" fmla="*/ 120897 h 857029"/>
                <a:gd name="connsiteX63" fmla="*/ 509176 w 511468"/>
                <a:gd name="connsiteY63" fmla="*/ 121390 h 857029"/>
                <a:gd name="connsiteX64" fmla="*/ 510487 w 511468"/>
                <a:gd name="connsiteY64" fmla="*/ 123131 h 857029"/>
                <a:gd name="connsiteX65" fmla="*/ 510994 w 511468"/>
                <a:gd name="connsiteY65" fmla="*/ 124376 h 857029"/>
                <a:gd name="connsiteX66" fmla="*/ 510152 w 511468"/>
                <a:gd name="connsiteY66" fmla="*/ 124880 h 857029"/>
                <a:gd name="connsiteX67" fmla="*/ 505769 w 511468"/>
                <a:gd name="connsiteY67" fmla="*/ 123140 h 857029"/>
                <a:gd name="connsiteX68" fmla="*/ 505387 w 511468"/>
                <a:gd name="connsiteY68" fmla="*/ 121830 h 857029"/>
                <a:gd name="connsiteX69" fmla="*/ 505574 w 511468"/>
                <a:gd name="connsiteY69" fmla="*/ 121267 h 857029"/>
                <a:gd name="connsiteX70" fmla="*/ 273751 w 511468"/>
                <a:gd name="connsiteY70" fmla="*/ 0 h 857029"/>
                <a:gd name="connsiteX71" fmla="*/ 282752 w 511468"/>
                <a:gd name="connsiteY71" fmla="*/ 3354 h 857029"/>
                <a:gd name="connsiteX72" fmla="*/ 286595 w 511468"/>
                <a:gd name="connsiteY72" fmla="*/ 5805 h 857029"/>
                <a:gd name="connsiteX73" fmla="*/ 294915 w 511468"/>
                <a:gd name="connsiteY73" fmla="*/ 7956 h 857029"/>
                <a:gd name="connsiteX74" fmla="*/ 296377 w 511468"/>
                <a:gd name="connsiteY74" fmla="*/ 9126 h 857029"/>
                <a:gd name="connsiteX75" fmla="*/ 296483 w 511468"/>
                <a:gd name="connsiteY75" fmla="*/ 11154 h 857029"/>
                <a:gd name="connsiteX76" fmla="*/ 296086 w 511468"/>
                <a:gd name="connsiteY76" fmla="*/ 12894 h 857029"/>
                <a:gd name="connsiteX77" fmla="*/ 294326 w 511468"/>
                <a:gd name="connsiteY77" fmla="*/ 13854 h 857029"/>
                <a:gd name="connsiteX78" fmla="*/ 290771 w 511468"/>
                <a:gd name="connsiteY78" fmla="*/ 13697 h 857029"/>
                <a:gd name="connsiteX79" fmla="*/ 278001 w 511468"/>
                <a:gd name="connsiteY79" fmla="*/ 11016 h 857029"/>
                <a:gd name="connsiteX80" fmla="*/ 276116 w 511468"/>
                <a:gd name="connsiteY80" fmla="*/ 12644 h 857029"/>
                <a:gd name="connsiteX81" fmla="*/ 277660 w 511468"/>
                <a:gd name="connsiteY81" fmla="*/ 14053 h 857029"/>
                <a:gd name="connsiteX82" fmla="*/ 281402 w 511468"/>
                <a:gd name="connsiteY82" fmla="*/ 15715 h 857029"/>
                <a:gd name="connsiteX83" fmla="*/ 282445 w 511468"/>
                <a:gd name="connsiteY83" fmla="*/ 18657 h 857029"/>
                <a:gd name="connsiteX84" fmla="*/ 288174 w 511468"/>
                <a:gd name="connsiteY84" fmla="*/ 18252 h 857029"/>
                <a:gd name="connsiteX85" fmla="*/ 293635 w 511468"/>
                <a:gd name="connsiteY85" fmla="*/ 19371 h 857029"/>
                <a:gd name="connsiteX86" fmla="*/ 296200 w 511468"/>
                <a:gd name="connsiteY86" fmla="*/ 19008 h 857029"/>
                <a:gd name="connsiteX87" fmla="*/ 296669 w 511468"/>
                <a:gd name="connsiteY87" fmla="*/ 19967 h 857029"/>
                <a:gd name="connsiteX88" fmla="*/ 294913 w 511468"/>
                <a:gd name="connsiteY88" fmla="*/ 22399 h 857029"/>
                <a:gd name="connsiteX89" fmla="*/ 295738 w 511468"/>
                <a:gd name="connsiteY89" fmla="*/ 23024 h 857029"/>
                <a:gd name="connsiteX90" fmla="*/ 301862 w 511468"/>
                <a:gd name="connsiteY90" fmla="*/ 20665 h 857029"/>
                <a:gd name="connsiteX91" fmla="*/ 304715 w 511468"/>
                <a:gd name="connsiteY91" fmla="*/ 20018 h 857029"/>
                <a:gd name="connsiteX92" fmla="*/ 306250 w 511468"/>
                <a:gd name="connsiteY92" fmla="*/ 20648 h 857029"/>
                <a:gd name="connsiteX93" fmla="*/ 306457 w 511468"/>
                <a:gd name="connsiteY93" fmla="*/ 22601 h 857029"/>
                <a:gd name="connsiteX94" fmla="*/ 305447 w 511468"/>
                <a:gd name="connsiteY94" fmla="*/ 25055 h 857029"/>
                <a:gd name="connsiteX95" fmla="*/ 305337 w 511468"/>
                <a:gd name="connsiteY95" fmla="*/ 26920 h 857029"/>
                <a:gd name="connsiteX96" fmla="*/ 303452 w 511468"/>
                <a:gd name="connsiteY96" fmla="*/ 31417 h 857029"/>
                <a:gd name="connsiteX97" fmla="*/ 300547 w 511468"/>
                <a:gd name="connsiteY97" fmla="*/ 32777 h 857029"/>
                <a:gd name="connsiteX98" fmla="*/ 299327 w 511468"/>
                <a:gd name="connsiteY98" fmla="*/ 34646 h 857029"/>
                <a:gd name="connsiteX99" fmla="*/ 303577 w 511468"/>
                <a:gd name="connsiteY99" fmla="*/ 33501 h 857029"/>
                <a:gd name="connsiteX100" fmla="*/ 305838 w 511468"/>
                <a:gd name="connsiteY100" fmla="*/ 32252 h 857029"/>
                <a:gd name="connsiteX101" fmla="*/ 310070 w 511468"/>
                <a:gd name="connsiteY101" fmla="*/ 26073 h 857029"/>
                <a:gd name="connsiteX102" fmla="*/ 311338 w 511468"/>
                <a:gd name="connsiteY102" fmla="*/ 25251 h 857029"/>
                <a:gd name="connsiteX103" fmla="*/ 323389 w 511468"/>
                <a:gd name="connsiteY103" fmla="*/ 25139 h 857029"/>
                <a:gd name="connsiteX104" fmla="*/ 326117 w 511468"/>
                <a:gd name="connsiteY104" fmla="*/ 25537 h 857029"/>
                <a:gd name="connsiteX105" fmla="*/ 337421 w 511468"/>
                <a:gd name="connsiteY105" fmla="*/ 28452 h 857029"/>
                <a:gd name="connsiteX106" fmla="*/ 340640 w 511468"/>
                <a:gd name="connsiteY106" fmla="*/ 28719 h 857029"/>
                <a:gd name="connsiteX107" fmla="*/ 344318 w 511468"/>
                <a:gd name="connsiteY107" fmla="*/ 28346 h 857029"/>
                <a:gd name="connsiteX108" fmla="*/ 345586 w 511468"/>
                <a:gd name="connsiteY108" fmla="*/ 26992 h 857029"/>
                <a:gd name="connsiteX109" fmla="*/ 346838 w 511468"/>
                <a:gd name="connsiteY109" fmla="*/ 26608 h 857029"/>
                <a:gd name="connsiteX110" fmla="*/ 359399 w 511468"/>
                <a:gd name="connsiteY110" fmla="*/ 29866 h 857029"/>
                <a:gd name="connsiteX111" fmla="*/ 376212 w 511468"/>
                <a:gd name="connsiteY111" fmla="*/ 37175 h 857029"/>
                <a:gd name="connsiteX112" fmla="*/ 400807 w 511468"/>
                <a:gd name="connsiteY112" fmla="*/ 49201 h 857029"/>
                <a:gd name="connsiteX113" fmla="*/ 414673 w 511468"/>
                <a:gd name="connsiteY113" fmla="*/ 59838 h 857029"/>
                <a:gd name="connsiteX114" fmla="*/ 416277 w 511468"/>
                <a:gd name="connsiteY114" fmla="*/ 62116 h 857029"/>
                <a:gd name="connsiteX115" fmla="*/ 421289 w 511468"/>
                <a:gd name="connsiteY115" fmla="*/ 63406 h 857029"/>
                <a:gd name="connsiteX116" fmla="*/ 422367 w 511468"/>
                <a:gd name="connsiteY116" fmla="*/ 62533 h 857029"/>
                <a:gd name="connsiteX117" fmla="*/ 425152 w 511468"/>
                <a:gd name="connsiteY117" fmla="*/ 63290 h 857029"/>
                <a:gd name="connsiteX118" fmla="*/ 441458 w 511468"/>
                <a:gd name="connsiteY118" fmla="*/ 72945 h 857029"/>
                <a:gd name="connsiteX119" fmla="*/ 447083 w 511468"/>
                <a:gd name="connsiteY119" fmla="*/ 73444 h 857029"/>
                <a:gd name="connsiteX120" fmla="*/ 446340 w 511468"/>
                <a:gd name="connsiteY120" fmla="*/ 71406 h 857029"/>
                <a:gd name="connsiteX121" fmla="*/ 445379 w 511468"/>
                <a:gd name="connsiteY121" fmla="*/ 69500 h 857029"/>
                <a:gd name="connsiteX122" fmla="*/ 446772 w 511468"/>
                <a:gd name="connsiteY122" fmla="*/ 69933 h 857029"/>
                <a:gd name="connsiteX123" fmla="*/ 448681 w 511468"/>
                <a:gd name="connsiteY123" fmla="*/ 71317 h 857029"/>
                <a:gd name="connsiteX124" fmla="*/ 451780 w 511468"/>
                <a:gd name="connsiteY124" fmla="*/ 75087 h 857029"/>
                <a:gd name="connsiteX125" fmla="*/ 455559 w 511468"/>
                <a:gd name="connsiteY125" fmla="*/ 77877 h 857029"/>
                <a:gd name="connsiteX126" fmla="*/ 459407 w 511468"/>
                <a:gd name="connsiteY126" fmla="*/ 82047 h 857029"/>
                <a:gd name="connsiteX127" fmla="*/ 462616 w 511468"/>
                <a:gd name="connsiteY127" fmla="*/ 83643 h 857029"/>
                <a:gd name="connsiteX128" fmla="*/ 465507 w 511468"/>
                <a:gd name="connsiteY128" fmla="*/ 84234 h 857029"/>
                <a:gd name="connsiteX129" fmla="*/ 467934 w 511468"/>
                <a:gd name="connsiteY129" fmla="*/ 85408 h 857029"/>
                <a:gd name="connsiteX130" fmla="*/ 472359 w 511468"/>
                <a:gd name="connsiteY130" fmla="*/ 86525 h 857029"/>
                <a:gd name="connsiteX131" fmla="*/ 474449 w 511468"/>
                <a:gd name="connsiteY131" fmla="*/ 96670 h 857029"/>
                <a:gd name="connsiteX132" fmla="*/ 476062 w 511468"/>
                <a:gd name="connsiteY132" fmla="*/ 98855 h 857029"/>
                <a:gd name="connsiteX133" fmla="*/ 476062 w 511468"/>
                <a:gd name="connsiteY133" fmla="*/ 103320 h 857029"/>
                <a:gd name="connsiteX134" fmla="*/ 478889 w 511468"/>
                <a:gd name="connsiteY134" fmla="*/ 105135 h 857029"/>
                <a:gd name="connsiteX135" fmla="*/ 481035 w 511468"/>
                <a:gd name="connsiteY135" fmla="*/ 105464 h 857029"/>
                <a:gd name="connsiteX136" fmla="*/ 480936 w 511468"/>
                <a:gd name="connsiteY136" fmla="*/ 108762 h 857029"/>
                <a:gd name="connsiteX137" fmla="*/ 479195 w 511468"/>
                <a:gd name="connsiteY137" fmla="*/ 116483 h 857029"/>
                <a:gd name="connsiteX138" fmla="*/ 477280 w 511468"/>
                <a:gd name="connsiteY138" fmla="*/ 119759 h 857029"/>
                <a:gd name="connsiteX139" fmla="*/ 462523 w 511468"/>
                <a:gd name="connsiteY139" fmla="*/ 133805 h 857029"/>
                <a:gd name="connsiteX140" fmla="*/ 453274 w 511468"/>
                <a:gd name="connsiteY140" fmla="*/ 139207 h 857029"/>
                <a:gd name="connsiteX141" fmla="*/ 435269 w 511468"/>
                <a:gd name="connsiteY141" fmla="*/ 145372 h 857029"/>
                <a:gd name="connsiteX142" fmla="*/ 421224 w 511468"/>
                <a:gd name="connsiteY142" fmla="*/ 147680 h 857029"/>
                <a:gd name="connsiteX143" fmla="*/ 415556 w 511468"/>
                <a:gd name="connsiteY143" fmla="*/ 147848 h 857029"/>
                <a:gd name="connsiteX144" fmla="*/ 404569 w 511468"/>
                <a:gd name="connsiteY144" fmla="*/ 146708 h 857029"/>
                <a:gd name="connsiteX145" fmla="*/ 398544 w 511468"/>
                <a:gd name="connsiteY145" fmla="*/ 145462 h 857029"/>
                <a:gd name="connsiteX146" fmla="*/ 391172 w 511468"/>
                <a:gd name="connsiteY146" fmla="*/ 141959 h 857029"/>
                <a:gd name="connsiteX147" fmla="*/ 384292 w 511468"/>
                <a:gd name="connsiteY147" fmla="*/ 140214 h 857029"/>
                <a:gd name="connsiteX148" fmla="*/ 379566 w 511468"/>
                <a:gd name="connsiteY148" fmla="*/ 139442 h 857029"/>
                <a:gd name="connsiteX149" fmla="*/ 370798 w 511468"/>
                <a:gd name="connsiteY149" fmla="*/ 139120 h 857029"/>
                <a:gd name="connsiteX150" fmla="*/ 351783 w 511468"/>
                <a:gd name="connsiteY150" fmla="*/ 135678 h 857029"/>
                <a:gd name="connsiteX151" fmla="*/ 348477 w 511468"/>
                <a:gd name="connsiteY151" fmla="*/ 134467 h 857029"/>
                <a:gd name="connsiteX152" fmla="*/ 336550 w 511468"/>
                <a:gd name="connsiteY152" fmla="*/ 127729 h 857029"/>
                <a:gd name="connsiteX153" fmla="*/ 331811 w 511468"/>
                <a:gd name="connsiteY153" fmla="*/ 129634 h 857029"/>
                <a:gd name="connsiteX154" fmla="*/ 328988 w 511468"/>
                <a:gd name="connsiteY154" fmla="*/ 129977 h 857029"/>
                <a:gd name="connsiteX155" fmla="*/ 327075 w 511468"/>
                <a:gd name="connsiteY155" fmla="*/ 127653 h 857029"/>
                <a:gd name="connsiteX156" fmla="*/ 327844 w 511468"/>
                <a:gd name="connsiteY156" fmla="*/ 127039 h 857029"/>
                <a:gd name="connsiteX157" fmla="*/ 328302 w 511468"/>
                <a:gd name="connsiteY157" fmla="*/ 126246 h 857029"/>
                <a:gd name="connsiteX158" fmla="*/ 321547 w 511468"/>
                <a:gd name="connsiteY158" fmla="*/ 124318 h 857029"/>
                <a:gd name="connsiteX159" fmla="*/ 315965 w 511468"/>
                <a:gd name="connsiteY159" fmla="*/ 124189 h 857029"/>
                <a:gd name="connsiteX160" fmla="*/ 313000 w 511468"/>
                <a:gd name="connsiteY160" fmla="*/ 122550 h 857029"/>
                <a:gd name="connsiteX161" fmla="*/ 309370 w 511468"/>
                <a:gd name="connsiteY161" fmla="*/ 121301 h 857029"/>
                <a:gd name="connsiteX162" fmla="*/ 307768 w 511468"/>
                <a:gd name="connsiteY162" fmla="*/ 122053 h 857029"/>
                <a:gd name="connsiteX163" fmla="*/ 306863 w 511468"/>
                <a:gd name="connsiteY163" fmla="*/ 122046 h 857029"/>
                <a:gd name="connsiteX164" fmla="*/ 299526 w 511468"/>
                <a:gd name="connsiteY164" fmla="*/ 119098 h 857029"/>
                <a:gd name="connsiteX165" fmla="*/ 296248 w 511468"/>
                <a:gd name="connsiteY165" fmla="*/ 116706 h 857029"/>
                <a:gd name="connsiteX166" fmla="*/ 292834 w 511468"/>
                <a:gd name="connsiteY166" fmla="*/ 112490 h 857029"/>
                <a:gd name="connsiteX167" fmla="*/ 293667 w 511468"/>
                <a:gd name="connsiteY167" fmla="*/ 111013 h 857029"/>
                <a:gd name="connsiteX168" fmla="*/ 294667 w 511468"/>
                <a:gd name="connsiteY168" fmla="*/ 110055 h 857029"/>
                <a:gd name="connsiteX169" fmla="*/ 282935 w 511468"/>
                <a:gd name="connsiteY169" fmla="*/ 107594 h 857029"/>
                <a:gd name="connsiteX170" fmla="*/ 271778 w 511468"/>
                <a:gd name="connsiteY170" fmla="*/ 107268 h 857029"/>
                <a:gd name="connsiteX171" fmla="*/ 273717 w 511468"/>
                <a:gd name="connsiteY171" fmla="*/ 108448 h 857029"/>
                <a:gd name="connsiteX172" fmla="*/ 278549 w 511468"/>
                <a:gd name="connsiteY172" fmla="*/ 109068 h 857029"/>
                <a:gd name="connsiteX173" fmla="*/ 281624 w 511468"/>
                <a:gd name="connsiteY173" fmla="*/ 110762 h 857029"/>
                <a:gd name="connsiteX174" fmla="*/ 285170 w 511468"/>
                <a:gd name="connsiteY174" fmla="*/ 113148 h 857029"/>
                <a:gd name="connsiteX175" fmla="*/ 284345 w 511468"/>
                <a:gd name="connsiteY175" fmla="*/ 116408 h 857029"/>
                <a:gd name="connsiteX176" fmla="*/ 289271 w 511468"/>
                <a:gd name="connsiteY176" fmla="*/ 119633 h 857029"/>
                <a:gd name="connsiteX177" fmla="*/ 293050 w 511468"/>
                <a:gd name="connsiteY177" fmla="*/ 122700 h 857029"/>
                <a:gd name="connsiteX178" fmla="*/ 293162 w 511468"/>
                <a:gd name="connsiteY178" fmla="*/ 123646 h 857029"/>
                <a:gd name="connsiteX179" fmla="*/ 294628 w 511468"/>
                <a:gd name="connsiteY179" fmla="*/ 124287 h 857029"/>
                <a:gd name="connsiteX180" fmla="*/ 300197 w 511468"/>
                <a:gd name="connsiteY180" fmla="*/ 125183 h 857029"/>
                <a:gd name="connsiteX181" fmla="*/ 301167 w 511468"/>
                <a:gd name="connsiteY181" fmla="*/ 127998 h 857029"/>
                <a:gd name="connsiteX182" fmla="*/ 300249 w 511468"/>
                <a:gd name="connsiteY182" fmla="*/ 129107 h 857029"/>
                <a:gd name="connsiteX183" fmla="*/ 301012 w 511468"/>
                <a:gd name="connsiteY183" fmla="*/ 130668 h 857029"/>
                <a:gd name="connsiteX184" fmla="*/ 305166 w 511468"/>
                <a:gd name="connsiteY184" fmla="*/ 132416 h 857029"/>
                <a:gd name="connsiteX185" fmla="*/ 307651 w 511468"/>
                <a:gd name="connsiteY185" fmla="*/ 132892 h 857029"/>
                <a:gd name="connsiteX186" fmla="*/ 310709 w 511468"/>
                <a:gd name="connsiteY186" fmla="*/ 133952 h 857029"/>
                <a:gd name="connsiteX187" fmla="*/ 309323 w 511468"/>
                <a:gd name="connsiteY187" fmla="*/ 136092 h 857029"/>
                <a:gd name="connsiteX188" fmla="*/ 306751 w 511468"/>
                <a:gd name="connsiteY188" fmla="*/ 137480 h 857029"/>
                <a:gd name="connsiteX189" fmla="*/ 304177 w 511468"/>
                <a:gd name="connsiteY189" fmla="*/ 138118 h 857029"/>
                <a:gd name="connsiteX190" fmla="*/ 305399 w 511468"/>
                <a:gd name="connsiteY190" fmla="*/ 138630 h 857029"/>
                <a:gd name="connsiteX191" fmla="*/ 308735 w 511468"/>
                <a:gd name="connsiteY191" fmla="*/ 138432 h 857029"/>
                <a:gd name="connsiteX192" fmla="*/ 320809 w 511468"/>
                <a:gd name="connsiteY192" fmla="*/ 141952 h 857029"/>
                <a:gd name="connsiteX193" fmla="*/ 327157 w 511468"/>
                <a:gd name="connsiteY193" fmla="*/ 145505 h 857029"/>
                <a:gd name="connsiteX194" fmla="*/ 333614 w 511468"/>
                <a:gd name="connsiteY194" fmla="*/ 151967 h 857029"/>
                <a:gd name="connsiteX195" fmla="*/ 335704 w 511468"/>
                <a:gd name="connsiteY195" fmla="*/ 155155 h 857029"/>
                <a:gd name="connsiteX196" fmla="*/ 335855 w 511468"/>
                <a:gd name="connsiteY196" fmla="*/ 156912 h 857029"/>
                <a:gd name="connsiteX197" fmla="*/ 335497 w 511468"/>
                <a:gd name="connsiteY197" fmla="*/ 158664 h 857029"/>
                <a:gd name="connsiteX198" fmla="*/ 334564 w 511468"/>
                <a:gd name="connsiteY198" fmla="*/ 160556 h 857029"/>
                <a:gd name="connsiteX199" fmla="*/ 334139 w 511468"/>
                <a:gd name="connsiteY199" fmla="*/ 162455 h 857029"/>
                <a:gd name="connsiteX200" fmla="*/ 331932 w 511468"/>
                <a:gd name="connsiteY200" fmla="*/ 168051 h 857029"/>
                <a:gd name="connsiteX201" fmla="*/ 330349 w 511468"/>
                <a:gd name="connsiteY201" fmla="*/ 169979 h 857029"/>
                <a:gd name="connsiteX202" fmla="*/ 327304 w 511468"/>
                <a:gd name="connsiteY202" fmla="*/ 172185 h 857029"/>
                <a:gd name="connsiteX203" fmla="*/ 330167 w 511468"/>
                <a:gd name="connsiteY203" fmla="*/ 176442 h 857029"/>
                <a:gd name="connsiteX204" fmla="*/ 333156 w 511468"/>
                <a:gd name="connsiteY204" fmla="*/ 180402 h 857029"/>
                <a:gd name="connsiteX205" fmla="*/ 336084 w 511468"/>
                <a:gd name="connsiteY205" fmla="*/ 186952 h 857029"/>
                <a:gd name="connsiteX206" fmla="*/ 336607 w 511468"/>
                <a:gd name="connsiteY206" fmla="*/ 189582 h 857029"/>
                <a:gd name="connsiteX207" fmla="*/ 336728 w 511468"/>
                <a:gd name="connsiteY207" fmla="*/ 193613 h 857029"/>
                <a:gd name="connsiteX208" fmla="*/ 339373 w 511468"/>
                <a:gd name="connsiteY208" fmla="*/ 195195 h 857029"/>
                <a:gd name="connsiteX209" fmla="*/ 338339 w 511468"/>
                <a:gd name="connsiteY209" fmla="*/ 195813 h 857029"/>
                <a:gd name="connsiteX210" fmla="*/ 337296 w 511468"/>
                <a:gd name="connsiteY210" fmla="*/ 196956 h 857029"/>
                <a:gd name="connsiteX211" fmla="*/ 337544 w 511468"/>
                <a:gd name="connsiteY211" fmla="*/ 202190 h 857029"/>
                <a:gd name="connsiteX212" fmla="*/ 341211 w 511468"/>
                <a:gd name="connsiteY212" fmla="*/ 206454 h 857029"/>
                <a:gd name="connsiteX213" fmla="*/ 346711 w 511468"/>
                <a:gd name="connsiteY213" fmla="*/ 209215 h 857029"/>
                <a:gd name="connsiteX214" fmla="*/ 349982 w 511468"/>
                <a:gd name="connsiteY214" fmla="*/ 209775 h 857029"/>
                <a:gd name="connsiteX215" fmla="*/ 354737 w 511468"/>
                <a:gd name="connsiteY215" fmla="*/ 208655 h 857029"/>
                <a:gd name="connsiteX216" fmla="*/ 358164 w 511468"/>
                <a:gd name="connsiteY216" fmla="*/ 210180 h 857029"/>
                <a:gd name="connsiteX217" fmla="*/ 365780 w 511468"/>
                <a:gd name="connsiteY217" fmla="*/ 215368 h 857029"/>
                <a:gd name="connsiteX218" fmla="*/ 369218 w 511468"/>
                <a:gd name="connsiteY218" fmla="*/ 220836 h 857029"/>
                <a:gd name="connsiteX219" fmla="*/ 370611 w 511468"/>
                <a:gd name="connsiteY219" fmla="*/ 221949 h 857029"/>
                <a:gd name="connsiteX220" fmla="*/ 378324 w 511468"/>
                <a:gd name="connsiteY220" fmla="*/ 223987 h 857029"/>
                <a:gd name="connsiteX221" fmla="*/ 384105 w 511468"/>
                <a:gd name="connsiteY221" fmla="*/ 225239 h 857029"/>
                <a:gd name="connsiteX222" fmla="*/ 392895 w 511468"/>
                <a:gd name="connsiteY222" fmla="*/ 228506 h 857029"/>
                <a:gd name="connsiteX223" fmla="*/ 394431 w 511468"/>
                <a:gd name="connsiteY223" fmla="*/ 228624 h 857029"/>
                <a:gd name="connsiteX224" fmla="*/ 398702 w 511468"/>
                <a:gd name="connsiteY224" fmla="*/ 225807 h 857029"/>
                <a:gd name="connsiteX225" fmla="*/ 406057 w 511468"/>
                <a:gd name="connsiteY225" fmla="*/ 223844 h 857029"/>
                <a:gd name="connsiteX226" fmla="*/ 408331 w 511468"/>
                <a:gd name="connsiteY226" fmla="*/ 221137 h 857029"/>
                <a:gd name="connsiteX227" fmla="*/ 408141 w 511468"/>
                <a:gd name="connsiteY227" fmla="*/ 218835 h 857029"/>
                <a:gd name="connsiteX228" fmla="*/ 406260 w 511468"/>
                <a:gd name="connsiteY228" fmla="*/ 214730 h 857029"/>
                <a:gd name="connsiteX229" fmla="*/ 405742 w 511468"/>
                <a:gd name="connsiteY229" fmla="*/ 210721 h 857029"/>
                <a:gd name="connsiteX230" fmla="*/ 403306 w 511468"/>
                <a:gd name="connsiteY230" fmla="*/ 209081 h 857029"/>
                <a:gd name="connsiteX231" fmla="*/ 401030 w 511468"/>
                <a:gd name="connsiteY231" fmla="*/ 207992 h 857029"/>
                <a:gd name="connsiteX232" fmla="*/ 394152 w 511468"/>
                <a:gd name="connsiteY232" fmla="*/ 208823 h 857029"/>
                <a:gd name="connsiteX233" fmla="*/ 391056 w 511468"/>
                <a:gd name="connsiteY233" fmla="*/ 208668 h 857029"/>
                <a:gd name="connsiteX234" fmla="*/ 388715 w 511468"/>
                <a:gd name="connsiteY234" fmla="*/ 207582 h 857029"/>
                <a:gd name="connsiteX235" fmla="*/ 385547 w 511468"/>
                <a:gd name="connsiteY235" fmla="*/ 204713 h 857029"/>
                <a:gd name="connsiteX236" fmla="*/ 379552 w 511468"/>
                <a:gd name="connsiteY236" fmla="*/ 197722 h 857029"/>
                <a:gd name="connsiteX237" fmla="*/ 376344 w 511468"/>
                <a:gd name="connsiteY237" fmla="*/ 195389 h 857029"/>
                <a:gd name="connsiteX238" fmla="*/ 375338 w 511468"/>
                <a:gd name="connsiteY238" fmla="*/ 193943 h 857029"/>
                <a:gd name="connsiteX239" fmla="*/ 374221 w 511468"/>
                <a:gd name="connsiteY239" fmla="*/ 191924 h 857029"/>
                <a:gd name="connsiteX240" fmla="*/ 374361 w 511468"/>
                <a:gd name="connsiteY240" fmla="*/ 188652 h 857029"/>
                <a:gd name="connsiteX241" fmla="*/ 376979 w 511468"/>
                <a:gd name="connsiteY241" fmla="*/ 188766 h 857029"/>
                <a:gd name="connsiteX242" fmla="*/ 379920 w 511468"/>
                <a:gd name="connsiteY242" fmla="*/ 186910 h 857029"/>
                <a:gd name="connsiteX243" fmla="*/ 382062 w 511468"/>
                <a:gd name="connsiteY243" fmla="*/ 180249 h 857029"/>
                <a:gd name="connsiteX244" fmla="*/ 385763 w 511468"/>
                <a:gd name="connsiteY244" fmla="*/ 179401 h 857029"/>
                <a:gd name="connsiteX245" fmla="*/ 387767 w 511468"/>
                <a:gd name="connsiteY245" fmla="*/ 179459 h 857029"/>
                <a:gd name="connsiteX246" fmla="*/ 396331 w 511468"/>
                <a:gd name="connsiteY246" fmla="*/ 182557 h 857029"/>
                <a:gd name="connsiteX247" fmla="*/ 406972 w 511468"/>
                <a:gd name="connsiteY247" fmla="*/ 190799 h 857029"/>
                <a:gd name="connsiteX248" fmla="*/ 409324 w 511468"/>
                <a:gd name="connsiteY248" fmla="*/ 191665 h 857029"/>
                <a:gd name="connsiteX249" fmla="*/ 411812 w 511468"/>
                <a:gd name="connsiteY249" fmla="*/ 191786 h 857029"/>
                <a:gd name="connsiteX250" fmla="*/ 415878 w 511468"/>
                <a:gd name="connsiteY250" fmla="*/ 191576 h 857029"/>
                <a:gd name="connsiteX251" fmla="*/ 416539 w 511468"/>
                <a:gd name="connsiteY251" fmla="*/ 192648 h 857029"/>
                <a:gd name="connsiteX252" fmla="*/ 418726 w 511468"/>
                <a:gd name="connsiteY252" fmla="*/ 193932 h 857029"/>
                <a:gd name="connsiteX253" fmla="*/ 420322 w 511468"/>
                <a:gd name="connsiteY253" fmla="*/ 194097 h 857029"/>
                <a:gd name="connsiteX254" fmla="*/ 430061 w 511468"/>
                <a:gd name="connsiteY254" fmla="*/ 196698 h 857029"/>
                <a:gd name="connsiteX255" fmla="*/ 441423 w 511468"/>
                <a:gd name="connsiteY255" fmla="*/ 201814 h 857029"/>
                <a:gd name="connsiteX256" fmla="*/ 445638 w 511468"/>
                <a:gd name="connsiteY256" fmla="*/ 201583 h 857029"/>
                <a:gd name="connsiteX257" fmla="*/ 447297 w 511468"/>
                <a:gd name="connsiteY257" fmla="*/ 198752 h 857029"/>
                <a:gd name="connsiteX258" fmla="*/ 447642 w 511468"/>
                <a:gd name="connsiteY258" fmla="*/ 197533 h 857029"/>
                <a:gd name="connsiteX259" fmla="*/ 452268 w 511468"/>
                <a:gd name="connsiteY259" fmla="*/ 194666 h 857029"/>
                <a:gd name="connsiteX260" fmla="*/ 455494 w 511468"/>
                <a:gd name="connsiteY260" fmla="*/ 194191 h 857029"/>
                <a:gd name="connsiteX261" fmla="*/ 460007 w 511468"/>
                <a:gd name="connsiteY261" fmla="*/ 195234 h 857029"/>
                <a:gd name="connsiteX262" fmla="*/ 460828 w 511468"/>
                <a:gd name="connsiteY262" fmla="*/ 194381 h 857029"/>
                <a:gd name="connsiteX263" fmla="*/ 459290 w 511468"/>
                <a:gd name="connsiteY263" fmla="*/ 190171 h 857029"/>
                <a:gd name="connsiteX264" fmla="*/ 457209 w 511468"/>
                <a:gd name="connsiteY264" fmla="*/ 186518 h 857029"/>
                <a:gd name="connsiteX265" fmla="*/ 454144 w 511468"/>
                <a:gd name="connsiteY265" fmla="*/ 184175 h 857029"/>
                <a:gd name="connsiteX266" fmla="*/ 448701 w 511468"/>
                <a:gd name="connsiteY266" fmla="*/ 177277 h 857029"/>
                <a:gd name="connsiteX267" fmla="*/ 446524 w 511468"/>
                <a:gd name="connsiteY267" fmla="*/ 173844 h 857029"/>
                <a:gd name="connsiteX268" fmla="*/ 445442 w 511468"/>
                <a:gd name="connsiteY268" fmla="*/ 170296 h 857029"/>
                <a:gd name="connsiteX269" fmla="*/ 446150 w 511468"/>
                <a:gd name="connsiteY269" fmla="*/ 167152 h 857029"/>
                <a:gd name="connsiteX270" fmla="*/ 446932 w 511468"/>
                <a:gd name="connsiteY270" fmla="*/ 164857 h 857029"/>
                <a:gd name="connsiteX271" fmla="*/ 458238 w 511468"/>
                <a:gd name="connsiteY271" fmla="*/ 159267 h 857029"/>
                <a:gd name="connsiteX272" fmla="*/ 462328 w 511468"/>
                <a:gd name="connsiteY272" fmla="*/ 155912 h 857029"/>
                <a:gd name="connsiteX273" fmla="*/ 466282 w 511468"/>
                <a:gd name="connsiteY273" fmla="*/ 151544 h 857029"/>
                <a:gd name="connsiteX274" fmla="*/ 468113 w 511468"/>
                <a:gd name="connsiteY274" fmla="*/ 150650 h 857029"/>
                <a:gd name="connsiteX275" fmla="*/ 474783 w 511468"/>
                <a:gd name="connsiteY275" fmla="*/ 149435 h 857029"/>
                <a:gd name="connsiteX276" fmla="*/ 483622 w 511468"/>
                <a:gd name="connsiteY276" fmla="*/ 145688 h 857029"/>
                <a:gd name="connsiteX277" fmla="*/ 490368 w 511468"/>
                <a:gd name="connsiteY277" fmla="*/ 140700 h 857029"/>
                <a:gd name="connsiteX278" fmla="*/ 497062 w 511468"/>
                <a:gd name="connsiteY278" fmla="*/ 133093 h 857029"/>
                <a:gd name="connsiteX279" fmla="*/ 499869 w 511468"/>
                <a:gd name="connsiteY279" fmla="*/ 131109 h 857029"/>
                <a:gd name="connsiteX280" fmla="*/ 502150 w 511468"/>
                <a:gd name="connsiteY280" fmla="*/ 131291 h 857029"/>
                <a:gd name="connsiteX281" fmla="*/ 505181 w 511468"/>
                <a:gd name="connsiteY281" fmla="*/ 132484 h 857029"/>
                <a:gd name="connsiteX282" fmla="*/ 508528 w 511468"/>
                <a:gd name="connsiteY282" fmla="*/ 134694 h 857029"/>
                <a:gd name="connsiteX283" fmla="*/ 511468 w 511468"/>
                <a:gd name="connsiteY283" fmla="*/ 134962 h 857029"/>
                <a:gd name="connsiteX284" fmla="*/ 511468 w 511468"/>
                <a:gd name="connsiteY284" fmla="*/ 856713 h 857029"/>
                <a:gd name="connsiteX285" fmla="*/ 509813 w 511468"/>
                <a:gd name="connsiteY285" fmla="*/ 856922 h 857029"/>
                <a:gd name="connsiteX286" fmla="*/ 507730 w 511468"/>
                <a:gd name="connsiteY286" fmla="*/ 857029 h 857029"/>
                <a:gd name="connsiteX287" fmla="*/ 504480 w 511468"/>
                <a:gd name="connsiteY287" fmla="*/ 855174 h 857029"/>
                <a:gd name="connsiteX288" fmla="*/ 501398 w 511468"/>
                <a:gd name="connsiteY288" fmla="*/ 855070 h 857029"/>
                <a:gd name="connsiteX289" fmla="*/ 497917 w 511468"/>
                <a:gd name="connsiteY289" fmla="*/ 855627 h 857029"/>
                <a:gd name="connsiteX290" fmla="*/ 497155 w 511468"/>
                <a:gd name="connsiteY290" fmla="*/ 855848 h 857029"/>
                <a:gd name="connsiteX291" fmla="*/ 496319 w 511468"/>
                <a:gd name="connsiteY291" fmla="*/ 856089 h 857029"/>
                <a:gd name="connsiteX292" fmla="*/ 485939 w 511468"/>
                <a:gd name="connsiteY292" fmla="*/ 855307 h 857029"/>
                <a:gd name="connsiteX293" fmla="*/ 483290 w 511468"/>
                <a:gd name="connsiteY293" fmla="*/ 853774 h 857029"/>
                <a:gd name="connsiteX294" fmla="*/ 481022 w 511468"/>
                <a:gd name="connsiteY294" fmla="*/ 852240 h 857029"/>
                <a:gd name="connsiteX295" fmla="*/ 474939 w 511468"/>
                <a:gd name="connsiteY295" fmla="*/ 851136 h 857029"/>
                <a:gd name="connsiteX296" fmla="*/ 471819 w 511468"/>
                <a:gd name="connsiteY296" fmla="*/ 849963 h 857029"/>
                <a:gd name="connsiteX297" fmla="*/ 468716 w 511468"/>
                <a:gd name="connsiteY297" fmla="*/ 848298 h 857029"/>
                <a:gd name="connsiteX298" fmla="*/ 465319 w 511468"/>
                <a:gd name="connsiteY298" fmla="*/ 846845 h 857029"/>
                <a:gd name="connsiteX299" fmla="*/ 462464 w 511468"/>
                <a:gd name="connsiteY299" fmla="*/ 847434 h 857029"/>
                <a:gd name="connsiteX300" fmla="*/ 458558 w 511468"/>
                <a:gd name="connsiteY300" fmla="*/ 846606 h 857029"/>
                <a:gd name="connsiteX301" fmla="*/ 454311 w 511468"/>
                <a:gd name="connsiteY301" fmla="*/ 845878 h 857029"/>
                <a:gd name="connsiteX302" fmla="*/ 452860 w 511468"/>
                <a:gd name="connsiteY302" fmla="*/ 846326 h 857029"/>
                <a:gd name="connsiteX303" fmla="*/ 451514 w 511468"/>
                <a:gd name="connsiteY303" fmla="*/ 848165 h 857029"/>
                <a:gd name="connsiteX304" fmla="*/ 450510 w 511468"/>
                <a:gd name="connsiteY304" fmla="*/ 849915 h 857029"/>
                <a:gd name="connsiteX305" fmla="*/ 448195 w 511468"/>
                <a:gd name="connsiteY305" fmla="*/ 848490 h 857029"/>
                <a:gd name="connsiteX306" fmla="*/ 440303 w 511468"/>
                <a:gd name="connsiteY306" fmla="*/ 841614 h 857029"/>
                <a:gd name="connsiteX307" fmla="*/ 436161 w 511468"/>
                <a:gd name="connsiteY307" fmla="*/ 837039 h 857029"/>
                <a:gd name="connsiteX308" fmla="*/ 422626 w 511468"/>
                <a:gd name="connsiteY308" fmla="*/ 826453 h 857029"/>
                <a:gd name="connsiteX309" fmla="*/ 420825 w 511468"/>
                <a:gd name="connsiteY309" fmla="*/ 825641 h 857029"/>
                <a:gd name="connsiteX310" fmla="*/ 413660 w 511468"/>
                <a:gd name="connsiteY310" fmla="*/ 824109 h 857029"/>
                <a:gd name="connsiteX311" fmla="*/ 410773 w 511468"/>
                <a:gd name="connsiteY311" fmla="*/ 822880 h 857029"/>
                <a:gd name="connsiteX312" fmla="*/ 403481 w 511468"/>
                <a:gd name="connsiteY312" fmla="*/ 815284 h 857029"/>
                <a:gd name="connsiteX313" fmla="*/ 400240 w 511468"/>
                <a:gd name="connsiteY313" fmla="*/ 816304 h 857029"/>
                <a:gd name="connsiteX314" fmla="*/ 397311 w 511468"/>
                <a:gd name="connsiteY314" fmla="*/ 816046 h 857029"/>
                <a:gd name="connsiteX315" fmla="*/ 395601 w 511468"/>
                <a:gd name="connsiteY315" fmla="*/ 815381 h 857029"/>
                <a:gd name="connsiteX316" fmla="*/ 393748 w 511468"/>
                <a:gd name="connsiteY316" fmla="*/ 814289 h 857029"/>
                <a:gd name="connsiteX317" fmla="*/ 392444 w 511468"/>
                <a:gd name="connsiteY317" fmla="*/ 812843 h 857029"/>
                <a:gd name="connsiteX318" fmla="*/ 390935 w 511468"/>
                <a:gd name="connsiteY318" fmla="*/ 809659 h 857029"/>
                <a:gd name="connsiteX319" fmla="*/ 389181 w 511468"/>
                <a:gd name="connsiteY319" fmla="*/ 807831 h 857029"/>
                <a:gd name="connsiteX320" fmla="*/ 383424 w 511468"/>
                <a:gd name="connsiteY320" fmla="*/ 805162 h 857029"/>
                <a:gd name="connsiteX321" fmla="*/ 376931 w 511468"/>
                <a:gd name="connsiteY321" fmla="*/ 803606 h 857029"/>
                <a:gd name="connsiteX322" fmla="*/ 376419 w 511468"/>
                <a:gd name="connsiteY322" fmla="*/ 802926 h 857029"/>
                <a:gd name="connsiteX323" fmla="*/ 376231 w 511468"/>
                <a:gd name="connsiteY323" fmla="*/ 801990 h 857029"/>
                <a:gd name="connsiteX324" fmla="*/ 381846 w 511468"/>
                <a:gd name="connsiteY324" fmla="*/ 800175 h 857029"/>
                <a:gd name="connsiteX325" fmla="*/ 383353 w 511468"/>
                <a:gd name="connsiteY325" fmla="*/ 799135 h 857029"/>
                <a:gd name="connsiteX326" fmla="*/ 380474 w 511468"/>
                <a:gd name="connsiteY326" fmla="*/ 797755 h 857029"/>
                <a:gd name="connsiteX327" fmla="*/ 379382 w 511468"/>
                <a:gd name="connsiteY327" fmla="*/ 797527 h 857029"/>
                <a:gd name="connsiteX328" fmla="*/ 378471 w 511468"/>
                <a:gd name="connsiteY328" fmla="*/ 796881 h 857029"/>
                <a:gd name="connsiteX329" fmla="*/ 380092 w 511468"/>
                <a:gd name="connsiteY329" fmla="*/ 795843 h 857029"/>
                <a:gd name="connsiteX330" fmla="*/ 381688 w 511468"/>
                <a:gd name="connsiteY330" fmla="*/ 795367 h 857029"/>
                <a:gd name="connsiteX331" fmla="*/ 384163 w 511468"/>
                <a:gd name="connsiteY331" fmla="*/ 796560 h 857029"/>
                <a:gd name="connsiteX332" fmla="*/ 386942 w 511468"/>
                <a:gd name="connsiteY332" fmla="*/ 798774 h 857029"/>
                <a:gd name="connsiteX333" fmla="*/ 389375 w 511468"/>
                <a:gd name="connsiteY333" fmla="*/ 799612 h 857029"/>
                <a:gd name="connsiteX334" fmla="*/ 390496 w 511468"/>
                <a:gd name="connsiteY334" fmla="*/ 798553 h 857029"/>
                <a:gd name="connsiteX335" fmla="*/ 398963 w 511468"/>
                <a:gd name="connsiteY335" fmla="*/ 796735 h 857029"/>
                <a:gd name="connsiteX336" fmla="*/ 399533 w 511468"/>
                <a:gd name="connsiteY336" fmla="*/ 795294 h 857029"/>
                <a:gd name="connsiteX337" fmla="*/ 399510 w 511468"/>
                <a:gd name="connsiteY337" fmla="*/ 793683 h 857029"/>
                <a:gd name="connsiteX338" fmla="*/ 398680 w 511468"/>
                <a:gd name="connsiteY338" fmla="*/ 793740 h 857029"/>
                <a:gd name="connsiteX339" fmla="*/ 398140 w 511468"/>
                <a:gd name="connsiteY339" fmla="*/ 793377 h 857029"/>
                <a:gd name="connsiteX340" fmla="*/ 398195 w 511468"/>
                <a:gd name="connsiteY340" fmla="*/ 791586 h 857029"/>
                <a:gd name="connsiteX341" fmla="*/ 399451 w 511468"/>
                <a:gd name="connsiteY341" fmla="*/ 789128 h 857029"/>
                <a:gd name="connsiteX342" fmla="*/ 403248 w 511468"/>
                <a:gd name="connsiteY342" fmla="*/ 785122 h 857029"/>
                <a:gd name="connsiteX343" fmla="*/ 405286 w 511468"/>
                <a:gd name="connsiteY343" fmla="*/ 779545 h 857029"/>
                <a:gd name="connsiteX344" fmla="*/ 407081 w 511468"/>
                <a:gd name="connsiteY344" fmla="*/ 778273 h 857029"/>
                <a:gd name="connsiteX345" fmla="*/ 408398 w 511468"/>
                <a:gd name="connsiteY345" fmla="*/ 779121 h 857029"/>
                <a:gd name="connsiteX346" fmla="*/ 408307 w 511468"/>
                <a:gd name="connsiteY346" fmla="*/ 780424 h 857029"/>
                <a:gd name="connsiteX347" fmla="*/ 408525 w 511468"/>
                <a:gd name="connsiteY347" fmla="*/ 781392 h 857029"/>
                <a:gd name="connsiteX348" fmla="*/ 409702 w 511468"/>
                <a:gd name="connsiteY348" fmla="*/ 779514 h 857029"/>
                <a:gd name="connsiteX349" fmla="*/ 410825 w 511468"/>
                <a:gd name="connsiteY349" fmla="*/ 776973 h 857029"/>
                <a:gd name="connsiteX350" fmla="*/ 413660 w 511468"/>
                <a:gd name="connsiteY350" fmla="*/ 776958 h 857029"/>
                <a:gd name="connsiteX351" fmla="*/ 415618 w 511468"/>
                <a:gd name="connsiteY351" fmla="*/ 777382 h 857029"/>
                <a:gd name="connsiteX352" fmla="*/ 417651 w 511468"/>
                <a:gd name="connsiteY352" fmla="*/ 777091 h 857029"/>
                <a:gd name="connsiteX353" fmla="*/ 413736 w 511468"/>
                <a:gd name="connsiteY353" fmla="*/ 772903 h 857029"/>
                <a:gd name="connsiteX354" fmla="*/ 408484 w 511468"/>
                <a:gd name="connsiteY354" fmla="*/ 768680 h 857029"/>
                <a:gd name="connsiteX355" fmla="*/ 406269 w 511468"/>
                <a:gd name="connsiteY355" fmla="*/ 768998 h 857029"/>
                <a:gd name="connsiteX356" fmla="*/ 404861 w 511468"/>
                <a:gd name="connsiteY356" fmla="*/ 768343 h 857029"/>
                <a:gd name="connsiteX357" fmla="*/ 402555 w 511468"/>
                <a:gd name="connsiteY357" fmla="*/ 764858 h 857029"/>
                <a:gd name="connsiteX358" fmla="*/ 401602 w 511468"/>
                <a:gd name="connsiteY358" fmla="*/ 761967 h 857029"/>
                <a:gd name="connsiteX359" fmla="*/ 403833 w 511468"/>
                <a:gd name="connsiteY359" fmla="*/ 762032 h 857029"/>
                <a:gd name="connsiteX360" fmla="*/ 406057 w 511468"/>
                <a:gd name="connsiteY360" fmla="*/ 762470 h 857029"/>
                <a:gd name="connsiteX361" fmla="*/ 410292 w 511468"/>
                <a:gd name="connsiteY361" fmla="*/ 760450 h 857029"/>
                <a:gd name="connsiteX362" fmla="*/ 411850 w 511468"/>
                <a:gd name="connsiteY362" fmla="*/ 760155 h 857029"/>
                <a:gd name="connsiteX363" fmla="*/ 414360 w 511468"/>
                <a:gd name="connsiteY363" fmla="*/ 760794 h 857029"/>
                <a:gd name="connsiteX364" fmla="*/ 417843 w 511468"/>
                <a:gd name="connsiteY364" fmla="*/ 761201 h 857029"/>
                <a:gd name="connsiteX365" fmla="*/ 417556 w 511468"/>
                <a:gd name="connsiteY365" fmla="*/ 759295 h 857029"/>
                <a:gd name="connsiteX366" fmla="*/ 416465 w 511468"/>
                <a:gd name="connsiteY366" fmla="*/ 757043 h 857029"/>
                <a:gd name="connsiteX367" fmla="*/ 420713 w 511468"/>
                <a:gd name="connsiteY367" fmla="*/ 755372 h 857029"/>
                <a:gd name="connsiteX368" fmla="*/ 424479 w 511468"/>
                <a:gd name="connsiteY368" fmla="*/ 754449 h 857029"/>
                <a:gd name="connsiteX369" fmla="*/ 431680 w 511468"/>
                <a:gd name="connsiteY369" fmla="*/ 751177 h 857029"/>
                <a:gd name="connsiteX370" fmla="*/ 434863 w 511468"/>
                <a:gd name="connsiteY370" fmla="*/ 750599 h 857029"/>
                <a:gd name="connsiteX371" fmla="*/ 435269 w 511468"/>
                <a:gd name="connsiteY371" fmla="*/ 749852 h 857029"/>
                <a:gd name="connsiteX372" fmla="*/ 435366 w 511468"/>
                <a:gd name="connsiteY372" fmla="*/ 748878 h 857029"/>
                <a:gd name="connsiteX373" fmla="*/ 434284 w 511468"/>
                <a:gd name="connsiteY373" fmla="*/ 746257 h 857029"/>
                <a:gd name="connsiteX374" fmla="*/ 433205 w 511468"/>
                <a:gd name="connsiteY374" fmla="*/ 744317 h 857029"/>
                <a:gd name="connsiteX375" fmla="*/ 429402 w 511468"/>
                <a:gd name="connsiteY375" fmla="*/ 744223 h 857029"/>
                <a:gd name="connsiteX376" fmla="*/ 427292 w 511468"/>
                <a:gd name="connsiteY376" fmla="*/ 746924 h 857029"/>
                <a:gd name="connsiteX377" fmla="*/ 421540 w 511468"/>
                <a:gd name="connsiteY377" fmla="*/ 747811 h 857029"/>
                <a:gd name="connsiteX378" fmla="*/ 418981 w 511468"/>
                <a:gd name="connsiteY378" fmla="*/ 747632 h 857029"/>
                <a:gd name="connsiteX379" fmla="*/ 421013 w 511468"/>
                <a:gd name="connsiteY379" fmla="*/ 745902 h 857029"/>
                <a:gd name="connsiteX380" fmla="*/ 423040 w 511468"/>
                <a:gd name="connsiteY380" fmla="*/ 745241 h 857029"/>
                <a:gd name="connsiteX381" fmla="*/ 423613 w 511468"/>
                <a:gd name="connsiteY381" fmla="*/ 744520 h 857029"/>
                <a:gd name="connsiteX382" fmla="*/ 419529 w 511468"/>
                <a:gd name="connsiteY382" fmla="*/ 745149 h 857029"/>
                <a:gd name="connsiteX383" fmla="*/ 417484 w 511468"/>
                <a:gd name="connsiteY383" fmla="*/ 746928 h 857029"/>
                <a:gd name="connsiteX384" fmla="*/ 411505 w 511468"/>
                <a:gd name="connsiteY384" fmla="*/ 749278 h 857029"/>
                <a:gd name="connsiteX385" fmla="*/ 411317 w 511468"/>
                <a:gd name="connsiteY385" fmla="*/ 748044 h 857029"/>
                <a:gd name="connsiteX386" fmla="*/ 411218 w 511468"/>
                <a:gd name="connsiteY386" fmla="*/ 746936 h 857029"/>
                <a:gd name="connsiteX387" fmla="*/ 411656 w 511468"/>
                <a:gd name="connsiteY387" fmla="*/ 745887 h 857029"/>
                <a:gd name="connsiteX388" fmla="*/ 412632 w 511468"/>
                <a:gd name="connsiteY388" fmla="*/ 745209 h 857029"/>
                <a:gd name="connsiteX389" fmla="*/ 412973 w 511468"/>
                <a:gd name="connsiteY389" fmla="*/ 744592 h 857029"/>
                <a:gd name="connsiteX390" fmla="*/ 412973 w 511468"/>
                <a:gd name="connsiteY390" fmla="*/ 744098 h 857029"/>
                <a:gd name="connsiteX391" fmla="*/ 412095 w 511468"/>
                <a:gd name="connsiteY391" fmla="*/ 743789 h 857029"/>
                <a:gd name="connsiteX392" fmla="*/ 411364 w 511468"/>
                <a:gd name="connsiteY392" fmla="*/ 743542 h 857029"/>
                <a:gd name="connsiteX393" fmla="*/ 411218 w 511468"/>
                <a:gd name="connsiteY393" fmla="*/ 742863 h 857029"/>
                <a:gd name="connsiteX394" fmla="*/ 411462 w 511468"/>
                <a:gd name="connsiteY394" fmla="*/ 742247 h 857029"/>
                <a:gd name="connsiteX395" fmla="*/ 412144 w 511468"/>
                <a:gd name="connsiteY395" fmla="*/ 741381 h 857029"/>
                <a:gd name="connsiteX396" fmla="*/ 412438 w 511468"/>
                <a:gd name="connsiteY396" fmla="*/ 740393 h 857029"/>
                <a:gd name="connsiteX397" fmla="*/ 412488 w 511468"/>
                <a:gd name="connsiteY397" fmla="*/ 738413 h 857029"/>
                <a:gd name="connsiteX398" fmla="*/ 413120 w 511468"/>
                <a:gd name="connsiteY398" fmla="*/ 736178 h 857029"/>
                <a:gd name="connsiteX399" fmla="*/ 414921 w 511468"/>
                <a:gd name="connsiteY399" fmla="*/ 734752 h 857029"/>
                <a:gd name="connsiteX400" fmla="*/ 418063 w 511468"/>
                <a:gd name="connsiteY400" fmla="*/ 734402 h 857029"/>
                <a:gd name="connsiteX401" fmla="*/ 420931 w 511468"/>
                <a:gd name="connsiteY401" fmla="*/ 733179 h 857029"/>
                <a:gd name="connsiteX402" fmla="*/ 422663 w 511468"/>
                <a:gd name="connsiteY402" fmla="*/ 731824 h 857029"/>
                <a:gd name="connsiteX403" fmla="*/ 424947 w 511468"/>
                <a:gd name="connsiteY403" fmla="*/ 728365 h 857029"/>
                <a:gd name="connsiteX404" fmla="*/ 426672 w 511468"/>
                <a:gd name="connsiteY404" fmla="*/ 727855 h 857029"/>
                <a:gd name="connsiteX405" fmla="*/ 430156 w 511468"/>
                <a:gd name="connsiteY405" fmla="*/ 728042 h 857029"/>
                <a:gd name="connsiteX406" fmla="*/ 432382 w 511468"/>
                <a:gd name="connsiteY406" fmla="*/ 728354 h 857029"/>
                <a:gd name="connsiteX407" fmla="*/ 437523 w 511468"/>
                <a:gd name="connsiteY407" fmla="*/ 728457 h 857029"/>
                <a:gd name="connsiteX408" fmla="*/ 443438 w 511468"/>
                <a:gd name="connsiteY408" fmla="*/ 728247 h 857029"/>
                <a:gd name="connsiteX409" fmla="*/ 445150 w 511468"/>
                <a:gd name="connsiteY409" fmla="*/ 728145 h 857029"/>
                <a:gd name="connsiteX410" fmla="*/ 446096 w 511468"/>
                <a:gd name="connsiteY410" fmla="*/ 726941 h 857029"/>
                <a:gd name="connsiteX411" fmla="*/ 446031 w 511468"/>
                <a:gd name="connsiteY411" fmla="*/ 724773 h 857029"/>
                <a:gd name="connsiteX412" fmla="*/ 446876 w 511468"/>
                <a:gd name="connsiteY412" fmla="*/ 722774 h 857029"/>
                <a:gd name="connsiteX413" fmla="*/ 448448 w 511468"/>
                <a:gd name="connsiteY413" fmla="*/ 719015 h 857029"/>
                <a:gd name="connsiteX414" fmla="*/ 450128 w 511468"/>
                <a:gd name="connsiteY414" fmla="*/ 717048 h 857029"/>
                <a:gd name="connsiteX415" fmla="*/ 450059 w 511468"/>
                <a:gd name="connsiteY415" fmla="*/ 716172 h 857029"/>
                <a:gd name="connsiteX416" fmla="*/ 449180 w 511468"/>
                <a:gd name="connsiteY416" fmla="*/ 715803 h 857029"/>
                <a:gd name="connsiteX417" fmla="*/ 448033 w 511468"/>
                <a:gd name="connsiteY417" fmla="*/ 715619 h 857029"/>
                <a:gd name="connsiteX418" fmla="*/ 447617 w 511468"/>
                <a:gd name="connsiteY418" fmla="*/ 715213 h 857029"/>
                <a:gd name="connsiteX419" fmla="*/ 447670 w 511468"/>
                <a:gd name="connsiteY419" fmla="*/ 714387 h 857029"/>
                <a:gd name="connsiteX420" fmla="*/ 448554 w 511468"/>
                <a:gd name="connsiteY420" fmla="*/ 713580 h 857029"/>
                <a:gd name="connsiteX421" fmla="*/ 448394 w 511468"/>
                <a:gd name="connsiteY421" fmla="*/ 711918 h 857029"/>
                <a:gd name="connsiteX422" fmla="*/ 447839 w 511468"/>
                <a:gd name="connsiteY422" fmla="*/ 710071 h 857029"/>
                <a:gd name="connsiteX423" fmla="*/ 447355 w 511468"/>
                <a:gd name="connsiteY423" fmla="*/ 708409 h 857029"/>
                <a:gd name="connsiteX424" fmla="*/ 445803 w 511468"/>
                <a:gd name="connsiteY424" fmla="*/ 707583 h 857029"/>
                <a:gd name="connsiteX425" fmla="*/ 443133 w 511468"/>
                <a:gd name="connsiteY425" fmla="*/ 707034 h 857029"/>
                <a:gd name="connsiteX426" fmla="*/ 443702 w 511468"/>
                <a:gd name="connsiteY426" fmla="*/ 705010 h 857029"/>
                <a:gd name="connsiteX427" fmla="*/ 444457 w 511468"/>
                <a:gd name="connsiteY427" fmla="*/ 702823 h 857029"/>
                <a:gd name="connsiteX428" fmla="*/ 445591 w 511468"/>
                <a:gd name="connsiteY428" fmla="*/ 701607 h 857029"/>
                <a:gd name="connsiteX429" fmla="*/ 446409 w 511468"/>
                <a:gd name="connsiteY429" fmla="*/ 700877 h 857029"/>
                <a:gd name="connsiteX430" fmla="*/ 448869 w 511468"/>
                <a:gd name="connsiteY430" fmla="*/ 701275 h 857029"/>
                <a:gd name="connsiteX431" fmla="*/ 450646 w 511468"/>
                <a:gd name="connsiteY431" fmla="*/ 700887 h 857029"/>
                <a:gd name="connsiteX432" fmla="*/ 451069 w 511468"/>
                <a:gd name="connsiteY432" fmla="*/ 700468 h 857029"/>
                <a:gd name="connsiteX433" fmla="*/ 450750 w 511468"/>
                <a:gd name="connsiteY433" fmla="*/ 699633 h 857029"/>
                <a:gd name="connsiteX434" fmla="*/ 447977 w 511468"/>
                <a:gd name="connsiteY434" fmla="*/ 698876 h 857029"/>
                <a:gd name="connsiteX435" fmla="*/ 445535 w 511468"/>
                <a:gd name="connsiteY435" fmla="*/ 697836 h 857029"/>
                <a:gd name="connsiteX436" fmla="*/ 444481 w 511468"/>
                <a:gd name="connsiteY436" fmla="*/ 696550 h 857029"/>
                <a:gd name="connsiteX437" fmla="*/ 444058 w 511468"/>
                <a:gd name="connsiteY437" fmla="*/ 695171 h 857029"/>
                <a:gd name="connsiteX438" fmla="*/ 445671 w 511468"/>
                <a:gd name="connsiteY438" fmla="*/ 694353 h 857029"/>
                <a:gd name="connsiteX439" fmla="*/ 448551 w 511468"/>
                <a:gd name="connsiteY439" fmla="*/ 693568 h 857029"/>
                <a:gd name="connsiteX440" fmla="*/ 450467 w 511468"/>
                <a:gd name="connsiteY440" fmla="*/ 691689 h 857029"/>
                <a:gd name="connsiteX441" fmla="*/ 452538 w 511468"/>
                <a:gd name="connsiteY441" fmla="*/ 689675 h 857029"/>
                <a:gd name="connsiteX442" fmla="*/ 453395 w 511468"/>
                <a:gd name="connsiteY442" fmla="*/ 688208 h 857029"/>
                <a:gd name="connsiteX443" fmla="*/ 453827 w 511468"/>
                <a:gd name="connsiteY443" fmla="*/ 686615 h 857029"/>
                <a:gd name="connsiteX444" fmla="*/ 453779 w 511468"/>
                <a:gd name="connsiteY444" fmla="*/ 684850 h 857029"/>
                <a:gd name="connsiteX445" fmla="*/ 452268 w 511468"/>
                <a:gd name="connsiteY445" fmla="*/ 683053 h 857029"/>
                <a:gd name="connsiteX446" fmla="*/ 452268 w 511468"/>
                <a:gd name="connsiteY446" fmla="*/ 681173 h 857029"/>
                <a:gd name="connsiteX447" fmla="*/ 453088 w 511468"/>
                <a:gd name="connsiteY447" fmla="*/ 679864 h 857029"/>
                <a:gd name="connsiteX448" fmla="*/ 452773 w 511468"/>
                <a:gd name="connsiteY448" fmla="*/ 678882 h 857029"/>
                <a:gd name="connsiteX449" fmla="*/ 451667 w 511468"/>
                <a:gd name="connsiteY449" fmla="*/ 678312 h 857029"/>
                <a:gd name="connsiteX450" fmla="*/ 450072 w 511468"/>
                <a:gd name="connsiteY450" fmla="*/ 678483 h 857029"/>
                <a:gd name="connsiteX451" fmla="*/ 448266 w 511468"/>
                <a:gd name="connsiteY451" fmla="*/ 679146 h 857029"/>
                <a:gd name="connsiteX452" fmla="*/ 446137 w 511468"/>
                <a:gd name="connsiteY452" fmla="*/ 679021 h 857029"/>
                <a:gd name="connsiteX453" fmla="*/ 442732 w 511468"/>
                <a:gd name="connsiteY453" fmla="*/ 676761 h 857029"/>
                <a:gd name="connsiteX454" fmla="*/ 439110 w 511468"/>
                <a:gd name="connsiteY454" fmla="*/ 674536 h 857029"/>
                <a:gd name="connsiteX455" fmla="*/ 437025 w 511468"/>
                <a:gd name="connsiteY455" fmla="*/ 674461 h 857029"/>
                <a:gd name="connsiteX456" fmla="*/ 435576 w 511468"/>
                <a:gd name="connsiteY456" fmla="*/ 674133 h 857029"/>
                <a:gd name="connsiteX457" fmla="*/ 434317 w 511468"/>
                <a:gd name="connsiteY457" fmla="*/ 672985 h 857029"/>
                <a:gd name="connsiteX458" fmla="*/ 433561 w 511468"/>
                <a:gd name="connsiteY458" fmla="*/ 671508 h 857029"/>
                <a:gd name="connsiteX459" fmla="*/ 432743 w 511468"/>
                <a:gd name="connsiteY459" fmla="*/ 670853 h 857029"/>
                <a:gd name="connsiteX460" fmla="*/ 431419 w 511468"/>
                <a:gd name="connsiteY460" fmla="*/ 671262 h 857029"/>
                <a:gd name="connsiteX461" fmla="*/ 429490 w 511468"/>
                <a:gd name="connsiteY461" fmla="*/ 671934 h 857029"/>
                <a:gd name="connsiteX462" fmla="*/ 427072 w 511468"/>
                <a:gd name="connsiteY462" fmla="*/ 671753 h 857029"/>
                <a:gd name="connsiteX463" fmla="*/ 423939 w 511468"/>
                <a:gd name="connsiteY463" fmla="*/ 670035 h 857029"/>
                <a:gd name="connsiteX464" fmla="*/ 421088 w 511468"/>
                <a:gd name="connsiteY464" fmla="*/ 668058 h 857029"/>
                <a:gd name="connsiteX465" fmla="*/ 418970 w 511468"/>
                <a:gd name="connsiteY465" fmla="*/ 668009 h 857029"/>
                <a:gd name="connsiteX466" fmla="*/ 416742 w 511468"/>
                <a:gd name="connsiteY466" fmla="*/ 667735 h 857029"/>
                <a:gd name="connsiteX467" fmla="*/ 412483 w 511468"/>
                <a:gd name="connsiteY467" fmla="*/ 665187 h 857029"/>
                <a:gd name="connsiteX468" fmla="*/ 411380 w 511468"/>
                <a:gd name="connsiteY468" fmla="*/ 665212 h 857029"/>
                <a:gd name="connsiteX469" fmla="*/ 410691 w 511468"/>
                <a:gd name="connsiteY469" fmla="*/ 665965 h 857029"/>
                <a:gd name="connsiteX470" fmla="*/ 410363 w 511468"/>
                <a:gd name="connsiteY470" fmla="*/ 668010 h 857029"/>
                <a:gd name="connsiteX471" fmla="*/ 410011 w 511468"/>
                <a:gd name="connsiteY471" fmla="*/ 668447 h 857029"/>
                <a:gd name="connsiteX472" fmla="*/ 409253 w 511468"/>
                <a:gd name="connsiteY472" fmla="*/ 668781 h 857029"/>
                <a:gd name="connsiteX473" fmla="*/ 407802 w 511468"/>
                <a:gd name="connsiteY473" fmla="*/ 669006 h 857029"/>
                <a:gd name="connsiteX474" fmla="*/ 405666 w 511468"/>
                <a:gd name="connsiteY474" fmla="*/ 667731 h 857029"/>
                <a:gd name="connsiteX475" fmla="*/ 400224 w 511468"/>
                <a:gd name="connsiteY475" fmla="*/ 663548 h 857029"/>
                <a:gd name="connsiteX476" fmla="*/ 398033 w 511468"/>
                <a:gd name="connsiteY476" fmla="*/ 660486 h 857029"/>
                <a:gd name="connsiteX477" fmla="*/ 397530 w 511468"/>
                <a:gd name="connsiteY477" fmla="*/ 658260 h 857029"/>
                <a:gd name="connsiteX478" fmla="*/ 395739 w 511468"/>
                <a:gd name="connsiteY478" fmla="*/ 656844 h 857029"/>
                <a:gd name="connsiteX479" fmla="*/ 394003 w 511468"/>
                <a:gd name="connsiteY479" fmla="*/ 654792 h 857029"/>
                <a:gd name="connsiteX480" fmla="*/ 392241 w 511468"/>
                <a:gd name="connsiteY480" fmla="*/ 654614 h 857029"/>
                <a:gd name="connsiteX481" fmla="*/ 390289 w 511468"/>
                <a:gd name="connsiteY481" fmla="*/ 655271 h 857029"/>
                <a:gd name="connsiteX482" fmla="*/ 388436 w 511468"/>
                <a:gd name="connsiteY482" fmla="*/ 656259 h 857029"/>
                <a:gd name="connsiteX483" fmla="*/ 387555 w 511468"/>
                <a:gd name="connsiteY483" fmla="*/ 656531 h 857029"/>
                <a:gd name="connsiteX484" fmla="*/ 384398 w 511468"/>
                <a:gd name="connsiteY484" fmla="*/ 656877 h 857029"/>
                <a:gd name="connsiteX485" fmla="*/ 379326 w 511468"/>
                <a:gd name="connsiteY485" fmla="*/ 658260 h 857029"/>
                <a:gd name="connsiteX486" fmla="*/ 377939 w 511468"/>
                <a:gd name="connsiteY486" fmla="*/ 659580 h 857029"/>
                <a:gd name="connsiteX487" fmla="*/ 376238 w 511468"/>
                <a:gd name="connsiteY487" fmla="*/ 660651 h 857029"/>
                <a:gd name="connsiteX488" fmla="*/ 374916 w 511468"/>
                <a:gd name="connsiteY488" fmla="*/ 659909 h 857029"/>
                <a:gd name="connsiteX489" fmla="*/ 373593 w 511468"/>
                <a:gd name="connsiteY489" fmla="*/ 658589 h 857029"/>
                <a:gd name="connsiteX490" fmla="*/ 370697 w 511468"/>
                <a:gd name="connsiteY490" fmla="*/ 658115 h 857029"/>
                <a:gd name="connsiteX491" fmla="*/ 369309 w 511468"/>
                <a:gd name="connsiteY491" fmla="*/ 658589 h 857029"/>
                <a:gd name="connsiteX492" fmla="*/ 367922 w 511468"/>
                <a:gd name="connsiteY492" fmla="*/ 657682 h 857029"/>
                <a:gd name="connsiteX493" fmla="*/ 366730 w 511468"/>
                <a:gd name="connsiteY493" fmla="*/ 656058 h 857029"/>
                <a:gd name="connsiteX494" fmla="*/ 365115 w 511468"/>
                <a:gd name="connsiteY494" fmla="*/ 654877 h 857029"/>
                <a:gd name="connsiteX495" fmla="*/ 362714 w 511468"/>
                <a:gd name="connsiteY495" fmla="*/ 654554 h 857029"/>
                <a:gd name="connsiteX496" fmla="*/ 360114 w 511468"/>
                <a:gd name="connsiteY496" fmla="*/ 654049 h 857029"/>
                <a:gd name="connsiteX497" fmla="*/ 358034 w 511468"/>
                <a:gd name="connsiteY497" fmla="*/ 654958 h 857029"/>
                <a:gd name="connsiteX498" fmla="*/ 355326 w 511468"/>
                <a:gd name="connsiteY498" fmla="*/ 656691 h 857029"/>
                <a:gd name="connsiteX499" fmla="*/ 353500 w 511468"/>
                <a:gd name="connsiteY499" fmla="*/ 656031 h 857029"/>
                <a:gd name="connsiteX500" fmla="*/ 352491 w 511468"/>
                <a:gd name="connsiteY500" fmla="*/ 653965 h 857029"/>
                <a:gd name="connsiteX501" fmla="*/ 351230 w 511468"/>
                <a:gd name="connsiteY501" fmla="*/ 653387 h 857029"/>
                <a:gd name="connsiteX502" fmla="*/ 349531 w 511468"/>
                <a:gd name="connsiteY502" fmla="*/ 651070 h 857029"/>
                <a:gd name="connsiteX503" fmla="*/ 349090 w 511468"/>
                <a:gd name="connsiteY503" fmla="*/ 649000 h 857029"/>
                <a:gd name="connsiteX504" fmla="*/ 349531 w 511468"/>
                <a:gd name="connsiteY504" fmla="*/ 648090 h 857029"/>
                <a:gd name="connsiteX505" fmla="*/ 350161 w 511468"/>
                <a:gd name="connsiteY505" fmla="*/ 646930 h 857029"/>
                <a:gd name="connsiteX506" fmla="*/ 350161 w 511468"/>
                <a:gd name="connsiteY506" fmla="*/ 645603 h 857029"/>
                <a:gd name="connsiteX507" fmla="*/ 349658 w 511468"/>
                <a:gd name="connsiteY507" fmla="*/ 644441 h 857029"/>
                <a:gd name="connsiteX508" fmla="*/ 348902 w 511468"/>
                <a:gd name="connsiteY508" fmla="*/ 643528 h 857029"/>
                <a:gd name="connsiteX509" fmla="*/ 348082 w 511468"/>
                <a:gd name="connsiteY509" fmla="*/ 640455 h 857029"/>
                <a:gd name="connsiteX510" fmla="*/ 347389 w 511468"/>
                <a:gd name="connsiteY510" fmla="*/ 639124 h 857029"/>
                <a:gd name="connsiteX511" fmla="*/ 347263 w 511468"/>
                <a:gd name="connsiteY511" fmla="*/ 638044 h 857029"/>
                <a:gd name="connsiteX512" fmla="*/ 347831 w 511468"/>
                <a:gd name="connsiteY512" fmla="*/ 637044 h 857029"/>
                <a:gd name="connsiteX513" fmla="*/ 347326 w 511468"/>
                <a:gd name="connsiteY513" fmla="*/ 636379 h 857029"/>
                <a:gd name="connsiteX514" fmla="*/ 346380 w 511468"/>
                <a:gd name="connsiteY514" fmla="*/ 636295 h 857029"/>
                <a:gd name="connsiteX515" fmla="*/ 344808 w 511468"/>
                <a:gd name="connsiteY515" fmla="*/ 636379 h 857029"/>
                <a:gd name="connsiteX516" fmla="*/ 343925 w 511468"/>
                <a:gd name="connsiteY516" fmla="*/ 635879 h 857029"/>
                <a:gd name="connsiteX517" fmla="*/ 342979 w 511468"/>
                <a:gd name="connsiteY517" fmla="*/ 634129 h 857029"/>
                <a:gd name="connsiteX518" fmla="*/ 342476 w 511468"/>
                <a:gd name="connsiteY518" fmla="*/ 632379 h 857029"/>
                <a:gd name="connsiteX519" fmla="*/ 341845 w 511468"/>
                <a:gd name="connsiteY519" fmla="*/ 631712 h 857029"/>
                <a:gd name="connsiteX520" fmla="*/ 340213 w 511468"/>
                <a:gd name="connsiteY520" fmla="*/ 631761 h 857029"/>
                <a:gd name="connsiteX521" fmla="*/ 337522 w 511468"/>
                <a:gd name="connsiteY521" fmla="*/ 632128 h 857029"/>
                <a:gd name="connsiteX522" fmla="*/ 335130 w 511468"/>
                <a:gd name="connsiteY522" fmla="*/ 632710 h 857029"/>
                <a:gd name="connsiteX523" fmla="*/ 334067 w 511468"/>
                <a:gd name="connsiteY523" fmla="*/ 632626 h 857029"/>
                <a:gd name="connsiteX524" fmla="*/ 331955 w 511468"/>
                <a:gd name="connsiteY524" fmla="*/ 631721 h 857029"/>
                <a:gd name="connsiteX525" fmla="*/ 329174 w 511468"/>
                <a:gd name="connsiteY525" fmla="*/ 630727 h 857029"/>
                <a:gd name="connsiteX526" fmla="*/ 323495 w 511468"/>
                <a:gd name="connsiteY526" fmla="*/ 630530 h 857029"/>
                <a:gd name="connsiteX527" fmla="*/ 323046 w 511468"/>
                <a:gd name="connsiteY527" fmla="*/ 630191 h 857029"/>
                <a:gd name="connsiteX528" fmla="*/ 323368 w 511468"/>
                <a:gd name="connsiteY528" fmla="*/ 629561 h 857029"/>
                <a:gd name="connsiteX529" fmla="*/ 324523 w 511468"/>
                <a:gd name="connsiteY529" fmla="*/ 628540 h 857029"/>
                <a:gd name="connsiteX530" fmla="*/ 324398 w 511468"/>
                <a:gd name="connsiteY530" fmla="*/ 627704 h 857029"/>
                <a:gd name="connsiteX531" fmla="*/ 323400 w 511468"/>
                <a:gd name="connsiteY531" fmla="*/ 627028 h 857029"/>
                <a:gd name="connsiteX532" fmla="*/ 322884 w 511468"/>
                <a:gd name="connsiteY532" fmla="*/ 625364 h 857029"/>
                <a:gd name="connsiteX533" fmla="*/ 322944 w 511468"/>
                <a:gd name="connsiteY533" fmla="*/ 623480 h 857029"/>
                <a:gd name="connsiteX534" fmla="*/ 322759 w 511468"/>
                <a:gd name="connsiteY534" fmla="*/ 621430 h 857029"/>
                <a:gd name="connsiteX535" fmla="*/ 321562 w 511468"/>
                <a:gd name="connsiteY535" fmla="*/ 619837 h 857029"/>
                <a:gd name="connsiteX536" fmla="*/ 320869 w 511468"/>
                <a:gd name="connsiteY536" fmla="*/ 618748 h 857029"/>
                <a:gd name="connsiteX537" fmla="*/ 320994 w 511468"/>
                <a:gd name="connsiteY537" fmla="*/ 617741 h 857029"/>
                <a:gd name="connsiteX538" fmla="*/ 323605 w 511468"/>
                <a:gd name="connsiteY538" fmla="*/ 617356 h 857029"/>
                <a:gd name="connsiteX539" fmla="*/ 326704 w 511468"/>
                <a:gd name="connsiteY539" fmla="*/ 616641 h 857029"/>
                <a:gd name="connsiteX540" fmla="*/ 327222 w 511468"/>
                <a:gd name="connsiteY540" fmla="*/ 615904 h 857029"/>
                <a:gd name="connsiteX541" fmla="*/ 327114 w 511468"/>
                <a:gd name="connsiteY541" fmla="*/ 614757 h 857029"/>
                <a:gd name="connsiteX542" fmla="*/ 320817 w 511468"/>
                <a:gd name="connsiteY542" fmla="*/ 608875 h 857029"/>
                <a:gd name="connsiteX543" fmla="*/ 318656 w 511468"/>
                <a:gd name="connsiteY543" fmla="*/ 603657 h 857029"/>
                <a:gd name="connsiteX544" fmla="*/ 316594 w 511468"/>
                <a:gd name="connsiteY544" fmla="*/ 600825 h 857029"/>
                <a:gd name="connsiteX545" fmla="*/ 314311 w 511468"/>
                <a:gd name="connsiteY545" fmla="*/ 598921 h 857029"/>
                <a:gd name="connsiteX546" fmla="*/ 312463 w 511468"/>
                <a:gd name="connsiteY546" fmla="*/ 598056 h 857029"/>
                <a:gd name="connsiteX547" fmla="*/ 309768 w 511468"/>
                <a:gd name="connsiteY547" fmla="*/ 598417 h 857029"/>
                <a:gd name="connsiteX548" fmla="*/ 306196 w 511468"/>
                <a:gd name="connsiteY548" fmla="*/ 598382 h 857029"/>
                <a:gd name="connsiteX549" fmla="*/ 302553 w 511468"/>
                <a:gd name="connsiteY549" fmla="*/ 597795 h 857029"/>
                <a:gd name="connsiteX550" fmla="*/ 299487 w 511468"/>
                <a:gd name="connsiteY550" fmla="*/ 598185 h 857029"/>
                <a:gd name="connsiteX551" fmla="*/ 293987 w 511468"/>
                <a:gd name="connsiteY551" fmla="*/ 600681 h 857029"/>
                <a:gd name="connsiteX552" fmla="*/ 291925 w 511468"/>
                <a:gd name="connsiteY552" fmla="*/ 600791 h 857029"/>
                <a:gd name="connsiteX553" fmla="*/ 288364 w 511468"/>
                <a:gd name="connsiteY553" fmla="*/ 600006 h 857029"/>
                <a:gd name="connsiteX554" fmla="*/ 285324 w 511468"/>
                <a:gd name="connsiteY554" fmla="*/ 599132 h 857029"/>
                <a:gd name="connsiteX555" fmla="*/ 283721 w 511468"/>
                <a:gd name="connsiteY555" fmla="*/ 599171 h 857029"/>
                <a:gd name="connsiteX556" fmla="*/ 282745 w 511468"/>
                <a:gd name="connsiteY556" fmla="*/ 599539 h 857029"/>
                <a:gd name="connsiteX557" fmla="*/ 282119 w 511468"/>
                <a:gd name="connsiteY557" fmla="*/ 600213 h 857029"/>
                <a:gd name="connsiteX558" fmla="*/ 280346 w 511468"/>
                <a:gd name="connsiteY558" fmla="*/ 604899 h 857029"/>
                <a:gd name="connsiteX559" fmla="*/ 278887 w 511468"/>
                <a:gd name="connsiteY559" fmla="*/ 605819 h 857029"/>
                <a:gd name="connsiteX560" fmla="*/ 276796 w 511468"/>
                <a:gd name="connsiteY560" fmla="*/ 606776 h 857029"/>
                <a:gd name="connsiteX561" fmla="*/ 275012 w 511468"/>
                <a:gd name="connsiteY561" fmla="*/ 606941 h 857029"/>
                <a:gd name="connsiteX562" fmla="*/ 273514 w 511468"/>
                <a:gd name="connsiteY562" fmla="*/ 606893 h 857029"/>
                <a:gd name="connsiteX563" fmla="*/ 271342 w 511468"/>
                <a:gd name="connsiteY563" fmla="*/ 606175 h 857029"/>
                <a:gd name="connsiteX564" fmla="*/ 269281 w 511468"/>
                <a:gd name="connsiteY564" fmla="*/ 605331 h 857029"/>
                <a:gd name="connsiteX565" fmla="*/ 268860 w 511468"/>
                <a:gd name="connsiteY565" fmla="*/ 605282 h 857029"/>
                <a:gd name="connsiteX566" fmla="*/ 268755 w 511468"/>
                <a:gd name="connsiteY566" fmla="*/ 604549 h 857029"/>
                <a:gd name="connsiteX567" fmla="*/ 267252 w 511468"/>
                <a:gd name="connsiteY567" fmla="*/ 601739 h 857029"/>
                <a:gd name="connsiteX568" fmla="*/ 266351 w 511468"/>
                <a:gd name="connsiteY568" fmla="*/ 600507 h 857029"/>
                <a:gd name="connsiteX569" fmla="*/ 265282 w 511468"/>
                <a:gd name="connsiteY569" fmla="*/ 599836 h 857029"/>
                <a:gd name="connsiteX570" fmla="*/ 264747 w 511468"/>
                <a:gd name="connsiteY570" fmla="*/ 599020 h 857029"/>
                <a:gd name="connsiteX571" fmla="*/ 264730 w 511468"/>
                <a:gd name="connsiteY571" fmla="*/ 595642 h 857029"/>
                <a:gd name="connsiteX572" fmla="*/ 264928 w 511468"/>
                <a:gd name="connsiteY572" fmla="*/ 592475 h 857029"/>
                <a:gd name="connsiteX573" fmla="*/ 265600 w 511468"/>
                <a:gd name="connsiteY573" fmla="*/ 592067 h 857029"/>
                <a:gd name="connsiteX574" fmla="*/ 263615 w 511468"/>
                <a:gd name="connsiteY574" fmla="*/ 589481 h 857029"/>
                <a:gd name="connsiteX575" fmla="*/ 263466 w 511468"/>
                <a:gd name="connsiteY575" fmla="*/ 587521 h 857029"/>
                <a:gd name="connsiteX576" fmla="*/ 264440 w 511468"/>
                <a:gd name="connsiteY576" fmla="*/ 586545 h 857029"/>
                <a:gd name="connsiteX577" fmla="*/ 264470 w 511468"/>
                <a:gd name="connsiteY577" fmla="*/ 585716 h 857029"/>
                <a:gd name="connsiteX578" fmla="*/ 263814 w 511468"/>
                <a:gd name="connsiteY578" fmla="*/ 584551 h 857029"/>
                <a:gd name="connsiteX579" fmla="*/ 261771 w 511468"/>
                <a:gd name="connsiteY579" fmla="*/ 582651 h 857029"/>
                <a:gd name="connsiteX580" fmla="*/ 259787 w 511468"/>
                <a:gd name="connsiteY580" fmla="*/ 580509 h 857029"/>
                <a:gd name="connsiteX581" fmla="*/ 258506 w 511468"/>
                <a:gd name="connsiteY581" fmla="*/ 578823 h 857029"/>
                <a:gd name="connsiteX582" fmla="*/ 257703 w 511468"/>
                <a:gd name="connsiteY582" fmla="*/ 578017 h 857029"/>
                <a:gd name="connsiteX583" fmla="*/ 258679 w 511468"/>
                <a:gd name="connsiteY583" fmla="*/ 576693 h 857029"/>
                <a:gd name="connsiteX584" fmla="*/ 260042 w 511468"/>
                <a:gd name="connsiteY584" fmla="*/ 574352 h 857029"/>
                <a:gd name="connsiteX585" fmla="*/ 260568 w 511468"/>
                <a:gd name="connsiteY585" fmla="*/ 572977 h 857029"/>
                <a:gd name="connsiteX586" fmla="*/ 261221 w 511468"/>
                <a:gd name="connsiteY586" fmla="*/ 572640 h 857029"/>
                <a:gd name="connsiteX587" fmla="*/ 264429 w 511468"/>
                <a:gd name="connsiteY587" fmla="*/ 572446 h 857029"/>
                <a:gd name="connsiteX588" fmla="*/ 266757 w 511468"/>
                <a:gd name="connsiteY588" fmla="*/ 572493 h 857029"/>
                <a:gd name="connsiteX589" fmla="*/ 268508 w 511468"/>
                <a:gd name="connsiteY589" fmla="*/ 572996 h 857029"/>
                <a:gd name="connsiteX590" fmla="*/ 269171 w 511468"/>
                <a:gd name="connsiteY590" fmla="*/ 574115 h 857029"/>
                <a:gd name="connsiteX591" fmla="*/ 270769 w 511468"/>
                <a:gd name="connsiteY591" fmla="*/ 575335 h 857029"/>
                <a:gd name="connsiteX592" fmla="*/ 275319 w 511468"/>
                <a:gd name="connsiteY592" fmla="*/ 575837 h 857029"/>
                <a:gd name="connsiteX593" fmla="*/ 277232 w 511468"/>
                <a:gd name="connsiteY593" fmla="*/ 575786 h 857029"/>
                <a:gd name="connsiteX594" fmla="*/ 279636 w 511468"/>
                <a:gd name="connsiteY594" fmla="*/ 574670 h 857029"/>
                <a:gd name="connsiteX595" fmla="*/ 283518 w 511468"/>
                <a:gd name="connsiteY595" fmla="*/ 572203 h 857029"/>
                <a:gd name="connsiteX596" fmla="*/ 284471 w 511468"/>
                <a:gd name="connsiteY596" fmla="*/ 570409 h 857029"/>
                <a:gd name="connsiteX597" fmla="*/ 286874 w 511468"/>
                <a:gd name="connsiteY597" fmla="*/ 569144 h 857029"/>
                <a:gd name="connsiteX598" fmla="*/ 288342 w 511468"/>
                <a:gd name="connsiteY598" fmla="*/ 568648 h 857029"/>
                <a:gd name="connsiteX599" fmla="*/ 289666 w 511468"/>
                <a:gd name="connsiteY599" fmla="*/ 568425 h 857029"/>
                <a:gd name="connsiteX600" fmla="*/ 289798 w 511468"/>
                <a:gd name="connsiteY600" fmla="*/ 567369 h 857029"/>
                <a:gd name="connsiteX601" fmla="*/ 289713 w 511468"/>
                <a:gd name="connsiteY601" fmla="*/ 565924 h 857029"/>
                <a:gd name="connsiteX602" fmla="*/ 289256 w 511468"/>
                <a:gd name="connsiteY602" fmla="*/ 565060 h 857029"/>
                <a:gd name="connsiteX603" fmla="*/ 284477 w 511468"/>
                <a:gd name="connsiteY603" fmla="*/ 562081 h 857029"/>
                <a:gd name="connsiteX604" fmla="*/ 283875 w 511468"/>
                <a:gd name="connsiteY604" fmla="*/ 561108 h 857029"/>
                <a:gd name="connsiteX605" fmla="*/ 283494 w 511468"/>
                <a:gd name="connsiteY605" fmla="*/ 559960 h 857029"/>
                <a:gd name="connsiteX606" fmla="*/ 284064 w 511468"/>
                <a:gd name="connsiteY606" fmla="*/ 558872 h 857029"/>
                <a:gd name="connsiteX607" fmla="*/ 284047 w 511468"/>
                <a:gd name="connsiteY607" fmla="*/ 557676 h 857029"/>
                <a:gd name="connsiteX608" fmla="*/ 278524 w 511468"/>
                <a:gd name="connsiteY608" fmla="*/ 555006 h 857029"/>
                <a:gd name="connsiteX609" fmla="*/ 273920 w 511468"/>
                <a:gd name="connsiteY609" fmla="*/ 554533 h 857029"/>
                <a:gd name="connsiteX610" fmla="*/ 270130 w 511468"/>
                <a:gd name="connsiteY610" fmla="*/ 554683 h 857029"/>
                <a:gd name="connsiteX611" fmla="*/ 268657 w 511468"/>
                <a:gd name="connsiteY611" fmla="*/ 554123 h 857029"/>
                <a:gd name="connsiteX612" fmla="*/ 269294 w 511468"/>
                <a:gd name="connsiteY612" fmla="*/ 552775 h 857029"/>
                <a:gd name="connsiteX613" fmla="*/ 270229 w 511468"/>
                <a:gd name="connsiteY613" fmla="*/ 550351 h 857029"/>
                <a:gd name="connsiteX614" fmla="*/ 270506 w 511468"/>
                <a:gd name="connsiteY614" fmla="*/ 548356 h 857029"/>
                <a:gd name="connsiteX615" fmla="*/ 270244 w 511468"/>
                <a:gd name="connsiteY615" fmla="*/ 547448 h 857029"/>
                <a:gd name="connsiteX616" fmla="*/ 269493 w 511468"/>
                <a:gd name="connsiteY616" fmla="*/ 546684 h 857029"/>
                <a:gd name="connsiteX617" fmla="*/ 265876 w 511468"/>
                <a:gd name="connsiteY617" fmla="*/ 545005 h 857029"/>
                <a:gd name="connsiteX618" fmla="*/ 260905 w 511468"/>
                <a:gd name="connsiteY618" fmla="*/ 542429 h 857029"/>
                <a:gd name="connsiteX619" fmla="*/ 258595 w 511468"/>
                <a:gd name="connsiteY619" fmla="*/ 539515 h 857029"/>
                <a:gd name="connsiteX620" fmla="*/ 257409 w 511468"/>
                <a:gd name="connsiteY620" fmla="*/ 536469 h 857029"/>
                <a:gd name="connsiteX621" fmla="*/ 256066 w 511468"/>
                <a:gd name="connsiteY621" fmla="*/ 534599 h 857029"/>
                <a:gd name="connsiteX622" fmla="*/ 253635 w 511468"/>
                <a:gd name="connsiteY622" fmla="*/ 533414 h 857029"/>
                <a:gd name="connsiteX623" fmla="*/ 253792 w 511468"/>
                <a:gd name="connsiteY623" fmla="*/ 532641 h 857029"/>
                <a:gd name="connsiteX624" fmla="*/ 255405 w 511468"/>
                <a:gd name="connsiteY624" fmla="*/ 529773 h 857029"/>
                <a:gd name="connsiteX625" fmla="*/ 255345 w 511468"/>
                <a:gd name="connsiteY625" fmla="*/ 529333 h 857029"/>
                <a:gd name="connsiteX626" fmla="*/ 254662 w 511468"/>
                <a:gd name="connsiteY626" fmla="*/ 528625 h 857029"/>
                <a:gd name="connsiteX627" fmla="*/ 251630 w 511468"/>
                <a:gd name="connsiteY627" fmla="*/ 527174 h 857029"/>
                <a:gd name="connsiteX628" fmla="*/ 247532 w 511468"/>
                <a:gd name="connsiteY628" fmla="*/ 524498 h 857029"/>
                <a:gd name="connsiteX629" fmla="*/ 247359 w 511468"/>
                <a:gd name="connsiteY629" fmla="*/ 523800 h 857029"/>
                <a:gd name="connsiteX630" fmla="*/ 247657 w 511468"/>
                <a:gd name="connsiteY630" fmla="*/ 522116 h 857029"/>
                <a:gd name="connsiteX631" fmla="*/ 248219 w 511468"/>
                <a:gd name="connsiteY631" fmla="*/ 520457 h 857029"/>
                <a:gd name="connsiteX632" fmla="*/ 249035 w 511468"/>
                <a:gd name="connsiteY632" fmla="*/ 519666 h 857029"/>
                <a:gd name="connsiteX633" fmla="*/ 251488 w 511468"/>
                <a:gd name="connsiteY633" fmla="*/ 516293 h 857029"/>
                <a:gd name="connsiteX634" fmla="*/ 251488 w 511468"/>
                <a:gd name="connsiteY634" fmla="*/ 515145 h 857029"/>
                <a:gd name="connsiteX635" fmla="*/ 251071 w 511468"/>
                <a:gd name="connsiteY635" fmla="*/ 513612 h 857029"/>
                <a:gd name="connsiteX636" fmla="*/ 249270 w 511468"/>
                <a:gd name="connsiteY636" fmla="*/ 510966 h 857029"/>
                <a:gd name="connsiteX637" fmla="*/ 247878 w 511468"/>
                <a:gd name="connsiteY637" fmla="*/ 509262 h 857029"/>
                <a:gd name="connsiteX638" fmla="*/ 247791 w 511468"/>
                <a:gd name="connsiteY638" fmla="*/ 508389 h 857029"/>
                <a:gd name="connsiteX639" fmla="*/ 248022 w 511468"/>
                <a:gd name="connsiteY639" fmla="*/ 507670 h 857029"/>
                <a:gd name="connsiteX640" fmla="*/ 248925 w 511468"/>
                <a:gd name="connsiteY640" fmla="*/ 506740 h 857029"/>
                <a:gd name="connsiteX641" fmla="*/ 249782 w 511468"/>
                <a:gd name="connsiteY641" fmla="*/ 505596 h 857029"/>
                <a:gd name="connsiteX642" fmla="*/ 249963 w 511468"/>
                <a:gd name="connsiteY642" fmla="*/ 501639 h 857029"/>
                <a:gd name="connsiteX643" fmla="*/ 249920 w 511468"/>
                <a:gd name="connsiteY643" fmla="*/ 500255 h 857029"/>
                <a:gd name="connsiteX644" fmla="*/ 249376 w 511468"/>
                <a:gd name="connsiteY644" fmla="*/ 499438 h 857029"/>
                <a:gd name="connsiteX645" fmla="*/ 248795 w 511468"/>
                <a:gd name="connsiteY645" fmla="*/ 499093 h 857029"/>
                <a:gd name="connsiteX646" fmla="*/ 247575 w 511468"/>
                <a:gd name="connsiteY646" fmla="*/ 499291 h 857029"/>
                <a:gd name="connsiteX647" fmla="*/ 245826 w 511468"/>
                <a:gd name="connsiteY647" fmla="*/ 498641 h 857029"/>
                <a:gd name="connsiteX648" fmla="*/ 244513 w 511468"/>
                <a:gd name="connsiteY648" fmla="*/ 497607 h 857029"/>
                <a:gd name="connsiteX649" fmla="*/ 243701 w 511468"/>
                <a:gd name="connsiteY649" fmla="*/ 497272 h 857029"/>
                <a:gd name="connsiteX650" fmla="*/ 242842 w 511468"/>
                <a:gd name="connsiteY650" fmla="*/ 496216 h 857029"/>
                <a:gd name="connsiteX651" fmla="*/ 240380 w 511468"/>
                <a:gd name="connsiteY651" fmla="*/ 494089 h 857029"/>
                <a:gd name="connsiteX652" fmla="*/ 239957 w 511468"/>
                <a:gd name="connsiteY652" fmla="*/ 493529 h 857029"/>
                <a:gd name="connsiteX653" fmla="*/ 235033 w 511468"/>
                <a:gd name="connsiteY653" fmla="*/ 491714 h 857029"/>
                <a:gd name="connsiteX654" fmla="*/ 230812 w 511468"/>
                <a:gd name="connsiteY654" fmla="*/ 491987 h 857029"/>
                <a:gd name="connsiteX655" fmla="*/ 228476 w 511468"/>
                <a:gd name="connsiteY655" fmla="*/ 491712 h 857029"/>
                <a:gd name="connsiteX656" fmla="*/ 227251 w 511468"/>
                <a:gd name="connsiteY656" fmla="*/ 492115 h 857029"/>
                <a:gd name="connsiteX657" fmla="*/ 225975 w 511468"/>
                <a:gd name="connsiteY657" fmla="*/ 493271 h 857029"/>
                <a:gd name="connsiteX658" fmla="*/ 224211 w 511468"/>
                <a:gd name="connsiteY658" fmla="*/ 494039 h 857029"/>
                <a:gd name="connsiteX659" fmla="*/ 222893 w 511468"/>
                <a:gd name="connsiteY659" fmla="*/ 494060 h 857029"/>
                <a:gd name="connsiteX660" fmla="*/ 221688 w 511468"/>
                <a:gd name="connsiteY660" fmla="*/ 494636 h 857029"/>
                <a:gd name="connsiteX661" fmla="*/ 218419 w 511468"/>
                <a:gd name="connsiteY661" fmla="*/ 496704 h 857029"/>
                <a:gd name="connsiteX662" fmla="*/ 216888 w 511468"/>
                <a:gd name="connsiteY662" fmla="*/ 495454 h 857029"/>
                <a:gd name="connsiteX663" fmla="*/ 215571 w 511468"/>
                <a:gd name="connsiteY663" fmla="*/ 493605 h 857029"/>
                <a:gd name="connsiteX664" fmla="*/ 216007 w 511468"/>
                <a:gd name="connsiteY664" fmla="*/ 492040 h 857029"/>
                <a:gd name="connsiteX665" fmla="*/ 216556 w 511468"/>
                <a:gd name="connsiteY665" fmla="*/ 490599 h 857029"/>
                <a:gd name="connsiteX666" fmla="*/ 216515 w 511468"/>
                <a:gd name="connsiteY666" fmla="*/ 489630 h 857029"/>
                <a:gd name="connsiteX667" fmla="*/ 216048 w 511468"/>
                <a:gd name="connsiteY667" fmla="*/ 488804 h 857029"/>
                <a:gd name="connsiteX668" fmla="*/ 214014 w 511468"/>
                <a:gd name="connsiteY668" fmla="*/ 487896 h 857029"/>
                <a:gd name="connsiteX669" fmla="*/ 209689 w 511468"/>
                <a:gd name="connsiteY669" fmla="*/ 486237 h 857029"/>
                <a:gd name="connsiteX670" fmla="*/ 208458 w 511468"/>
                <a:gd name="connsiteY670" fmla="*/ 486217 h 857029"/>
                <a:gd name="connsiteX671" fmla="*/ 206594 w 511468"/>
                <a:gd name="connsiteY671" fmla="*/ 486830 h 857029"/>
                <a:gd name="connsiteX672" fmla="*/ 203217 w 511468"/>
                <a:gd name="connsiteY672" fmla="*/ 488684 h 857029"/>
                <a:gd name="connsiteX673" fmla="*/ 202025 w 511468"/>
                <a:gd name="connsiteY673" fmla="*/ 488286 h 857029"/>
                <a:gd name="connsiteX674" fmla="*/ 200920 w 511468"/>
                <a:gd name="connsiteY674" fmla="*/ 486813 h 857029"/>
                <a:gd name="connsiteX675" fmla="*/ 199728 w 511468"/>
                <a:gd name="connsiteY675" fmla="*/ 484970 h 857029"/>
                <a:gd name="connsiteX676" fmla="*/ 198115 w 511468"/>
                <a:gd name="connsiteY676" fmla="*/ 484027 h 857029"/>
                <a:gd name="connsiteX677" fmla="*/ 194644 w 511468"/>
                <a:gd name="connsiteY677" fmla="*/ 484120 h 857029"/>
                <a:gd name="connsiteX678" fmla="*/ 194314 w 511468"/>
                <a:gd name="connsiteY678" fmla="*/ 484191 h 857029"/>
                <a:gd name="connsiteX679" fmla="*/ 192638 w 511468"/>
                <a:gd name="connsiteY679" fmla="*/ 485258 h 857029"/>
                <a:gd name="connsiteX680" fmla="*/ 191930 w 511468"/>
                <a:gd name="connsiteY680" fmla="*/ 485152 h 857029"/>
                <a:gd name="connsiteX681" fmla="*/ 188916 w 511468"/>
                <a:gd name="connsiteY681" fmla="*/ 482437 h 857029"/>
                <a:gd name="connsiteX682" fmla="*/ 189477 w 511468"/>
                <a:gd name="connsiteY682" fmla="*/ 480956 h 857029"/>
                <a:gd name="connsiteX683" fmla="*/ 190112 w 511468"/>
                <a:gd name="connsiteY683" fmla="*/ 478766 h 857029"/>
                <a:gd name="connsiteX684" fmla="*/ 189883 w 511468"/>
                <a:gd name="connsiteY684" fmla="*/ 477040 h 857029"/>
                <a:gd name="connsiteX685" fmla="*/ 189386 w 511468"/>
                <a:gd name="connsiteY685" fmla="*/ 474807 h 857029"/>
                <a:gd name="connsiteX686" fmla="*/ 188095 w 511468"/>
                <a:gd name="connsiteY686" fmla="*/ 470924 h 857029"/>
                <a:gd name="connsiteX687" fmla="*/ 187924 w 511468"/>
                <a:gd name="connsiteY687" fmla="*/ 469825 h 857029"/>
                <a:gd name="connsiteX688" fmla="*/ 185810 w 511468"/>
                <a:gd name="connsiteY688" fmla="*/ 468124 h 857029"/>
                <a:gd name="connsiteX689" fmla="*/ 185458 w 511468"/>
                <a:gd name="connsiteY689" fmla="*/ 466695 h 857029"/>
                <a:gd name="connsiteX690" fmla="*/ 184348 w 511468"/>
                <a:gd name="connsiteY690" fmla="*/ 464858 h 857029"/>
                <a:gd name="connsiteX691" fmla="*/ 183258 w 511468"/>
                <a:gd name="connsiteY691" fmla="*/ 463682 h 857029"/>
                <a:gd name="connsiteX692" fmla="*/ 183025 w 511468"/>
                <a:gd name="connsiteY692" fmla="*/ 461064 h 857029"/>
                <a:gd name="connsiteX693" fmla="*/ 182297 w 511468"/>
                <a:gd name="connsiteY693" fmla="*/ 460142 h 857029"/>
                <a:gd name="connsiteX694" fmla="*/ 181356 w 511468"/>
                <a:gd name="connsiteY694" fmla="*/ 459710 h 857029"/>
                <a:gd name="connsiteX695" fmla="*/ 178030 w 511468"/>
                <a:gd name="connsiteY695" fmla="*/ 460463 h 857029"/>
                <a:gd name="connsiteX696" fmla="*/ 177672 w 511468"/>
                <a:gd name="connsiteY696" fmla="*/ 460386 h 857029"/>
                <a:gd name="connsiteX697" fmla="*/ 179257 w 511468"/>
                <a:gd name="connsiteY697" fmla="*/ 456207 h 857029"/>
                <a:gd name="connsiteX698" fmla="*/ 179395 w 511468"/>
                <a:gd name="connsiteY698" fmla="*/ 453786 h 857029"/>
                <a:gd name="connsiteX699" fmla="*/ 180399 w 511468"/>
                <a:gd name="connsiteY699" fmla="*/ 451240 h 857029"/>
                <a:gd name="connsiteX700" fmla="*/ 181543 w 511468"/>
                <a:gd name="connsiteY700" fmla="*/ 450233 h 857029"/>
                <a:gd name="connsiteX701" fmla="*/ 181891 w 511468"/>
                <a:gd name="connsiteY701" fmla="*/ 449359 h 857029"/>
                <a:gd name="connsiteX702" fmla="*/ 182068 w 511468"/>
                <a:gd name="connsiteY702" fmla="*/ 447671 h 857029"/>
                <a:gd name="connsiteX703" fmla="*/ 181854 w 511468"/>
                <a:gd name="connsiteY703" fmla="*/ 446224 h 857029"/>
                <a:gd name="connsiteX704" fmla="*/ 181153 w 511468"/>
                <a:gd name="connsiteY704" fmla="*/ 445474 h 857029"/>
                <a:gd name="connsiteX705" fmla="*/ 178408 w 511468"/>
                <a:gd name="connsiteY705" fmla="*/ 443849 h 857029"/>
                <a:gd name="connsiteX706" fmla="*/ 175443 w 511468"/>
                <a:gd name="connsiteY706" fmla="*/ 441889 h 857029"/>
                <a:gd name="connsiteX707" fmla="*/ 174834 w 511468"/>
                <a:gd name="connsiteY707" fmla="*/ 439396 h 857029"/>
                <a:gd name="connsiteX708" fmla="*/ 173918 w 511468"/>
                <a:gd name="connsiteY708" fmla="*/ 438890 h 857029"/>
                <a:gd name="connsiteX709" fmla="*/ 171314 w 511468"/>
                <a:gd name="connsiteY709" fmla="*/ 438760 h 857029"/>
                <a:gd name="connsiteX710" fmla="*/ 171366 w 511468"/>
                <a:gd name="connsiteY710" fmla="*/ 438054 h 857029"/>
                <a:gd name="connsiteX711" fmla="*/ 171753 w 511468"/>
                <a:gd name="connsiteY711" fmla="*/ 436069 h 857029"/>
                <a:gd name="connsiteX712" fmla="*/ 172377 w 511468"/>
                <a:gd name="connsiteY712" fmla="*/ 434339 h 857029"/>
                <a:gd name="connsiteX713" fmla="*/ 174411 w 511468"/>
                <a:gd name="connsiteY713" fmla="*/ 432483 h 857029"/>
                <a:gd name="connsiteX714" fmla="*/ 174914 w 511468"/>
                <a:gd name="connsiteY714" fmla="*/ 431229 h 857029"/>
                <a:gd name="connsiteX715" fmla="*/ 175519 w 511468"/>
                <a:gd name="connsiteY715" fmla="*/ 430103 h 857029"/>
                <a:gd name="connsiteX716" fmla="*/ 180179 w 511468"/>
                <a:gd name="connsiteY716" fmla="*/ 428773 h 857029"/>
                <a:gd name="connsiteX717" fmla="*/ 180712 w 511468"/>
                <a:gd name="connsiteY717" fmla="*/ 428270 h 857029"/>
                <a:gd name="connsiteX718" fmla="*/ 180747 w 511468"/>
                <a:gd name="connsiteY718" fmla="*/ 427823 h 857029"/>
                <a:gd name="connsiteX719" fmla="*/ 180530 w 511468"/>
                <a:gd name="connsiteY719" fmla="*/ 427393 h 857029"/>
                <a:gd name="connsiteX720" fmla="*/ 179496 w 511468"/>
                <a:gd name="connsiteY720" fmla="*/ 426710 h 857029"/>
                <a:gd name="connsiteX721" fmla="*/ 178423 w 511468"/>
                <a:gd name="connsiteY721" fmla="*/ 425777 h 857029"/>
                <a:gd name="connsiteX722" fmla="*/ 177775 w 511468"/>
                <a:gd name="connsiteY722" fmla="*/ 423235 h 857029"/>
                <a:gd name="connsiteX723" fmla="*/ 176160 w 511468"/>
                <a:gd name="connsiteY723" fmla="*/ 419249 h 857029"/>
                <a:gd name="connsiteX724" fmla="*/ 174642 w 511468"/>
                <a:gd name="connsiteY724" fmla="*/ 416573 h 857029"/>
                <a:gd name="connsiteX725" fmla="*/ 174318 w 511468"/>
                <a:gd name="connsiteY725" fmla="*/ 415005 h 857029"/>
                <a:gd name="connsiteX726" fmla="*/ 174711 w 511468"/>
                <a:gd name="connsiteY726" fmla="*/ 413194 h 857029"/>
                <a:gd name="connsiteX727" fmla="*/ 175253 w 511468"/>
                <a:gd name="connsiteY727" fmla="*/ 411415 h 857029"/>
                <a:gd name="connsiteX728" fmla="*/ 175281 w 511468"/>
                <a:gd name="connsiteY728" fmla="*/ 409681 h 857029"/>
                <a:gd name="connsiteX729" fmla="*/ 172975 w 511468"/>
                <a:gd name="connsiteY729" fmla="*/ 400049 h 857029"/>
                <a:gd name="connsiteX730" fmla="*/ 173132 w 511468"/>
                <a:gd name="connsiteY730" fmla="*/ 398291 h 857029"/>
                <a:gd name="connsiteX731" fmla="*/ 173802 w 511468"/>
                <a:gd name="connsiteY731" fmla="*/ 396537 h 857029"/>
                <a:gd name="connsiteX732" fmla="*/ 174877 w 511468"/>
                <a:gd name="connsiteY732" fmla="*/ 395076 h 857029"/>
                <a:gd name="connsiteX733" fmla="*/ 177281 w 511468"/>
                <a:gd name="connsiteY733" fmla="*/ 393169 h 857029"/>
                <a:gd name="connsiteX734" fmla="*/ 180284 w 511468"/>
                <a:gd name="connsiteY734" fmla="*/ 389686 h 857029"/>
                <a:gd name="connsiteX735" fmla="*/ 182316 w 511468"/>
                <a:gd name="connsiteY735" fmla="*/ 385099 h 857029"/>
                <a:gd name="connsiteX736" fmla="*/ 183381 w 511468"/>
                <a:gd name="connsiteY736" fmla="*/ 382324 h 857029"/>
                <a:gd name="connsiteX737" fmla="*/ 184277 w 511468"/>
                <a:gd name="connsiteY737" fmla="*/ 381691 h 857029"/>
                <a:gd name="connsiteX738" fmla="*/ 186007 w 511468"/>
                <a:gd name="connsiteY738" fmla="*/ 381537 h 857029"/>
                <a:gd name="connsiteX739" fmla="*/ 186663 w 511468"/>
                <a:gd name="connsiteY739" fmla="*/ 380683 h 857029"/>
                <a:gd name="connsiteX740" fmla="*/ 187000 w 511468"/>
                <a:gd name="connsiteY740" fmla="*/ 380178 h 857029"/>
                <a:gd name="connsiteX741" fmla="*/ 188482 w 511468"/>
                <a:gd name="connsiteY741" fmla="*/ 379710 h 857029"/>
                <a:gd name="connsiteX742" fmla="*/ 188985 w 511468"/>
                <a:gd name="connsiteY742" fmla="*/ 379159 h 857029"/>
                <a:gd name="connsiteX743" fmla="*/ 188585 w 511468"/>
                <a:gd name="connsiteY743" fmla="*/ 378221 h 857029"/>
                <a:gd name="connsiteX744" fmla="*/ 187099 w 511468"/>
                <a:gd name="connsiteY744" fmla="*/ 376580 h 857029"/>
                <a:gd name="connsiteX745" fmla="*/ 185920 w 511468"/>
                <a:gd name="connsiteY745" fmla="*/ 375560 h 857029"/>
                <a:gd name="connsiteX746" fmla="*/ 187058 w 511468"/>
                <a:gd name="connsiteY746" fmla="*/ 373273 h 857029"/>
                <a:gd name="connsiteX747" fmla="*/ 186668 w 511468"/>
                <a:gd name="connsiteY747" fmla="*/ 370213 h 857029"/>
                <a:gd name="connsiteX748" fmla="*/ 185953 w 511468"/>
                <a:gd name="connsiteY748" fmla="*/ 367662 h 857029"/>
                <a:gd name="connsiteX749" fmla="*/ 186927 w 511468"/>
                <a:gd name="connsiteY749" fmla="*/ 365792 h 857029"/>
                <a:gd name="connsiteX750" fmla="*/ 188544 w 511468"/>
                <a:gd name="connsiteY750" fmla="*/ 365628 h 857029"/>
                <a:gd name="connsiteX751" fmla="*/ 190343 w 511468"/>
                <a:gd name="connsiteY751" fmla="*/ 367665 h 857029"/>
                <a:gd name="connsiteX752" fmla="*/ 193042 w 511468"/>
                <a:gd name="connsiteY752" fmla="*/ 368722 h 857029"/>
                <a:gd name="connsiteX753" fmla="*/ 195014 w 511468"/>
                <a:gd name="connsiteY753" fmla="*/ 367355 h 857029"/>
                <a:gd name="connsiteX754" fmla="*/ 195681 w 511468"/>
                <a:gd name="connsiteY754" fmla="*/ 364714 h 857029"/>
                <a:gd name="connsiteX755" fmla="*/ 197102 w 511468"/>
                <a:gd name="connsiteY755" fmla="*/ 363551 h 857029"/>
                <a:gd name="connsiteX756" fmla="*/ 198998 w 511468"/>
                <a:gd name="connsiteY756" fmla="*/ 364589 h 857029"/>
                <a:gd name="connsiteX757" fmla="*/ 202176 w 511468"/>
                <a:gd name="connsiteY757" fmla="*/ 364964 h 857029"/>
                <a:gd name="connsiteX758" fmla="*/ 204813 w 511468"/>
                <a:gd name="connsiteY758" fmla="*/ 364792 h 857029"/>
                <a:gd name="connsiteX759" fmla="*/ 206590 w 511468"/>
                <a:gd name="connsiteY759" fmla="*/ 364237 h 857029"/>
                <a:gd name="connsiteX760" fmla="*/ 207348 w 511468"/>
                <a:gd name="connsiteY760" fmla="*/ 363378 h 857029"/>
                <a:gd name="connsiteX761" fmla="*/ 208052 w 511468"/>
                <a:gd name="connsiteY761" fmla="*/ 361836 h 857029"/>
                <a:gd name="connsiteX762" fmla="*/ 209505 w 511468"/>
                <a:gd name="connsiteY762" fmla="*/ 359874 h 857029"/>
                <a:gd name="connsiteX763" fmla="*/ 211013 w 511468"/>
                <a:gd name="connsiteY763" fmla="*/ 358593 h 857029"/>
                <a:gd name="connsiteX764" fmla="*/ 222565 w 511468"/>
                <a:gd name="connsiteY764" fmla="*/ 360050 h 857029"/>
                <a:gd name="connsiteX765" fmla="*/ 232578 w 511468"/>
                <a:gd name="connsiteY765" fmla="*/ 362759 h 857029"/>
                <a:gd name="connsiteX766" fmla="*/ 233336 w 511468"/>
                <a:gd name="connsiteY766" fmla="*/ 361745 h 857029"/>
                <a:gd name="connsiteX767" fmla="*/ 233686 w 511468"/>
                <a:gd name="connsiteY767" fmla="*/ 360001 h 857029"/>
                <a:gd name="connsiteX768" fmla="*/ 231194 w 511468"/>
                <a:gd name="connsiteY768" fmla="*/ 358500 h 857029"/>
                <a:gd name="connsiteX769" fmla="*/ 229354 w 511468"/>
                <a:gd name="connsiteY769" fmla="*/ 357714 h 857029"/>
                <a:gd name="connsiteX770" fmla="*/ 227044 w 511468"/>
                <a:gd name="connsiteY770" fmla="*/ 354588 h 857029"/>
                <a:gd name="connsiteX771" fmla="*/ 223703 w 511468"/>
                <a:gd name="connsiteY771" fmla="*/ 352121 h 857029"/>
                <a:gd name="connsiteX772" fmla="*/ 220346 w 511468"/>
                <a:gd name="connsiteY772" fmla="*/ 351904 h 857029"/>
                <a:gd name="connsiteX773" fmla="*/ 215947 w 511468"/>
                <a:gd name="connsiteY773" fmla="*/ 352763 h 857029"/>
                <a:gd name="connsiteX774" fmla="*/ 209285 w 511468"/>
                <a:gd name="connsiteY774" fmla="*/ 352249 h 857029"/>
                <a:gd name="connsiteX775" fmla="*/ 203614 w 511468"/>
                <a:gd name="connsiteY775" fmla="*/ 347601 h 857029"/>
                <a:gd name="connsiteX776" fmla="*/ 199866 w 511468"/>
                <a:gd name="connsiteY776" fmla="*/ 346147 h 857029"/>
                <a:gd name="connsiteX777" fmla="*/ 197193 w 511468"/>
                <a:gd name="connsiteY777" fmla="*/ 342565 h 857029"/>
                <a:gd name="connsiteX778" fmla="*/ 196514 w 511468"/>
                <a:gd name="connsiteY778" fmla="*/ 340661 h 857029"/>
                <a:gd name="connsiteX779" fmla="*/ 199408 w 511468"/>
                <a:gd name="connsiteY779" fmla="*/ 342277 h 857029"/>
                <a:gd name="connsiteX780" fmla="*/ 199803 w 511468"/>
                <a:gd name="connsiteY780" fmla="*/ 340569 h 857029"/>
                <a:gd name="connsiteX781" fmla="*/ 200030 w 511468"/>
                <a:gd name="connsiteY781" fmla="*/ 338298 h 857029"/>
                <a:gd name="connsiteX782" fmla="*/ 198421 w 511468"/>
                <a:gd name="connsiteY782" fmla="*/ 336911 h 857029"/>
                <a:gd name="connsiteX783" fmla="*/ 196983 w 511468"/>
                <a:gd name="connsiteY783" fmla="*/ 336085 h 857029"/>
                <a:gd name="connsiteX784" fmla="*/ 189609 w 511468"/>
                <a:gd name="connsiteY784" fmla="*/ 339632 h 857029"/>
                <a:gd name="connsiteX785" fmla="*/ 181170 w 511468"/>
                <a:gd name="connsiteY785" fmla="*/ 340794 h 857029"/>
                <a:gd name="connsiteX786" fmla="*/ 189004 w 511468"/>
                <a:gd name="connsiteY786" fmla="*/ 333794 h 857029"/>
                <a:gd name="connsiteX787" fmla="*/ 194653 w 511468"/>
                <a:gd name="connsiteY787" fmla="*/ 328737 h 857029"/>
                <a:gd name="connsiteX788" fmla="*/ 195707 w 511468"/>
                <a:gd name="connsiteY788" fmla="*/ 327975 h 857029"/>
                <a:gd name="connsiteX789" fmla="*/ 198207 w 511468"/>
                <a:gd name="connsiteY789" fmla="*/ 326615 h 857029"/>
                <a:gd name="connsiteX790" fmla="*/ 200302 w 511468"/>
                <a:gd name="connsiteY790" fmla="*/ 325184 h 857029"/>
                <a:gd name="connsiteX791" fmla="*/ 201986 w 511468"/>
                <a:gd name="connsiteY791" fmla="*/ 323306 h 857029"/>
                <a:gd name="connsiteX792" fmla="*/ 207601 w 511468"/>
                <a:gd name="connsiteY792" fmla="*/ 319597 h 857029"/>
                <a:gd name="connsiteX793" fmla="*/ 213321 w 511468"/>
                <a:gd name="connsiteY793" fmla="*/ 315596 h 857029"/>
                <a:gd name="connsiteX794" fmla="*/ 218644 w 511468"/>
                <a:gd name="connsiteY794" fmla="*/ 310313 h 857029"/>
                <a:gd name="connsiteX795" fmla="*/ 220568 w 511468"/>
                <a:gd name="connsiteY795" fmla="*/ 308648 h 857029"/>
                <a:gd name="connsiteX796" fmla="*/ 223017 w 511468"/>
                <a:gd name="connsiteY796" fmla="*/ 306866 h 857029"/>
                <a:gd name="connsiteX797" fmla="*/ 228391 w 511468"/>
                <a:gd name="connsiteY797" fmla="*/ 301255 h 857029"/>
                <a:gd name="connsiteX798" fmla="*/ 230089 w 511468"/>
                <a:gd name="connsiteY798" fmla="*/ 299699 h 857029"/>
                <a:gd name="connsiteX799" fmla="*/ 236645 w 511468"/>
                <a:gd name="connsiteY799" fmla="*/ 292637 h 857029"/>
                <a:gd name="connsiteX800" fmla="*/ 240475 w 511468"/>
                <a:gd name="connsiteY800" fmla="*/ 289109 h 857029"/>
                <a:gd name="connsiteX801" fmla="*/ 242376 w 511468"/>
                <a:gd name="connsiteY801" fmla="*/ 287080 h 857029"/>
                <a:gd name="connsiteX802" fmla="*/ 250560 w 511468"/>
                <a:gd name="connsiteY802" fmla="*/ 280362 h 857029"/>
                <a:gd name="connsiteX803" fmla="*/ 256109 w 511468"/>
                <a:gd name="connsiteY803" fmla="*/ 274948 h 857029"/>
                <a:gd name="connsiteX804" fmla="*/ 258297 w 511468"/>
                <a:gd name="connsiteY804" fmla="*/ 271974 h 857029"/>
                <a:gd name="connsiteX805" fmla="*/ 260436 w 511468"/>
                <a:gd name="connsiteY805" fmla="*/ 267705 h 857029"/>
                <a:gd name="connsiteX806" fmla="*/ 261650 w 511468"/>
                <a:gd name="connsiteY806" fmla="*/ 264788 h 857029"/>
                <a:gd name="connsiteX807" fmla="*/ 263788 w 511468"/>
                <a:gd name="connsiteY807" fmla="*/ 261008 h 857029"/>
                <a:gd name="connsiteX808" fmla="*/ 263844 w 511468"/>
                <a:gd name="connsiteY808" fmla="*/ 259753 h 857029"/>
                <a:gd name="connsiteX809" fmla="*/ 263242 w 511468"/>
                <a:gd name="connsiteY809" fmla="*/ 258585 h 857029"/>
                <a:gd name="connsiteX810" fmla="*/ 261644 w 511468"/>
                <a:gd name="connsiteY810" fmla="*/ 256769 h 857029"/>
                <a:gd name="connsiteX811" fmla="*/ 259426 w 511468"/>
                <a:gd name="connsiteY811" fmla="*/ 254674 h 857029"/>
                <a:gd name="connsiteX812" fmla="*/ 257452 w 511468"/>
                <a:gd name="connsiteY812" fmla="*/ 252108 h 857029"/>
                <a:gd name="connsiteX813" fmla="*/ 255980 w 511468"/>
                <a:gd name="connsiteY813" fmla="*/ 249797 h 857029"/>
                <a:gd name="connsiteX814" fmla="*/ 251423 w 511468"/>
                <a:gd name="connsiteY814" fmla="*/ 246581 h 857029"/>
                <a:gd name="connsiteX815" fmla="*/ 244358 w 511468"/>
                <a:gd name="connsiteY815" fmla="*/ 242503 h 857029"/>
                <a:gd name="connsiteX816" fmla="*/ 239123 w 511468"/>
                <a:gd name="connsiteY816" fmla="*/ 239476 h 857029"/>
                <a:gd name="connsiteX817" fmla="*/ 231093 w 511468"/>
                <a:gd name="connsiteY817" fmla="*/ 232994 h 857029"/>
                <a:gd name="connsiteX818" fmla="*/ 229681 w 511468"/>
                <a:gd name="connsiteY818" fmla="*/ 231374 h 857029"/>
                <a:gd name="connsiteX819" fmla="*/ 229959 w 511468"/>
                <a:gd name="connsiteY819" fmla="*/ 230947 h 857029"/>
                <a:gd name="connsiteX820" fmla="*/ 234518 w 511468"/>
                <a:gd name="connsiteY820" fmla="*/ 228978 h 857029"/>
                <a:gd name="connsiteX821" fmla="*/ 239052 w 511468"/>
                <a:gd name="connsiteY821" fmla="*/ 223901 h 857029"/>
                <a:gd name="connsiteX822" fmla="*/ 241011 w 511468"/>
                <a:gd name="connsiteY822" fmla="*/ 221322 h 857029"/>
                <a:gd name="connsiteX823" fmla="*/ 241501 w 511468"/>
                <a:gd name="connsiteY823" fmla="*/ 219320 h 857029"/>
                <a:gd name="connsiteX824" fmla="*/ 241542 w 511468"/>
                <a:gd name="connsiteY824" fmla="*/ 217063 h 857029"/>
                <a:gd name="connsiteX825" fmla="*/ 241229 w 511468"/>
                <a:gd name="connsiteY825" fmla="*/ 214979 h 857029"/>
                <a:gd name="connsiteX826" fmla="*/ 240657 w 511468"/>
                <a:gd name="connsiteY826" fmla="*/ 213685 h 857029"/>
                <a:gd name="connsiteX827" fmla="*/ 238506 w 511468"/>
                <a:gd name="connsiteY827" fmla="*/ 212058 h 857029"/>
                <a:gd name="connsiteX828" fmla="*/ 232259 w 511468"/>
                <a:gd name="connsiteY828" fmla="*/ 209088 h 857029"/>
                <a:gd name="connsiteX829" fmla="*/ 230794 w 511468"/>
                <a:gd name="connsiteY829" fmla="*/ 206343 h 857029"/>
                <a:gd name="connsiteX830" fmla="*/ 229572 w 511468"/>
                <a:gd name="connsiteY830" fmla="*/ 203463 h 857029"/>
                <a:gd name="connsiteX831" fmla="*/ 229549 w 511468"/>
                <a:gd name="connsiteY831" fmla="*/ 202272 h 857029"/>
                <a:gd name="connsiteX832" fmla="*/ 232524 w 511468"/>
                <a:gd name="connsiteY832" fmla="*/ 199172 h 857029"/>
                <a:gd name="connsiteX833" fmla="*/ 232658 w 511468"/>
                <a:gd name="connsiteY833" fmla="*/ 197621 h 857029"/>
                <a:gd name="connsiteX834" fmla="*/ 232306 w 511468"/>
                <a:gd name="connsiteY834" fmla="*/ 196031 h 857029"/>
                <a:gd name="connsiteX835" fmla="*/ 231479 w 511468"/>
                <a:gd name="connsiteY835" fmla="*/ 194870 h 857029"/>
                <a:gd name="connsiteX836" fmla="*/ 225075 w 511468"/>
                <a:gd name="connsiteY836" fmla="*/ 193466 h 857029"/>
                <a:gd name="connsiteX837" fmla="*/ 223271 w 511468"/>
                <a:gd name="connsiteY837" fmla="*/ 191982 h 857029"/>
                <a:gd name="connsiteX838" fmla="*/ 221853 w 511468"/>
                <a:gd name="connsiteY838" fmla="*/ 189616 h 857029"/>
                <a:gd name="connsiteX839" fmla="*/ 221116 w 511468"/>
                <a:gd name="connsiteY839" fmla="*/ 187583 h 857029"/>
                <a:gd name="connsiteX840" fmla="*/ 221043 w 511468"/>
                <a:gd name="connsiteY840" fmla="*/ 186379 h 857029"/>
                <a:gd name="connsiteX841" fmla="*/ 221520 w 511468"/>
                <a:gd name="connsiteY841" fmla="*/ 185030 h 857029"/>
                <a:gd name="connsiteX842" fmla="*/ 223677 w 511468"/>
                <a:gd name="connsiteY842" fmla="*/ 183562 h 857029"/>
                <a:gd name="connsiteX843" fmla="*/ 225685 w 511468"/>
                <a:gd name="connsiteY843" fmla="*/ 182570 h 857029"/>
                <a:gd name="connsiteX844" fmla="*/ 226042 w 511468"/>
                <a:gd name="connsiteY844" fmla="*/ 181232 h 857029"/>
                <a:gd name="connsiteX845" fmla="*/ 226025 w 511468"/>
                <a:gd name="connsiteY845" fmla="*/ 179783 h 857029"/>
                <a:gd name="connsiteX846" fmla="*/ 225679 w 511468"/>
                <a:gd name="connsiteY846" fmla="*/ 179082 h 857029"/>
                <a:gd name="connsiteX847" fmla="*/ 221680 w 511468"/>
                <a:gd name="connsiteY847" fmla="*/ 178392 h 857029"/>
                <a:gd name="connsiteX848" fmla="*/ 221298 w 511468"/>
                <a:gd name="connsiteY848" fmla="*/ 178000 h 857029"/>
                <a:gd name="connsiteX849" fmla="*/ 221200 w 511468"/>
                <a:gd name="connsiteY849" fmla="*/ 177498 h 857029"/>
                <a:gd name="connsiteX850" fmla="*/ 221404 w 511468"/>
                <a:gd name="connsiteY850" fmla="*/ 176897 h 857029"/>
                <a:gd name="connsiteX851" fmla="*/ 223563 w 511468"/>
                <a:gd name="connsiteY851" fmla="*/ 174310 h 857029"/>
                <a:gd name="connsiteX852" fmla="*/ 223854 w 511468"/>
                <a:gd name="connsiteY852" fmla="*/ 169373 h 857029"/>
                <a:gd name="connsiteX853" fmla="*/ 225876 w 511468"/>
                <a:gd name="connsiteY853" fmla="*/ 165917 h 857029"/>
                <a:gd name="connsiteX854" fmla="*/ 223587 w 511468"/>
                <a:gd name="connsiteY854" fmla="*/ 163891 h 857029"/>
                <a:gd name="connsiteX855" fmla="*/ 223764 w 511468"/>
                <a:gd name="connsiteY855" fmla="*/ 163534 h 857029"/>
                <a:gd name="connsiteX856" fmla="*/ 227273 w 511468"/>
                <a:gd name="connsiteY856" fmla="*/ 162472 h 857029"/>
                <a:gd name="connsiteX857" fmla="*/ 230510 w 511468"/>
                <a:gd name="connsiteY857" fmla="*/ 162214 h 857029"/>
                <a:gd name="connsiteX858" fmla="*/ 231976 w 511468"/>
                <a:gd name="connsiteY858" fmla="*/ 161815 h 857029"/>
                <a:gd name="connsiteX859" fmla="*/ 232140 w 511468"/>
                <a:gd name="connsiteY859" fmla="*/ 160193 h 857029"/>
                <a:gd name="connsiteX860" fmla="*/ 231803 w 511468"/>
                <a:gd name="connsiteY860" fmla="*/ 157999 h 857029"/>
                <a:gd name="connsiteX861" fmla="*/ 228467 w 511468"/>
                <a:gd name="connsiteY861" fmla="*/ 149368 h 857029"/>
                <a:gd name="connsiteX862" fmla="*/ 227733 w 511468"/>
                <a:gd name="connsiteY862" fmla="*/ 146874 h 857029"/>
                <a:gd name="connsiteX863" fmla="*/ 225523 w 511468"/>
                <a:gd name="connsiteY863" fmla="*/ 143721 h 857029"/>
                <a:gd name="connsiteX864" fmla="*/ 223693 w 511468"/>
                <a:gd name="connsiteY864" fmla="*/ 141599 h 857029"/>
                <a:gd name="connsiteX865" fmla="*/ 222591 w 511468"/>
                <a:gd name="connsiteY865" fmla="*/ 140083 h 857029"/>
                <a:gd name="connsiteX866" fmla="*/ 220818 w 511468"/>
                <a:gd name="connsiteY866" fmla="*/ 137113 h 857029"/>
                <a:gd name="connsiteX867" fmla="*/ 219792 w 511468"/>
                <a:gd name="connsiteY867" fmla="*/ 134061 h 857029"/>
                <a:gd name="connsiteX868" fmla="*/ 218024 w 511468"/>
                <a:gd name="connsiteY868" fmla="*/ 130648 h 857029"/>
                <a:gd name="connsiteX869" fmla="*/ 215964 w 511468"/>
                <a:gd name="connsiteY869" fmla="*/ 127511 h 857029"/>
                <a:gd name="connsiteX870" fmla="*/ 214241 w 511468"/>
                <a:gd name="connsiteY870" fmla="*/ 124605 h 857029"/>
                <a:gd name="connsiteX871" fmla="*/ 209814 w 511468"/>
                <a:gd name="connsiteY871" fmla="*/ 118903 h 857029"/>
                <a:gd name="connsiteX872" fmla="*/ 209220 w 511468"/>
                <a:gd name="connsiteY872" fmla="*/ 117322 h 857029"/>
                <a:gd name="connsiteX873" fmla="*/ 209283 w 511468"/>
                <a:gd name="connsiteY873" fmla="*/ 115891 h 857029"/>
                <a:gd name="connsiteX874" fmla="*/ 209680 w 511468"/>
                <a:gd name="connsiteY874" fmla="*/ 114375 h 857029"/>
                <a:gd name="connsiteX875" fmla="*/ 213137 w 511468"/>
                <a:gd name="connsiteY875" fmla="*/ 109690 h 857029"/>
                <a:gd name="connsiteX876" fmla="*/ 216329 w 511468"/>
                <a:gd name="connsiteY876" fmla="*/ 105773 h 857029"/>
                <a:gd name="connsiteX877" fmla="*/ 220410 w 511468"/>
                <a:gd name="connsiteY877" fmla="*/ 101168 h 857029"/>
                <a:gd name="connsiteX878" fmla="*/ 224353 w 511468"/>
                <a:gd name="connsiteY878" fmla="*/ 97338 h 857029"/>
                <a:gd name="connsiteX879" fmla="*/ 228568 w 511468"/>
                <a:gd name="connsiteY879" fmla="*/ 92786 h 857029"/>
                <a:gd name="connsiteX880" fmla="*/ 229605 w 511468"/>
                <a:gd name="connsiteY880" fmla="*/ 88232 h 857029"/>
                <a:gd name="connsiteX881" fmla="*/ 229409 w 511468"/>
                <a:gd name="connsiteY881" fmla="*/ 87465 h 857029"/>
                <a:gd name="connsiteX882" fmla="*/ 225923 w 511468"/>
                <a:gd name="connsiteY882" fmla="*/ 84993 h 857029"/>
                <a:gd name="connsiteX883" fmla="*/ 219348 w 511468"/>
                <a:gd name="connsiteY883" fmla="*/ 78363 h 857029"/>
                <a:gd name="connsiteX884" fmla="*/ 215359 w 511468"/>
                <a:gd name="connsiteY884" fmla="*/ 73320 h 857029"/>
                <a:gd name="connsiteX885" fmla="*/ 209149 w 511468"/>
                <a:gd name="connsiteY885" fmla="*/ 71185 h 857029"/>
                <a:gd name="connsiteX886" fmla="*/ 200794 w 511468"/>
                <a:gd name="connsiteY886" fmla="*/ 68448 h 857029"/>
                <a:gd name="connsiteX887" fmla="*/ 198030 w 511468"/>
                <a:gd name="connsiteY887" fmla="*/ 62279 h 857029"/>
                <a:gd name="connsiteX888" fmla="*/ 196052 w 511468"/>
                <a:gd name="connsiteY888" fmla="*/ 57031 h 857029"/>
                <a:gd name="connsiteX889" fmla="*/ 196242 w 511468"/>
                <a:gd name="connsiteY889" fmla="*/ 55141 h 857029"/>
                <a:gd name="connsiteX890" fmla="*/ 202273 w 511468"/>
                <a:gd name="connsiteY890" fmla="*/ 46145 h 857029"/>
                <a:gd name="connsiteX891" fmla="*/ 202839 w 511468"/>
                <a:gd name="connsiteY891" fmla="*/ 44510 h 857029"/>
                <a:gd name="connsiteX892" fmla="*/ 202733 w 511468"/>
                <a:gd name="connsiteY892" fmla="*/ 43497 h 857029"/>
                <a:gd name="connsiteX893" fmla="*/ 202114 w 511468"/>
                <a:gd name="connsiteY893" fmla="*/ 42863 h 857029"/>
                <a:gd name="connsiteX894" fmla="*/ 201254 w 511468"/>
                <a:gd name="connsiteY894" fmla="*/ 42513 h 857029"/>
                <a:gd name="connsiteX895" fmla="*/ 195672 w 511468"/>
                <a:gd name="connsiteY895" fmla="*/ 42252 h 857029"/>
                <a:gd name="connsiteX896" fmla="*/ 194800 w 511468"/>
                <a:gd name="connsiteY896" fmla="*/ 41019 h 857029"/>
                <a:gd name="connsiteX897" fmla="*/ 198160 w 511468"/>
                <a:gd name="connsiteY897" fmla="*/ 40088 h 857029"/>
                <a:gd name="connsiteX898" fmla="*/ 200950 w 511468"/>
                <a:gd name="connsiteY898" fmla="*/ 38818 h 857029"/>
                <a:gd name="connsiteX899" fmla="*/ 205521 w 511468"/>
                <a:gd name="connsiteY899" fmla="*/ 36935 h 857029"/>
                <a:gd name="connsiteX900" fmla="*/ 207001 w 511468"/>
                <a:gd name="connsiteY900" fmla="*/ 36458 h 857029"/>
                <a:gd name="connsiteX901" fmla="*/ 210378 w 511468"/>
                <a:gd name="connsiteY901" fmla="*/ 35373 h 857029"/>
                <a:gd name="connsiteX902" fmla="*/ 211535 w 511468"/>
                <a:gd name="connsiteY902" fmla="*/ 34536 h 857029"/>
                <a:gd name="connsiteX903" fmla="*/ 212399 w 511468"/>
                <a:gd name="connsiteY903" fmla="*/ 33547 h 857029"/>
                <a:gd name="connsiteX904" fmla="*/ 215562 w 511468"/>
                <a:gd name="connsiteY904" fmla="*/ 26796 h 857029"/>
                <a:gd name="connsiteX905" fmla="*/ 216342 w 511468"/>
                <a:gd name="connsiteY905" fmla="*/ 25723 h 857029"/>
                <a:gd name="connsiteX906" fmla="*/ 226169 w 511468"/>
                <a:gd name="connsiteY906" fmla="*/ 23293 h 857029"/>
                <a:gd name="connsiteX907" fmla="*/ 229737 w 511468"/>
                <a:gd name="connsiteY907" fmla="*/ 22043 h 857029"/>
                <a:gd name="connsiteX908" fmla="*/ 231799 w 511468"/>
                <a:gd name="connsiteY908" fmla="*/ 20465 h 857029"/>
                <a:gd name="connsiteX909" fmla="*/ 232784 w 511468"/>
                <a:gd name="connsiteY909" fmla="*/ 19237 h 857029"/>
                <a:gd name="connsiteX910" fmla="*/ 233490 w 511468"/>
                <a:gd name="connsiteY910" fmla="*/ 17776 h 857029"/>
                <a:gd name="connsiteX911" fmla="*/ 233997 w 511468"/>
                <a:gd name="connsiteY911" fmla="*/ 16164 h 857029"/>
                <a:gd name="connsiteX912" fmla="*/ 234213 w 511468"/>
                <a:gd name="connsiteY912" fmla="*/ 14683 h 857029"/>
                <a:gd name="connsiteX913" fmla="*/ 233401 w 511468"/>
                <a:gd name="connsiteY913" fmla="*/ 12749 h 857029"/>
                <a:gd name="connsiteX914" fmla="*/ 233852 w 511468"/>
                <a:gd name="connsiteY914" fmla="*/ 12515 h 857029"/>
                <a:gd name="connsiteX915" fmla="*/ 234900 w 511468"/>
                <a:gd name="connsiteY915" fmla="*/ 12596 h 857029"/>
                <a:gd name="connsiteX916" fmla="*/ 238264 w 511468"/>
                <a:gd name="connsiteY916" fmla="*/ 14521 h 857029"/>
                <a:gd name="connsiteX917" fmla="*/ 243477 w 511468"/>
                <a:gd name="connsiteY917" fmla="*/ 16564 h 857029"/>
                <a:gd name="connsiteX918" fmla="*/ 247312 w 511468"/>
                <a:gd name="connsiteY918" fmla="*/ 16723 h 857029"/>
                <a:gd name="connsiteX919" fmla="*/ 248901 w 511468"/>
                <a:gd name="connsiteY919" fmla="*/ 16334 h 857029"/>
                <a:gd name="connsiteX920" fmla="*/ 249696 w 511468"/>
                <a:gd name="connsiteY920" fmla="*/ 15441 h 857029"/>
                <a:gd name="connsiteX921" fmla="*/ 250266 w 511468"/>
                <a:gd name="connsiteY921" fmla="*/ 13693 h 857029"/>
                <a:gd name="connsiteX922" fmla="*/ 250303 w 511468"/>
                <a:gd name="connsiteY922" fmla="*/ 11890 h 857029"/>
                <a:gd name="connsiteX923" fmla="*/ 249100 w 511468"/>
                <a:gd name="connsiteY923" fmla="*/ 6713 h 857029"/>
                <a:gd name="connsiteX924" fmla="*/ 253075 w 511468"/>
                <a:gd name="connsiteY924" fmla="*/ 7272 h 857029"/>
                <a:gd name="connsiteX925" fmla="*/ 261991 w 511468"/>
                <a:gd name="connsiteY925" fmla="*/ 10404 h 857029"/>
                <a:gd name="connsiteX926" fmla="*/ 264075 w 511468"/>
                <a:gd name="connsiteY926" fmla="*/ 10116 h 857029"/>
                <a:gd name="connsiteX927" fmla="*/ 266712 w 511468"/>
                <a:gd name="connsiteY927" fmla="*/ 9170 h 857029"/>
                <a:gd name="connsiteX928" fmla="*/ 269417 w 511468"/>
                <a:gd name="connsiteY928" fmla="*/ 5440 h 857029"/>
                <a:gd name="connsiteX929" fmla="*/ 271426 w 511468"/>
                <a:gd name="connsiteY929" fmla="*/ 4801 h 857029"/>
                <a:gd name="connsiteX930" fmla="*/ 274047 w 511468"/>
                <a:gd name="connsiteY930" fmla="*/ 5671 h 857029"/>
                <a:gd name="connsiteX931" fmla="*/ 274769 w 511468"/>
                <a:gd name="connsiteY931" fmla="*/ 4670 h 857029"/>
                <a:gd name="connsiteX932" fmla="*/ 273414 w 511468"/>
                <a:gd name="connsiteY932" fmla="*/ 1570 h 857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Lst>
              <a:rect l="l" t="t" r="r" b="b"/>
              <a:pathLst>
                <a:path w="511468" h="857029">
                  <a:moveTo>
                    <a:pt x="28644" y="509016"/>
                  </a:moveTo>
                  <a:lnTo>
                    <a:pt x="29927" y="509255"/>
                  </a:lnTo>
                  <a:lnTo>
                    <a:pt x="27750" y="512193"/>
                  </a:lnTo>
                  <a:lnTo>
                    <a:pt x="21900" y="518387"/>
                  </a:lnTo>
                  <a:lnTo>
                    <a:pt x="23733" y="519208"/>
                  </a:lnTo>
                  <a:lnTo>
                    <a:pt x="25862" y="519473"/>
                  </a:lnTo>
                  <a:lnTo>
                    <a:pt x="28372" y="520626"/>
                  </a:lnTo>
                  <a:lnTo>
                    <a:pt x="30769" y="520834"/>
                  </a:lnTo>
                  <a:lnTo>
                    <a:pt x="35036" y="519836"/>
                  </a:lnTo>
                  <a:lnTo>
                    <a:pt x="35787" y="514530"/>
                  </a:lnTo>
                  <a:lnTo>
                    <a:pt x="36072" y="509712"/>
                  </a:lnTo>
                  <a:lnTo>
                    <a:pt x="37439" y="509701"/>
                  </a:lnTo>
                  <a:lnTo>
                    <a:pt x="39467" y="509360"/>
                  </a:lnTo>
                  <a:lnTo>
                    <a:pt x="40745" y="510627"/>
                  </a:lnTo>
                  <a:lnTo>
                    <a:pt x="43125" y="511833"/>
                  </a:lnTo>
                  <a:lnTo>
                    <a:pt x="45955" y="512911"/>
                  </a:lnTo>
                  <a:lnTo>
                    <a:pt x="50184" y="514747"/>
                  </a:lnTo>
                  <a:lnTo>
                    <a:pt x="54572" y="515887"/>
                  </a:lnTo>
                  <a:lnTo>
                    <a:pt x="56020" y="516019"/>
                  </a:lnTo>
                  <a:lnTo>
                    <a:pt x="60631" y="515869"/>
                  </a:lnTo>
                  <a:lnTo>
                    <a:pt x="65515" y="516027"/>
                  </a:lnTo>
                  <a:lnTo>
                    <a:pt x="66846" y="518746"/>
                  </a:lnTo>
                  <a:lnTo>
                    <a:pt x="69257" y="520031"/>
                  </a:lnTo>
                  <a:lnTo>
                    <a:pt x="71207" y="521798"/>
                  </a:lnTo>
                  <a:lnTo>
                    <a:pt x="71352" y="522805"/>
                  </a:lnTo>
                  <a:lnTo>
                    <a:pt x="68664" y="529110"/>
                  </a:lnTo>
                  <a:lnTo>
                    <a:pt x="68107" y="531241"/>
                  </a:lnTo>
                  <a:lnTo>
                    <a:pt x="68005" y="533376"/>
                  </a:lnTo>
                  <a:lnTo>
                    <a:pt x="68988" y="536043"/>
                  </a:lnTo>
                  <a:lnTo>
                    <a:pt x="69914" y="537532"/>
                  </a:lnTo>
                  <a:lnTo>
                    <a:pt x="69154" y="537736"/>
                  </a:lnTo>
                  <a:lnTo>
                    <a:pt x="56696" y="537438"/>
                  </a:lnTo>
                  <a:lnTo>
                    <a:pt x="44883" y="536932"/>
                  </a:lnTo>
                  <a:lnTo>
                    <a:pt x="33967" y="536465"/>
                  </a:lnTo>
                  <a:lnTo>
                    <a:pt x="23446" y="536012"/>
                  </a:lnTo>
                  <a:lnTo>
                    <a:pt x="13351" y="535582"/>
                  </a:lnTo>
                  <a:lnTo>
                    <a:pt x="7074" y="535178"/>
                  </a:lnTo>
                  <a:lnTo>
                    <a:pt x="881" y="534779"/>
                  </a:lnTo>
                  <a:lnTo>
                    <a:pt x="0" y="534410"/>
                  </a:lnTo>
                  <a:lnTo>
                    <a:pt x="3407" y="531794"/>
                  </a:lnTo>
                  <a:lnTo>
                    <a:pt x="5627" y="529073"/>
                  </a:lnTo>
                  <a:lnTo>
                    <a:pt x="7512" y="525517"/>
                  </a:lnTo>
                  <a:lnTo>
                    <a:pt x="7713" y="523051"/>
                  </a:lnTo>
                  <a:lnTo>
                    <a:pt x="8184" y="520266"/>
                  </a:lnTo>
                  <a:lnTo>
                    <a:pt x="11127" y="519182"/>
                  </a:lnTo>
                  <a:lnTo>
                    <a:pt x="17519" y="519343"/>
                  </a:lnTo>
                  <a:lnTo>
                    <a:pt x="20252" y="518003"/>
                  </a:lnTo>
                  <a:lnTo>
                    <a:pt x="23759" y="514688"/>
                  </a:lnTo>
                  <a:lnTo>
                    <a:pt x="27448" y="510701"/>
                  </a:lnTo>
                  <a:close/>
                  <a:moveTo>
                    <a:pt x="356551" y="179341"/>
                  </a:moveTo>
                  <a:lnTo>
                    <a:pt x="358475" y="179899"/>
                  </a:lnTo>
                  <a:lnTo>
                    <a:pt x="359190" y="181318"/>
                  </a:lnTo>
                  <a:lnTo>
                    <a:pt x="359410" y="183648"/>
                  </a:lnTo>
                  <a:lnTo>
                    <a:pt x="358723" y="185139"/>
                  </a:lnTo>
                  <a:lnTo>
                    <a:pt x="359054" y="186396"/>
                  </a:lnTo>
                  <a:lnTo>
                    <a:pt x="357648" y="187287"/>
                  </a:lnTo>
                  <a:lnTo>
                    <a:pt x="355467" y="184379"/>
                  </a:lnTo>
                  <a:lnTo>
                    <a:pt x="354169" y="184337"/>
                  </a:lnTo>
                  <a:lnTo>
                    <a:pt x="352780" y="183084"/>
                  </a:lnTo>
                  <a:lnTo>
                    <a:pt x="352124" y="181016"/>
                  </a:lnTo>
                  <a:lnTo>
                    <a:pt x="353381" y="180439"/>
                  </a:lnTo>
                  <a:lnTo>
                    <a:pt x="353889" y="180798"/>
                  </a:lnTo>
                  <a:close/>
                  <a:moveTo>
                    <a:pt x="507319" y="120897"/>
                  </a:moveTo>
                  <a:lnTo>
                    <a:pt x="509176" y="121390"/>
                  </a:lnTo>
                  <a:lnTo>
                    <a:pt x="510487" y="123131"/>
                  </a:lnTo>
                  <a:lnTo>
                    <a:pt x="510994" y="124376"/>
                  </a:lnTo>
                  <a:lnTo>
                    <a:pt x="510152" y="124880"/>
                  </a:lnTo>
                  <a:lnTo>
                    <a:pt x="505769" y="123140"/>
                  </a:lnTo>
                  <a:lnTo>
                    <a:pt x="505387" y="121830"/>
                  </a:lnTo>
                  <a:lnTo>
                    <a:pt x="505574" y="121267"/>
                  </a:lnTo>
                  <a:close/>
                  <a:moveTo>
                    <a:pt x="273751" y="0"/>
                  </a:moveTo>
                  <a:lnTo>
                    <a:pt x="282752" y="3354"/>
                  </a:lnTo>
                  <a:lnTo>
                    <a:pt x="286595" y="5805"/>
                  </a:lnTo>
                  <a:lnTo>
                    <a:pt x="294915" y="7956"/>
                  </a:lnTo>
                  <a:lnTo>
                    <a:pt x="296377" y="9126"/>
                  </a:lnTo>
                  <a:lnTo>
                    <a:pt x="296483" y="11154"/>
                  </a:lnTo>
                  <a:lnTo>
                    <a:pt x="296086" y="12894"/>
                  </a:lnTo>
                  <a:lnTo>
                    <a:pt x="294326" y="13854"/>
                  </a:lnTo>
                  <a:lnTo>
                    <a:pt x="290771" y="13697"/>
                  </a:lnTo>
                  <a:lnTo>
                    <a:pt x="278001" y="11016"/>
                  </a:lnTo>
                  <a:lnTo>
                    <a:pt x="276116" y="12644"/>
                  </a:lnTo>
                  <a:lnTo>
                    <a:pt x="277660" y="14053"/>
                  </a:lnTo>
                  <a:lnTo>
                    <a:pt x="281402" y="15715"/>
                  </a:lnTo>
                  <a:lnTo>
                    <a:pt x="282445" y="18657"/>
                  </a:lnTo>
                  <a:lnTo>
                    <a:pt x="288174" y="18252"/>
                  </a:lnTo>
                  <a:lnTo>
                    <a:pt x="293635" y="19371"/>
                  </a:lnTo>
                  <a:lnTo>
                    <a:pt x="296200" y="19008"/>
                  </a:lnTo>
                  <a:lnTo>
                    <a:pt x="296669" y="19967"/>
                  </a:lnTo>
                  <a:lnTo>
                    <a:pt x="294913" y="22399"/>
                  </a:lnTo>
                  <a:lnTo>
                    <a:pt x="295738" y="23024"/>
                  </a:lnTo>
                  <a:lnTo>
                    <a:pt x="301862" y="20665"/>
                  </a:lnTo>
                  <a:lnTo>
                    <a:pt x="304715" y="20018"/>
                  </a:lnTo>
                  <a:lnTo>
                    <a:pt x="306250" y="20648"/>
                  </a:lnTo>
                  <a:lnTo>
                    <a:pt x="306457" y="22601"/>
                  </a:lnTo>
                  <a:lnTo>
                    <a:pt x="305447" y="25055"/>
                  </a:lnTo>
                  <a:lnTo>
                    <a:pt x="305337" y="26920"/>
                  </a:lnTo>
                  <a:lnTo>
                    <a:pt x="303452" y="31417"/>
                  </a:lnTo>
                  <a:lnTo>
                    <a:pt x="300547" y="32777"/>
                  </a:lnTo>
                  <a:lnTo>
                    <a:pt x="299327" y="34646"/>
                  </a:lnTo>
                  <a:lnTo>
                    <a:pt x="303577" y="33501"/>
                  </a:lnTo>
                  <a:lnTo>
                    <a:pt x="305838" y="32252"/>
                  </a:lnTo>
                  <a:lnTo>
                    <a:pt x="310070" y="26073"/>
                  </a:lnTo>
                  <a:lnTo>
                    <a:pt x="311338" y="25251"/>
                  </a:lnTo>
                  <a:lnTo>
                    <a:pt x="323389" y="25139"/>
                  </a:lnTo>
                  <a:lnTo>
                    <a:pt x="326117" y="25537"/>
                  </a:lnTo>
                  <a:lnTo>
                    <a:pt x="337421" y="28452"/>
                  </a:lnTo>
                  <a:lnTo>
                    <a:pt x="340640" y="28719"/>
                  </a:lnTo>
                  <a:lnTo>
                    <a:pt x="344318" y="28346"/>
                  </a:lnTo>
                  <a:lnTo>
                    <a:pt x="345586" y="26992"/>
                  </a:lnTo>
                  <a:lnTo>
                    <a:pt x="346838" y="26608"/>
                  </a:lnTo>
                  <a:lnTo>
                    <a:pt x="359399" y="29866"/>
                  </a:lnTo>
                  <a:lnTo>
                    <a:pt x="376212" y="37175"/>
                  </a:lnTo>
                  <a:lnTo>
                    <a:pt x="400807" y="49201"/>
                  </a:lnTo>
                  <a:lnTo>
                    <a:pt x="414673" y="59838"/>
                  </a:lnTo>
                  <a:lnTo>
                    <a:pt x="416277" y="62116"/>
                  </a:lnTo>
                  <a:lnTo>
                    <a:pt x="421289" y="63406"/>
                  </a:lnTo>
                  <a:lnTo>
                    <a:pt x="422367" y="62533"/>
                  </a:lnTo>
                  <a:lnTo>
                    <a:pt x="425152" y="63290"/>
                  </a:lnTo>
                  <a:lnTo>
                    <a:pt x="441458" y="72945"/>
                  </a:lnTo>
                  <a:lnTo>
                    <a:pt x="447083" y="73444"/>
                  </a:lnTo>
                  <a:lnTo>
                    <a:pt x="446340" y="71406"/>
                  </a:lnTo>
                  <a:lnTo>
                    <a:pt x="445379" y="69500"/>
                  </a:lnTo>
                  <a:lnTo>
                    <a:pt x="446772" y="69933"/>
                  </a:lnTo>
                  <a:lnTo>
                    <a:pt x="448681" y="71317"/>
                  </a:lnTo>
                  <a:lnTo>
                    <a:pt x="451780" y="75087"/>
                  </a:lnTo>
                  <a:lnTo>
                    <a:pt x="455559" y="77877"/>
                  </a:lnTo>
                  <a:lnTo>
                    <a:pt x="459407" y="82047"/>
                  </a:lnTo>
                  <a:lnTo>
                    <a:pt x="462616" y="83643"/>
                  </a:lnTo>
                  <a:lnTo>
                    <a:pt x="465507" y="84234"/>
                  </a:lnTo>
                  <a:lnTo>
                    <a:pt x="467934" y="85408"/>
                  </a:lnTo>
                  <a:lnTo>
                    <a:pt x="472359" y="86525"/>
                  </a:lnTo>
                  <a:lnTo>
                    <a:pt x="474449" y="96670"/>
                  </a:lnTo>
                  <a:lnTo>
                    <a:pt x="476062" y="98855"/>
                  </a:lnTo>
                  <a:lnTo>
                    <a:pt x="476062" y="103320"/>
                  </a:lnTo>
                  <a:lnTo>
                    <a:pt x="478889" y="105135"/>
                  </a:lnTo>
                  <a:lnTo>
                    <a:pt x="481035" y="105464"/>
                  </a:lnTo>
                  <a:lnTo>
                    <a:pt x="480936" y="108762"/>
                  </a:lnTo>
                  <a:lnTo>
                    <a:pt x="479195" y="116483"/>
                  </a:lnTo>
                  <a:lnTo>
                    <a:pt x="477280" y="119759"/>
                  </a:lnTo>
                  <a:lnTo>
                    <a:pt x="462523" y="133805"/>
                  </a:lnTo>
                  <a:lnTo>
                    <a:pt x="453274" y="139207"/>
                  </a:lnTo>
                  <a:lnTo>
                    <a:pt x="435269" y="145372"/>
                  </a:lnTo>
                  <a:lnTo>
                    <a:pt x="421224" y="147680"/>
                  </a:lnTo>
                  <a:lnTo>
                    <a:pt x="415556" y="147848"/>
                  </a:lnTo>
                  <a:lnTo>
                    <a:pt x="404569" y="146708"/>
                  </a:lnTo>
                  <a:lnTo>
                    <a:pt x="398544" y="145462"/>
                  </a:lnTo>
                  <a:lnTo>
                    <a:pt x="391172" y="141959"/>
                  </a:lnTo>
                  <a:lnTo>
                    <a:pt x="384292" y="140214"/>
                  </a:lnTo>
                  <a:lnTo>
                    <a:pt x="379566" y="139442"/>
                  </a:lnTo>
                  <a:lnTo>
                    <a:pt x="370798" y="139120"/>
                  </a:lnTo>
                  <a:lnTo>
                    <a:pt x="351783" y="135678"/>
                  </a:lnTo>
                  <a:lnTo>
                    <a:pt x="348477" y="134467"/>
                  </a:lnTo>
                  <a:lnTo>
                    <a:pt x="336550" y="127729"/>
                  </a:lnTo>
                  <a:lnTo>
                    <a:pt x="331811" y="129634"/>
                  </a:lnTo>
                  <a:lnTo>
                    <a:pt x="328988" y="129977"/>
                  </a:lnTo>
                  <a:lnTo>
                    <a:pt x="327075" y="127653"/>
                  </a:lnTo>
                  <a:lnTo>
                    <a:pt x="327844" y="127039"/>
                  </a:lnTo>
                  <a:lnTo>
                    <a:pt x="328302" y="126246"/>
                  </a:lnTo>
                  <a:lnTo>
                    <a:pt x="321547" y="124318"/>
                  </a:lnTo>
                  <a:lnTo>
                    <a:pt x="315965" y="124189"/>
                  </a:lnTo>
                  <a:lnTo>
                    <a:pt x="313000" y="122550"/>
                  </a:lnTo>
                  <a:lnTo>
                    <a:pt x="309370" y="121301"/>
                  </a:lnTo>
                  <a:lnTo>
                    <a:pt x="307768" y="122053"/>
                  </a:lnTo>
                  <a:lnTo>
                    <a:pt x="306863" y="122046"/>
                  </a:lnTo>
                  <a:lnTo>
                    <a:pt x="299526" y="119098"/>
                  </a:lnTo>
                  <a:lnTo>
                    <a:pt x="296248" y="116706"/>
                  </a:lnTo>
                  <a:lnTo>
                    <a:pt x="292834" y="112490"/>
                  </a:lnTo>
                  <a:lnTo>
                    <a:pt x="293667" y="111013"/>
                  </a:lnTo>
                  <a:lnTo>
                    <a:pt x="294667" y="110055"/>
                  </a:lnTo>
                  <a:lnTo>
                    <a:pt x="282935" y="107594"/>
                  </a:lnTo>
                  <a:lnTo>
                    <a:pt x="271778" y="107268"/>
                  </a:lnTo>
                  <a:lnTo>
                    <a:pt x="273717" y="108448"/>
                  </a:lnTo>
                  <a:lnTo>
                    <a:pt x="278549" y="109068"/>
                  </a:lnTo>
                  <a:lnTo>
                    <a:pt x="281624" y="110762"/>
                  </a:lnTo>
                  <a:lnTo>
                    <a:pt x="285170" y="113148"/>
                  </a:lnTo>
                  <a:lnTo>
                    <a:pt x="284345" y="116408"/>
                  </a:lnTo>
                  <a:lnTo>
                    <a:pt x="289271" y="119633"/>
                  </a:lnTo>
                  <a:lnTo>
                    <a:pt x="293050" y="122700"/>
                  </a:lnTo>
                  <a:lnTo>
                    <a:pt x="293162" y="123646"/>
                  </a:lnTo>
                  <a:lnTo>
                    <a:pt x="294628" y="124287"/>
                  </a:lnTo>
                  <a:lnTo>
                    <a:pt x="300197" y="125183"/>
                  </a:lnTo>
                  <a:lnTo>
                    <a:pt x="301167" y="127998"/>
                  </a:lnTo>
                  <a:lnTo>
                    <a:pt x="300249" y="129107"/>
                  </a:lnTo>
                  <a:lnTo>
                    <a:pt x="301012" y="130668"/>
                  </a:lnTo>
                  <a:lnTo>
                    <a:pt x="305166" y="132416"/>
                  </a:lnTo>
                  <a:lnTo>
                    <a:pt x="307651" y="132892"/>
                  </a:lnTo>
                  <a:lnTo>
                    <a:pt x="310709" y="133952"/>
                  </a:lnTo>
                  <a:lnTo>
                    <a:pt x="309323" y="136092"/>
                  </a:lnTo>
                  <a:lnTo>
                    <a:pt x="306751" y="137480"/>
                  </a:lnTo>
                  <a:lnTo>
                    <a:pt x="304177" y="138118"/>
                  </a:lnTo>
                  <a:lnTo>
                    <a:pt x="305399" y="138630"/>
                  </a:lnTo>
                  <a:lnTo>
                    <a:pt x="308735" y="138432"/>
                  </a:lnTo>
                  <a:lnTo>
                    <a:pt x="320809" y="141952"/>
                  </a:lnTo>
                  <a:lnTo>
                    <a:pt x="327157" y="145505"/>
                  </a:lnTo>
                  <a:lnTo>
                    <a:pt x="333614" y="151967"/>
                  </a:lnTo>
                  <a:lnTo>
                    <a:pt x="335704" y="155155"/>
                  </a:lnTo>
                  <a:lnTo>
                    <a:pt x="335855" y="156912"/>
                  </a:lnTo>
                  <a:lnTo>
                    <a:pt x="335497" y="158664"/>
                  </a:lnTo>
                  <a:lnTo>
                    <a:pt x="334564" y="160556"/>
                  </a:lnTo>
                  <a:lnTo>
                    <a:pt x="334139" y="162455"/>
                  </a:lnTo>
                  <a:lnTo>
                    <a:pt x="331932" y="168051"/>
                  </a:lnTo>
                  <a:lnTo>
                    <a:pt x="330349" y="169979"/>
                  </a:lnTo>
                  <a:lnTo>
                    <a:pt x="327304" y="172185"/>
                  </a:lnTo>
                  <a:lnTo>
                    <a:pt x="330167" y="176442"/>
                  </a:lnTo>
                  <a:lnTo>
                    <a:pt x="333156" y="180402"/>
                  </a:lnTo>
                  <a:lnTo>
                    <a:pt x="336084" y="186952"/>
                  </a:lnTo>
                  <a:lnTo>
                    <a:pt x="336607" y="189582"/>
                  </a:lnTo>
                  <a:lnTo>
                    <a:pt x="336728" y="193613"/>
                  </a:lnTo>
                  <a:lnTo>
                    <a:pt x="339373" y="195195"/>
                  </a:lnTo>
                  <a:lnTo>
                    <a:pt x="338339" y="195813"/>
                  </a:lnTo>
                  <a:lnTo>
                    <a:pt x="337296" y="196956"/>
                  </a:lnTo>
                  <a:lnTo>
                    <a:pt x="337544" y="202190"/>
                  </a:lnTo>
                  <a:lnTo>
                    <a:pt x="341211" y="206454"/>
                  </a:lnTo>
                  <a:lnTo>
                    <a:pt x="346711" y="209215"/>
                  </a:lnTo>
                  <a:lnTo>
                    <a:pt x="349982" y="209775"/>
                  </a:lnTo>
                  <a:lnTo>
                    <a:pt x="354737" y="208655"/>
                  </a:lnTo>
                  <a:lnTo>
                    <a:pt x="358164" y="210180"/>
                  </a:lnTo>
                  <a:lnTo>
                    <a:pt x="365780" y="215368"/>
                  </a:lnTo>
                  <a:lnTo>
                    <a:pt x="369218" y="220836"/>
                  </a:lnTo>
                  <a:lnTo>
                    <a:pt x="370611" y="221949"/>
                  </a:lnTo>
                  <a:lnTo>
                    <a:pt x="378324" y="223987"/>
                  </a:lnTo>
                  <a:lnTo>
                    <a:pt x="384105" y="225239"/>
                  </a:lnTo>
                  <a:lnTo>
                    <a:pt x="392895" y="228506"/>
                  </a:lnTo>
                  <a:lnTo>
                    <a:pt x="394431" y="228624"/>
                  </a:lnTo>
                  <a:lnTo>
                    <a:pt x="398702" y="225807"/>
                  </a:lnTo>
                  <a:lnTo>
                    <a:pt x="406057" y="223844"/>
                  </a:lnTo>
                  <a:lnTo>
                    <a:pt x="408331" y="221137"/>
                  </a:lnTo>
                  <a:lnTo>
                    <a:pt x="408141" y="218835"/>
                  </a:lnTo>
                  <a:lnTo>
                    <a:pt x="406260" y="214730"/>
                  </a:lnTo>
                  <a:lnTo>
                    <a:pt x="405742" y="210721"/>
                  </a:lnTo>
                  <a:lnTo>
                    <a:pt x="403306" y="209081"/>
                  </a:lnTo>
                  <a:lnTo>
                    <a:pt x="401030" y="207992"/>
                  </a:lnTo>
                  <a:lnTo>
                    <a:pt x="394152" y="208823"/>
                  </a:lnTo>
                  <a:lnTo>
                    <a:pt x="391056" y="208668"/>
                  </a:lnTo>
                  <a:lnTo>
                    <a:pt x="388715" y="207582"/>
                  </a:lnTo>
                  <a:lnTo>
                    <a:pt x="385547" y="204713"/>
                  </a:lnTo>
                  <a:lnTo>
                    <a:pt x="379552" y="197722"/>
                  </a:lnTo>
                  <a:lnTo>
                    <a:pt x="376344" y="195389"/>
                  </a:lnTo>
                  <a:lnTo>
                    <a:pt x="375338" y="193943"/>
                  </a:lnTo>
                  <a:lnTo>
                    <a:pt x="374221" y="191924"/>
                  </a:lnTo>
                  <a:lnTo>
                    <a:pt x="374361" y="188652"/>
                  </a:lnTo>
                  <a:lnTo>
                    <a:pt x="376979" y="188766"/>
                  </a:lnTo>
                  <a:lnTo>
                    <a:pt x="379920" y="186910"/>
                  </a:lnTo>
                  <a:lnTo>
                    <a:pt x="382062" y="180249"/>
                  </a:lnTo>
                  <a:lnTo>
                    <a:pt x="385763" y="179401"/>
                  </a:lnTo>
                  <a:lnTo>
                    <a:pt x="387767" y="179459"/>
                  </a:lnTo>
                  <a:lnTo>
                    <a:pt x="396331" y="182557"/>
                  </a:lnTo>
                  <a:lnTo>
                    <a:pt x="406972" y="190799"/>
                  </a:lnTo>
                  <a:lnTo>
                    <a:pt x="409324" y="191665"/>
                  </a:lnTo>
                  <a:lnTo>
                    <a:pt x="411812" y="191786"/>
                  </a:lnTo>
                  <a:lnTo>
                    <a:pt x="415878" y="191576"/>
                  </a:lnTo>
                  <a:lnTo>
                    <a:pt x="416539" y="192648"/>
                  </a:lnTo>
                  <a:lnTo>
                    <a:pt x="418726" y="193932"/>
                  </a:lnTo>
                  <a:lnTo>
                    <a:pt x="420322" y="194097"/>
                  </a:lnTo>
                  <a:lnTo>
                    <a:pt x="430061" y="196698"/>
                  </a:lnTo>
                  <a:lnTo>
                    <a:pt x="441423" y="201814"/>
                  </a:lnTo>
                  <a:lnTo>
                    <a:pt x="445638" y="201583"/>
                  </a:lnTo>
                  <a:lnTo>
                    <a:pt x="447297" y="198752"/>
                  </a:lnTo>
                  <a:lnTo>
                    <a:pt x="447642" y="197533"/>
                  </a:lnTo>
                  <a:lnTo>
                    <a:pt x="452268" y="194666"/>
                  </a:lnTo>
                  <a:lnTo>
                    <a:pt x="455494" y="194191"/>
                  </a:lnTo>
                  <a:lnTo>
                    <a:pt x="460007" y="195234"/>
                  </a:lnTo>
                  <a:lnTo>
                    <a:pt x="460828" y="194381"/>
                  </a:lnTo>
                  <a:lnTo>
                    <a:pt x="459290" y="190171"/>
                  </a:lnTo>
                  <a:lnTo>
                    <a:pt x="457209" y="186518"/>
                  </a:lnTo>
                  <a:lnTo>
                    <a:pt x="454144" y="184175"/>
                  </a:lnTo>
                  <a:lnTo>
                    <a:pt x="448701" y="177277"/>
                  </a:lnTo>
                  <a:lnTo>
                    <a:pt x="446524" y="173844"/>
                  </a:lnTo>
                  <a:lnTo>
                    <a:pt x="445442" y="170296"/>
                  </a:lnTo>
                  <a:lnTo>
                    <a:pt x="446150" y="167152"/>
                  </a:lnTo>
                  <a:lnTo>
                    <a:pt x="446932" y="164857"/>
                  </a:lnTo>
                  <a:lnTo>
                    <a:pt x="458238" y="159267"/>
                  </a:lnTo>
                  <a:lnTo>
                    <a:pt x="462328" y="155912"/>
                  </a:lnTo>
                  <a:lnTo>
                    <a:pt x="466282" y="151544"/>
                  </a:lnTo>
                  <a:lnTo>
                    <a:pt x="468113" y="150650"/>
                  </a:lnTo>
                  <a:lnTo>
                    <a:pt x="474783" y="149435"/>
                  </a:lnTo>
                  <a:lnTo>
                    <a:pt x="483622" y="145688"/>
                  </a:lnTo>
                  <a:lnTo>
                    <a:pt x="490368" y="140700"/>
                  </a:lnTo>
                  <a:lnTo>
                    <a:pt x="497062" y="133093"/>
                  </a:lnTo>
                  <a:lnTo>
                    <a:pt x="499869" y="131109"/>
                  </a:lnTo>
                  <a:lnTo>
                    <a:pt x="502150" y="131291"/>
                  </a:lnTo>
                  <a:lnTo>
                    <a:pt x="505181" y="132484"/>
                  </a:lnTo>
                  <a:lnTo>
                    <a:pt x="508528" y="134694"/>
                  </a:lnTo>
                  <a:lnTo>
                    <a:pt x="511468" y="134962"/>
                  </a:lnTo>
                  <a:lnTo>
                    <a:pt x="511468" y="856713"/>
                  </a:lnTo>
                  <a:lnTo>
                    <a:pt x="509813" y="856922"/>
                  </a:lnTo>
                  <a:lnTo>
                    <a:pt x="507730" y="857029"/>
                  </a:lnTo>
                  <a:lnTo>
                    <a:pt x="504480" y="855174"/>
                  </a:lnTo>
                  <a:lnTo>
                    <a:pt x="501398" y="855070"/>
                  </a:lnTo>
                  <a:lnTo>
                    <a:pt x="497917" y="855627"/>
                  </a:lnTo>
                  <a:lnTo>
                    <a:pt x="497155" y="855848"/>
                  </a:lnTo>
                  <a:lnTo>
                    <a:pt x="496319" y="856089"/>
                  </a:lnTo>
                  <a:lnTo>
                    <a:pt x="485939" y="855307"/>
                  </a:lnTo>
                  <a:lnTo>
                    <a:pt x="483290" y="853774"/>
                  </a:lnTo>
                  <a:lnTo>
                    <a:pt x="481022" y="852240"/>
                  </a:lnTo>
                  <a:lnTo>
                    <a:pt x="474939" y="851136"/>
                  </a:lnTo>
                  <a:lnTo>
                    <a:pt x="471819" y="849963"/>
                  </a:lnTo>
                  <a:lnTo>
                    <a:pt x="468716" y="848298"/>
                  </a:lnTo>
                  <a:lnTo>
                    <a:pt x="465319" y="846845"/>
                  </a:lnTo>
                  <a:lnTo>
                    <a:pt x="462464" y="847434"/>
                  </a:lnTo>
                  <a:lnTo>
                    <a:pt x="458558" y="846606"/>
                  </a:lnTo>
                  <a:lnTo>
                    <a:pt x="454311" y="845878"/>
                  </a:lnTo>
                  <a:lnTo>
                    <a:pt x="452860" y="846326"/>
                  </a:lnTo>
                  <a:lnTo>
                    <a:pt x="451514" y="848165"/>
                  </a:lnTo>
                  <a:lnTo>
                    <a:pt x="450510" y="849915"/>
                  </a:lnTo>
                  <a:lnTo>
                    <a:pt x="448195" y="848490"/>
                  </a:lnTo>
                  <a:lnTo>
                    <a:pt x="440303" y="841614"/>
                  </a:lnTo>
                  <a:lnTo>
                    <a:pt x="436161" y="837039"/>
                  </a:lnTo>
                  <a:lnTo>
                    <a:pt x="422626" y="826453"/>
                  </a:lnTo>
                  <a:lnTo>
                    <a:pt x="420825" y="825641"/>
                  </a:lnTo>
                  <a:lnTo>
                    <a:pt x="413660" y="824109"/>
                  </a:lnTo>
                  <a:lnTo>
                    <a:pt x="410773" y="822880"/>
                  </a:lnTo>
                  <a:lnTo>
                    <a:pt x="403481" y="815284"/>
                  </a:lnTo>
                  <a:lnTo>
                    <a:pt x="400240" y="816304"/>
                  </a:lnTo>
                  <a:lnTo>
                    <a:pt x="397311" y="816046"/>
                  </a:lnTo>
                  <a:lnTo>
                    <a:pt x="395601" y="815381"/>
                  </a:lnTo>
                  <a:lnTo>
                    <a:pt x="393748" y="814289"/>
                  </a:lnTo>
                  <a:lnTo>
                    <a:pt x="392444" y="812843"/>
                  </a:lnTo>
                  <a:lnTo>
                    <a:pt x="390935" y="809659"/>
                  </a:lnTo>
                  <a:lnTo>
                    <a:pt x="389181" y="807831"/>
                  </a:lnTo>
                  <a:lnTo>
                    <a:pt x="383424" y="805162"/>
                  </a:lnTo>
                  <a:lnTo>
                    <a:pt x="376931" y="803606"/>
                  </a:lnTo>
                  <a:lnTo>
                    <a:pt x="376419" y="802926"/>
                  </a:lnTo>
                  <a:lnTo>
                    <a:pt x="376231" y="801990"/>
                  </a:lnTo>
                  <a:lnTo>
                    <a:pt x="381846" y="800175"/>
                  </a:lnTo>
                  <a:lnTo>
                    <a:pt x="383353" y="799135"/>
                  </a:lnTo>
                  <a:lnTo>
                    <a:pt x="380474" y="797755"/>
                  </a:lnTo>
                  <a:lnTo>
                    <a:pt x="379382" y="797527"/>
                  </a:lnTo>
                  <a:lnTo>
                    <a:pt x="378471" y="796881"/>
                  </a:lnTo>
                  <a:lnTo>
                    <a:pt x="380092" y="795843"/>
                  </a:lnTo>
                  <a:lnTo>
                    <a:pt x="381688" y="795367"/>
                  </a:lnTo>
                  <a:lnTo>
                    <a:pt x="384163" y="796560"/>
                  </a:lnTo>
                  <a:lnTo>
                    <a:pt x="386942" y="798774"/>
                  </a:lnTo>
                  <a:lnTo>
                    <a:pt x="389375" y="799612"/>
                  </a:lnTo>
                  <a:lnTo>
                    <a:pt x="390496" y="798553"/>
                  </a:lnTo>
                  <a:lnTo>
                    <a:pt x="398963" y="796735"/>
                  </a:lnTo>
                  <a:lnTo>
                    <a:pt x="399533" y="795294"/>
                  </a:lnTo>
                  <a:lnTo>
                    <a:pt x="399510" y="793683"/>
                  </a:lnTo>
                  <a:lnTo>
                    <a:pt x="398680" y="793740"/>
                  </a:lnTo>
                  <a:lnTo>
                    <a:pt x="398140" y="793377"/>
                  </a:lnTo>
                  <a:lnTo>
                    <a:pt x="398195" y="791586"/>
                  </a:lnTo>
                  <a:lnTo>
                    <a:pt x="399451" y="789128"/>
                  </a:lnTo>
                  <a:lnTo>
                    <a:pt x="403248" y="785122"/>
                  </a:lnTo>
                  <a:lnTo>
                    <a:pt x="405286" y="779545"/>
                  </a:lnTo>
                  <a:lnTo>
                    <a:pt x="407081" y="778273"/>
                  </a:lnTo>
                  <a:lnTo>
                    <a:pt x="408398" y="779121"/>
                  </a:lnTo>
                  <a:lnTo>
                    <a:pt x="408307" y="780424"/>
                  </a:lnTo>
                  <a:lnTo>
                    <a:pt x="408525" y="781392"/>
                  </a:lnTo>
                  <a:lnTo>
                    <a:pt x="409702" y="779514"/>
                  </a:lnTo>
                  <a:lnTo>
                    <a:pt x="410825" y="776973"/>
                  </a:lnTo>
                  <a:lnTo>
                    <a:pt x="413660" y="776958"/>
                  </a:lnTo>
                  <a:lnTo>
                    <a:pt x="415618" y="777382"/>
                  </a:lnTo>
                  <a:lnTo>
                    <a:pt x="417651" y="777091"/>
                  </a:lnTo>
                  <a:lnTo>
                    <a:pt x="413736" y="772903"/>
                  </a:lnTo>
                  <a:lnTo>
                    <a:pt x="408484" y="768680"/>
                  </a:lnTo>
                  <a:lnTo>
                    <a:pt x="406269" y="768998"/>
                  </a:lnTo>
                  <a:lnTo>
                    <a:pt x="404861" y="768343"/>
                  </a:lnTo>
                  <a:lnTo>
                    <a:pt x="402555" y="764858"/>
                  </a:lnTo>
                  <a:lnTo>
                    <a:pt x="401602" y="761967"/>
                  </a:lnTo>
                  <a:lnTo>
                    <a:pt x="403833" y="762032"/>
                  </a:lnTo>
                  <a:lnTo>
                    <a:pt x="406057" y="762470"/>
                  </a:lnTo>
                  <a:lnTo>
                    <a:pt x="410292" y="760450"/>
                  </a:lnTo>
                  <a:lnTo>
                    <a:pt x="411850" y="760155"/>
                  </a:lnTo>
                  <a:lnTo>
                    <a:pt x="414360" y="760794"/>
                  </a:lnTo>
                  <a:lnTo>
                    <a:pt x="417843" y="761201"/>
                  </a:lnTo>
                  <a:lnTo>
                    <a:pt x="417556" y="759295"/>
                  </a:lnTo>
                  <a:lnTo>
                    <a:pt x="416465" y="757043"/>
                  </a:lnTo>
                  <a:lnTo>
                    <a:pt x="420713" y="755372"/>
                  </a:lnTo>
                  <a:lnTo>
                    <a:pt x="424479" y="754449"/>
                  </a:lnTo>
                  <a:lnTo>
                    <a:pt x="431680" y="751177"/>
                  </a:lnTo>
                  <a:lnTo>
                    <a:pt x="434863" y="750599"/>
                  </a:lnTo>
                  <a:lnTo>
                    <a:pt x="435269" y="749852"/>
                  </a:lnTo>
                  <a:lnTo>
                    <a:pt x="435366" y="748878"/>
                  </a:lnTo>
                  <a:lnTo>
                    <a:pt x="434284" y="746257"/>
                  </a:lnTo>
                  <a:lnTo>
                    <a:pt x="433205" y="744317"/>
                  </a:lnTo>
                  <a:lnTo>
                    <a:pt x="429402" y="744223"/>
                  </a:lnTo>
                  <a:lnTo>
                    <a:pt x="427292" y="746924"/>
                  </a:lnTo>
                  <a:lnTo>
                    <a:pt x="421540" y="747811"/>
                  </a:lnTo>
                  <a:lnTo>
                    <a:pt x="418981" y="747632"/>
                  </a:lnTo>
                  <a:lnTo>
                    <a:pt x="421013" y="745902"/>
                  </a:lnTo>
                  <a:lnTo>
                    <a:pt x="423040" y="745241"/>
                  </a:lnTo>
                  <a:lnTo>
                    <a:pt x="423613" y="744520"/>
                  </a:lnTo>
                  <a:lnTo>
                    <a:pt x="419529" y="745149"/>
                  </a:lnTo>
                  <a:lnTo>
                    <a:pt x="417484" y="746928"/>
                  </a:lnTo>
                  <a:lnTo>
                    <a:pt x="411505" y="749278"/>
                  </a:lnTo>
                  <a:lnTo>
                    <a:pt x="411317" y="748044"/>
                  </a:lnTo>
                  <a:lnTo>
                    <a:pt x="411218" y="746936"/>
                  </a:lnTo>
                  <a:lnTo>
                    <a:pt x="411656" y="745887"/>
                  </a:lnTo>
                  <a:lnTo>
                    <a:pt x="412632" y="745209"/>
                  </a:lnTo>
                  <a:lnTo>
                    <a:pt x="412973" y="744592"/>
                  </a:lnTo>
                  <a:lnTo>
                    <a:pt x="412973" y="744098"/>
                  </a:lnTo>
                  <a:lnTo>
                    <a:pt x="412095" y="743789"/>
                  </a:lnTo>
                  <a:lnTo>
                    <a:pt x="411364" y="743542"/>
                  </a:lnTo>
                  <a:lnTo>
                    <a:pt x="411218" y="742863"/>
                  </a:lnTo>
                  <a:lnTo>
                    <a:pt x="411462" y="742247"/>
                  </a:lnTo>
                  <a:lnTo>
                    <a:pt x="412144" y="741381"/>
                  </a:lnTo>
                  <a:lnTo>
                    <a:pt x="412438" y="740393"/>
                  </a:lnTo>
                  <a:lnTo>
                    <a:pt x="412488" y="738413"/>
                  </a:lnTo>
                  <a:lnTo>
                    <a:pt x="413120" y="736178"/>
                  </a:lnTo>
                  <a:lnTo>
                    <a:pt x="414921" y="734752"/>
                  </a:lnTo>
                  <a:lnTo>
                    <a:pt x="418063" y="734402"/>
                  </a:lnTo>
                  <a:lnTo>
                    <a:pt x="420931" y="733179"/>
                  </a:lnTo>
                  <a:lnTo>
                    <a:pt x="422663" y="731824"/>
                  </a:lnTo>
                  <a:lnTo>
                    <a:pt x="424947" y="728365"/>
                  </a:lnTo>
                  <a:lnTo>
                    <a:pt x="426672" y="727855"/>
                  </a:lnTo>
                  <a:lnTo>
                    <a:pt x="430156" y="728042"/>
                  </a:lnTo>
                  <a:lnTo>
                    <a:pt x="432382" y="728354"/>
                  </a:lnTo>
                  <a:lnTo>
                    <a:pt x="437523" y="728457"/>
                  </a:lnTo>
                  <a:lnTo>
                    <a:pt x="443438" y="728247"/>
                  </a:lnTo>
                  <a:lnTo>
                    <a:pt x="445150" y="728145"/>
                  </a:lnTo>
                  <a:lnTo>
                    <a:pt x="446096" y="726941"/>
                  </a:lnTo>
                  <a:lnTo>
                    <a:pt x="446031" y="724773"/>
                  </a:lnTo>
                  <a:lnTo>
                    <a:pt x="446876" y="722774"/>
                  </a:lnTo>
                  <a:lnTo>
                    <a:pt x="448448" y="719015"/>
                  </a:lnTo>
                  <a:lnTo>
                    <a:pt x="450128" y="717048"/>
                  </a:lnTo>
                  <a:lnTo>
                    <a:pt x="450059" y="716172"/>
                  </a:lnTo>
                  <a:lnTo>
                    <a:pt x="449180" y="715803"/>
                  </a:lnTo>
                  <a:lnTo>
                    <a:pt x="448033" y="715619"/>
                  </a:lnTo>
                  <a:lnTo>
                    <a:pt x="447617" y="715213"/>
                  </a:lnTo>
                  <a:lnTo>
                    <a:pt x="447670" y="714387"/>
                  </a:lnTo>
                  <a:lnTo>
                    <a:pt x="448554" y="713580"/>
                  </a:lnTo>
                  <a:lnTo>
                    <a:pt x="448394" y="711918"/>
                  </a:lnTo>
                  <a:lnTo>
                    <a:pt x="447839" y="710071"/>
                  </a:lnTo>
                  <a:lnTo>
                    <a:pt x="447355" y="708409"/>
                  </a:lnTo>
                  <a:lnTo>
                    <a:pt x="445803" y="707583"/>
                  </a:lnTo>
                  <a:lnTo>
                    <a:pt x="443133" y="707034"/>
                  </a:lnTo>
                  <a:lnTo>
                    <a:pt x="443702" y="705010"/>
                  </a:lnTo>
                  <a:lnTo>
                    <a:pt x="444457" y="702823"/>
                  </a:lnTo>
                  <a:lnTo>
                    <a:pt x="445591" y="701607"/>
                  </a:lnTo>
                  <a:lnTo>
                    <a:pt x="446409" y="700877"/>
                  </a:lnTo>
                  <a:lnTo>
                    <a:pt x="448869" y="701275"/>
                  </a:lnTo>
                  <a:lnTo>
                    <a:pt x="450646" y="700887"/>
                  </a:lnTo>
                  <a:lnTo>
                    <a:pt x="451069" y="700468"/>
                  </a:lnTo>
                  <a:lnTo>
                    <a:pt x="450750" y="699633"/>
                  </a:lnTo>
                  <a:lnTo>
                    <a:pt x="447977" y="698876"/>
                  </a:lnTo>
                  <a:lnTo>
                    <a:pt x="445535" y="697836"/>
                  </a:lnTo>
                  <a:lnTo>
                    <a:pt x="444481" y="696550"/>
                  </a:lnTo>
                  <a:lnTo>
                    <a:pt x="444058" y="695171"/>
                  </a:lnTo>
                  <a:lnTo>
                    <a:pt x="445671" y="694353"/>
                  </a:lnTo>
                  <a:lnTo>
                    <a:pt x="448551" y="693568"/>
                  </a:lnTo>
                  <a:lnTo>
                    <a:pt x="450467" y="691689"/>
                  </a:lnTo>
                  <a:lnTo>
                    <a:pt x="452538" y="689675"/>
                  </a:lnTo>
                  <a:lnTo>
                    <a:pt x="453395" y="688208"/>
                  </a:lnTo>
                  <a:lnTo>
                    <a:pt x="453827" y="686615"/>
                  </a:lnTo>
                  <a:lnTo>
                    <a:pt x="453779" y="684850"/>
                  </a:lnTo>
                  <a:lnTo>
                    <a:pt x="452268" y="683053"/>
                  </a:lnTo>
                  <a:lnTo>
                    <a:pt x="452268" y="681173"/>
                  </a:lnTo>
                  <a:lnTo>
                    <a:pt x="453088" y="679864"/>
                  </a:lnTo>
                  <a:lnTo>
                    <a:pt x="452773" y="678882"/>
                  </a:lnTo>
                  <a:lnTo>
                    <a:pt x="451667" y="678312"/>
                  </a:lnTo>
                  <a:lnTo>
                    <a:pt x="450072" y="678483"/>
                  </a:lnTo>
                  <a:lnTo>
                    <a:pt x="448266" y="679146"/>
                  </a:lnTo>
                  <a:lnTo>
                    <a:pt x="446137" y="679021"/>
                  </a:lnTo>
                  <a:lnTo>
                    <a:pt x="442732" y="676761"/>
                  </a:lnTo>
                  <a:lnTo>
                    <a:pt x="439110" y="674536"/>
                  </a:lnTo>
                  <a:lnTo>
                    <a:pt x="437025" y="674461"/>
                  </a:lnTo>
                  <a:lnTo>
                    <a:pt x="435576" y="674133"/>
                  </a:lnTo>
                  <a:lnTo>
                    <a:pt x="434317" y="672985"/>
                  </a:lnTo>
                  <a:lnTo>
                    <a:pt x="433561" y="671508"/>
                  </a:lnTo>
                  <a:lnTo>
                    <a:pt x="432743" y="670853"/>
                  </a:lnTo>
                  <a:lnTo>
                    <a:pt x="431419" y="671262"/>
                  </a:lnTo>
                  <a:lnTo>
                    <a:pt x="429490" y="671934"/>
                  </a:lnTo>
                  <a:lnTo>
                    <a:pt x="427072" y="671753"/>
                  </a:lnTo>
                  <a:lnTo>
                    <a:pt x="423939" y="670035"/>
                  </a:lnTo>
                  <a:lnTo>
                    <a:pt x="421088" y="668058"/>
                  </a:lnTo>
                  <a:lnTo>
                    <a:pt x="418970" y="668009"/>
                  </a:lnTo>
                  <a:lnTo>
                    <a:pt x="416742" y="667735"/>
                  </a:lnTo>
                  <a:lnTo>
                    <a:pt x="412483" y="665187"/>
                  </a:lnTo>
                  <a:lnTo>
                    <a:pt x="411380" y="665212"/>
                  </a:lnTo>
                  <a:lnTo>
                    <a:pt x="410691" y="665965"/>
                  </a:lnTo>
                  <a:lnTo>
                    <a:pt x="410363" y="668010"/>
                  </a:lnTo>
                  <a:lnTo>
                    <a:pt x="410011" y="668447"/>
                  </a:lnTo>
                  <a:lnTo>
                    <a:pt x="409253" y="668781"/>
                  </a:lnTo>
                  <a:lnTo>
                    <a:pt x="407802" y="669006"/>
                  </a:lnTo>
                  <a:lnTo>
                    <a:pt x="405666" y="667731"/>
                  </a:lnTo>
                  <a:lnTo>
                    <a:pt x="400224" y="663548"/>
                  </a:lnTo>
                  <a:lnTo>
                    <a:pt x="398033" y="660486"/>
                  </a:lnTo>
                  <a:lnTo>
                    <a:pt x="397530" y="658260"/>
                  </a:lnTo>
                  <a:lnTo>
                    <a:pt x="395739" y="656844"/>
                  </a:lnTo>
                  <a:lnTo>
                    <a:pt x="394003" y="654792"/>
                  </a:lnTo>
                  <a:lnTo>
                    <a:pt x="392241" y="654614"/>
                  </a:lnTo>
                  <a:lnTo>
                    <a:pt x="390289" y="655271"/>
                  </a:lnTo>
                  <a:lnTo>
                    <a:pt x="388436" y="656259"/>
                  </a:lnTo>
                  <a:lnTo>
                    <a:pt x="387555" y="656531"/>
                  </a:lnTo>
                  <a:lnTo>
                    <a:pt x="384398" y="656877"/>
                  </a:lnTo>
                  <a:lnTo>
                    <a:pt x="379326" y="658260"/>
                  </a:lnTo>
                  <a:lnTo>
                    <a:pt x="377939" y="659580"/>
                  </a:lnTo>
                  <a:lnTo>
                    <a:pt x="376238" y="660651"/>
                  </a:lnTo>
                  <a:lnTo>
                    <a:pt x="374916" y="659909"/>
                  </a:lnTo>
                  <a:lnTo>
                    <a:pt x="373593" y="658589"/>
                  </a:lnTo>
                  <a:lnTo>
                    <a:pt x="370697" y="658115"/>
                  </a:lnTo>
                  <a:lnTo>
                    <a:pt x="369309" y="658589"/>
                  </a:lnTo>
                  <a:lnTo>
                    <a:pt x="367922" y="657682"/>
                  </a:lnTo>
                  <a:lnTo>
                    <a:pt x="366730" y="656058"/>
                  </a:lnTo>
                  <a:lnTo>
                    <a:pt x="365115" y="654877"/>
                  </a:lnTo>
                  <a:lnTo>
                    <a:pt x="362714" y="654554"/>
                  </a:lnTo>
                  <a:lnTo>
                    <a:pt x="360114" y="654049"/>
                  </a:lnTo>
                  <a:lnTo>
                    <a:pt x="358034" y="654958"/>
                  </a:lnTo>
                  <a:lnTo>
                    <a:pt x="355326" y="656691"/>
                  </a:lnTo>
                  <a:lnTo>
                    <a:pt x="353500" y="656031"/>
                  </a:lnTo>
                  <a:lnTo>
                    <a:pt x="352491" y="653965"/>
                  </a:lnTo>
                  <a:lnTo>
                    <a:pt x="351230" y="653387"/>
                  </a:lnTo>
                  <a:lnTo>
                    <a:pt x="349531" y="651070"/>
                  </a:lnTo>
                  <a:lnTo>
                    <a:pt x="349090" y="649000"/>
                  </a:lnTo>
                  <a:lnTo>
                    <a:pt x="349531" y="648090"/>
                  </a:lnTo>
                  <a:lnTo>
                    <a:pt x="350161" y="646930"/>
                  </a:lnTo>
                  <a:lnTo>
                    <a:pt x="350161" y="645603"/>
                  </a:lnTo>
                  <a:lnTo>
                    <a:pt x="349658" y="644441"/>
                  </a:lnTo>
                  <a:lnTo>
                    <a:pt x="348902" y="643528"/>
                  </a:lnTo>
                  <a:lnTo>
                    <a:pt x="348082" y="640455"/>
                  </a:lnTo>
                  <a:lnTo>
                    <a:pt x="347389" y="639124"/>
                  </a:lnTo>
                  <a:lnTo>
                    <a:pt x="347263" y="638044"/>
                  </a:lnTo>
                  <a:lnTo>
                    <a:pt x="347831" y="637044"/>
                  </a:lnTo>
                  <a:lnTo>
                    <a:pt x="347326" y="636379"/>
                  </a:lnTo>
                  <a:lnTo>
                    <a:pt x="346380" y="636295"/>
                  </a:lnTo>
                  <a:lnTo>
                    <a:pt x="344808" y="636379"/>
                  </a:lnTo>
                  <a:lnTo>
                    <a:pt x="343925" y="635879"/>
                  </a:lnTo>
                  <a:lnTo>
                    <a:pt x="342979" y="634129"/>
                  </a:lnTo>
                  <a:lnTo>
                    <a:pt x="342476" y="632379"/>
                  </a:lnTo>
                  <a:lnTo>
                    <a:pt x="341845" y="631712"/>
                  </a:lnTo>
                  <a:lnTo>
                    <a:pt x="340213" y="631761"/>
                  </a:lnTo>
                  <a:lnTo>
                    <a:pt x="337522" y="632128"/>
                  </a:lnTo>
                  <a:lnTo>
                    <a:pt x="335130" y="632710"/>
                  </a:lnTo>
                  <a:lnTo>
                    <a:pt x="334067" y="632626"/>
                  </a:lnTo>
                  <a:lnTo>
                    <a:pt x="331955" y="631721"/>
                  </a:lnTo>
                  <a:lnTo>
                    <a:pt x="329174" y="630727"/>
                  </a:lnTo>
                  <a:lnTo>
                    <a:pt x="323495" y="630530"/>
                  </a:lnTo>
                  <a:lnTo>
                    <a:pt x="323046" y="630191"/>
                  </a:lnTo>
                  <a:lnTo>
                    <a:pt x="323368" y="629561"/>
                  </a:lnTo>
                  <a:lnTo>
                    <a:pt x="324523" y="628540"/>
                  </a:lnTo>
                  <a:lnTo>
                    <a:pt x="324398" y="627704"/>
                  </a:lnTo>
                  <a:lnTo>
                    <a:pt x="323400" y="627028"/>
                  </a:lnTo>
                  <a:lnTo>
                    <a:pt x="322884" y="625364"/>
                  </a:lnTo>
                  <a:lnTo>
                    <a:pt x="322944" y="623480"/>
                  </a:lnTo>
                  <a:lnTo>
                    <a:pt x="322759" y="621430"/>
                  </a:lnTo>
                  <a:lnTo>
                    <a:pt x="321562" y="619837"/>
                  </a:lnTo>
                  <a:lnTo>
                    <a:pt x="320869" y="618748"/>
                  </a:lnTo>
                  <a:lnTo>
                    <a:pt x="320994" y="617741"/>
                  </a:lnTo>
                  <a:lnTo>
                    <a:pt x="323605" y="617356"/>
                  </a:lnTo>
                  <a:lnTo>
                    <a:pt x="326704" y="616641"/>
                  </a:lnTo>
                  <a:lnTo>
                    <a:pt x="327222" y="615904"/>
                  </a:lnTo>
                  <a:lnTo>
                    <a:pt x="327114" y="614757"/>
                  </a:lnTo>
                  <a:lnTo>
                    <a:pt x="320817" y="608875"/>
                  </a:lnTo>
                  <a:lnTo>
                    <a:pt x="318656" y="603657"/>
                  </a:lnTo>
                  <a:lnTo>
                    <a:pt x="316594" y="600825"/>
                  </a:lnTo>
                  <a:lnTo>
                    <a:pt x="314311" y="598921"/>
                  </a:lnTo>
                  <a:lnTo>
                    <a:pt x="312463" y="598056"/>
                  </a:lnTo>
                  <a:lnTo>
                    <a:pt x="309768" y="598417"/>
                  </a:lnTo>
                  <a:lnTo>
                    <a:pt x="306196" y="598382"/>
                  </a:lnTo>
                  <a:lnTo>
                    <a:pt x="302553" y="597795"/>
                  </a:lnTo>
                  <a:lnTo>
                    <a:pt x="299487" y="598185"/>
                  </a:lnTo>
                  <a:lnTo>
                    <a:pt x="293987" y="600681"/>
                  </a:lnTo>
                  <a:lnTo>
                    <a:pt x="291925" y="600791"/>
                  </a:lnTo>
                  <a:lnTo>
                    <a:pt x="288364" y="600006"/>
                  </a:lnTo>
                  <a:lnTo>
                    <a:pt x="285324" y="599132"/>
                  </a:lnTo>
                  <a:lnTo>
                    <a:pt x="283721" y="599171"/>
                  </a:lnTo>
                  <a:lnTo>
                    <a:pt x="282745" y="599539"/>
                  </a:lnTo>
                  <a:lnTo>
                    <a:pt x="282119" y="600213"/>
                  </a:lnTo>
                  <a:lnTo>
                    <a:pt x="280346" y="604899"/>
                  </a:lnTo>
                  <a:lnTo>
                    <a:pt x="278887" y="605819"/>
                  </a:lnTo>
                  <a:lnTo>
                    <a:pt x="276796" y="606776"/>
                  </a:lnTo>
                  <a:lnTo>
                    <a:pt x="275012" y="606941"/>
                  </a:lnTo>
                  <a:lnTo>
                    <a:pt x="273514" y="606893"/>
                  </a:lnTo>
                  <a:lnTo>
                    <a:pt x="271342" y="606175"/>
                  </a:lnTo>
                  <a:lnTo>
                    <a:pt x="269281" y="605331"/>
                  </a:lnTo>
                  <a:lnTo>
                    <a:pt x="268860" y="605282"/>
                  </a:lnTo>
                  <a:lnTo>
                    <a:pt x="268755" y="604549"/>
                  </a:lnTo>
                  <a:lnTo>
                    <a:pt x="267252" y="601739"/>
                  </a:lnTo>
                  <a:lnTo>
                    <a:pt x="266351" y="600507"/>
                  </a:lnTo>
                  <a:lnTo>
                    <a:pt x="265282" y="599836"/>
                  </a:lnTo>
                  <a:lnTo>
                    <a:pt x="264747" y="599020"/>
                  </a:lnTo>
                  <a:lnTo>
                    <a:pt x="264730" y="595642"/>
                  </a:lnTo>
                  <a:lnTo>
                    <a:pt x="264928" y="592475"/>
                  </a:lnTo>
                  <a:lnTo>
                    <a:pt x="265600" y="592067"/>
                  </a:lnTo>
                  <a:lnTo>
                    <a:pt x="263615" y="589481"/>
                  </a:lnTo>
                  <a:lnTo>
                    <a:pt x="263466" y="587521"/>
                  </a:lnTo>
                  <a:lnTo>
                    <a:pt x="264440" y="586545"/>
                  </a:lnTo>
                  <a:lnTo>
                    <a:pt x="264470" y="585716"/>
                  </a:lnTo>
                  <a:lnTo>
                    <a:pt x="263814" y="584551"/>
                  </a:lnTo>
                  <a:lnTo>
                    <a:pt x="261771" y="582651"/>
                  </a:lnTo>
                  <a:lnTo>
                    <a:pt x="259787" y="580509"/>
                  </a:lnTo>
                  <a:lnTo>
                    <a:pt x="258506" y="578823"/>
                  </a:lnTo>
                  <a:lnTo>
                    <a:pt x="257703" y="578017"/>
                  </a:lnTo>
                  <a:lnTo>
                    <a:pt x="258679" y="576693"/>
                  </a:lnTo>
                  <a:lnTo>
                    <a:pt x="260042" y="574352"/>
                  </a:lnTo>
                  <a:lnTo>
                    <a:pt x="260568" y="572977"/>
                  </a:lnTo>
                  <a:lnTo>
                    <a:pt x="261221" y="572640"/>
                  </a:lnTo>
                  <a:lnTo>
                    <a:pt x="264429" y="572446"/>
                  </a:lnTo>
                  <a:lnTo>
                    <a:pt x="266757" y="572493"/>
                  </a:lnTo>
                  <a:lnTo>
                    <a:pt x="268508" y="572996"/>
                  </a:lnTo>
                  <a:lnTo>
                    <a:pt x="269171" y="574115"/>
                  </a:lnTo>
                  <a:lnTo>
                    <a:pt x="270769" y="575335"/>
                  </a:lnTo>
                  <a:lnTo>
                    <a:pt x="275319" y="575837"/>
                  </a:lnTo>
                  <a:lnTo>
                    <a:pt x="277232" y="575786"/>
                  </a:lnTo>
                  <a:lnTo>
                    <a:pt x="279636" y="574670"/>
                  </a:lnTo>
                  <a:lnTo>
                    <a:pt x="283518" y="572203"/>
                  </a:lnTo>
                  <a:lnTo>
                    <a:pt x="284471" y="570409"/>
                  </a:lnTo>
                  <a:lnTo>
                    <a:pt x="286874" y="569144"/>
                  </a:lnTo>
                  <a:lnTo>
                    <a:pt x="288342" y="568648"/>
                  </a:lnTo>
                  <a:lnTo>
                    <a:pt x="289666" y="568425"/>
                  </a:lnTo>
                  <a:lnTo>
                    <a:pt x="289798" y="567369"/>
                  </a:lnTo>
                  <a:lnTo>
                    <a:pt x="289713" y="565924"/>
                  </a:lnTo>
                  <a:lnTo>
                    <a:pt x="289256" y="565060"/>
                  </a:lnTo>
                  <a:lnTo>
                    <a:pt x="284477" y="562081"/>
                  </a:lnTo>
                  <a:lnTo>
                    <a:pt x="283875" y="561108"/>
                  </a:lnTo>
                  <a:lnTo>
                    <a:pt x="283494" y="559960"/>
                  </a:lnTo>
                  <a:lnTo>
                    <a:pt x="284064" y="558872"/>
                  </a:lnTo>
                  <a:lnTo>
                    <a:pt x="284047" y="557676"/>
                  </a:lnTo>
                  <a:lnTo>
                    <a:pt x="278524" y="555006"/>
                  </a:lnTo>
                  <a:lnTo>
                    <a:pt x="273920" y="554533"/>
                  </a:lnTo>
                  <a:lnTo>
                    <a:pt x="270130" y="554683"/>
                  </a:lnTo>
                  <a:lnTo>
                    <a:pt x="268657" y="554123"/>
                  </a:lnTo>
                  <a:lnTo>
                    <a:pt x="269294" y="552775"/>
                  </a:lnTo>
                  <a:lnTo>
                    <a:pt x="270229" y="550351"/>
                  </a:lnTo>
                  <a:lnTo>
                    <a:pt x="270506" y="548356"/>
                  </a:lnTo>
                  <a:lnTo>
                    <a:pt x="270244" y="547448"/>
                  </a:lnTo>
                  <a:lnTo>
                    <a:pt x="269493" y="546684"/>
                  </a:lnTo>
                  <a:lnTo>
                    <a:pt x="265876" y="545005"/>
                  </a:lnTo>
                  <a:lnTo>
                    <a:pt x="260905" y="542429"/>
                  </a:lnTo>
                  <a:lnTo>
                    <a:pt x="258595" y="539515"/>
                  </a:lnTo>
                  <a:lnTo>
                    <a:pt x="257409" y="536469"/>
                  </a:lnTo>
                  <a:lnTo>
                    <a:pt x="256066" y="534599"/>
                  </a:lnTo>
                  <a:lnTo>
                    <a:pt x="253635" y="533414"/>
                  </a:lnTo>
                  <a:lnTo>
                    <a:pt x="253792" y="532641"/>
                  </a:lnTo>
                  <a:lnTo>
                    <a:pt x="255405" y="529773"/>
                  </a:lnTo>
                  <a:lnTo>
                    <a:pt x="255345" y="529333"/>
                  </a:lnTo>
                  <a:lnTo>
                    <a:pt x="254662" y="528625"/>
                  </a:lnTo>
                  <a:lnTo>
                    <a:pt x="251630" y="527174"/>
                  </a:lnTo>
                  <a:lnTo>
                    <a:pt x="247532" y="524498"/>
                  </a:lnTo>
                  <a:lnTo>
                    <a:pt x="247359" y="523800"/>
                  </a:lnTo>
                  <a:lnTo>
                    <a:pt x="247657" y="522116"/>
                  </a:lnTo>
                  <a:lnTo>
                    <a:pt x="248219" y="520457"/>
                  </a:lnTo>
                  <a:lnTo>
                    <a:pt x="249035" y="519666"/>
                  </a:lnTo>
                  <a:lnTo>
                    <a:pt x="251488" y="516293"/>
                  </a:lnTo>
                  <a:lnTo>
                    <a:pt x="251488" y="515145"/>
                  </a:lnTo>
                  <a:lnTo>
                    <a:pt x="251071" y="513612"/>
                  </a:lnTo>
                  <a:lnTo>
                    <a:pt x="249270" y="510966"/>
                  </a:lnTo>
                  <a:lnTo>
                    <a:pt x="247878" y="509262"/>
                  </a:lnTo>
                  <a:lnTo>
                    <a:pt x="247791" y="508389"/>
                  </a:lnTo>
                  <a:lnTo>
                    <a:pt x="248022" y="507670"/>
                  </a:lnTo>
                  <a:lnTo>
                    <a:pt x="248925" y="506740"/>
                  </a:lnTo>
                  <a:lnTo>
                    <a:pt x="249782" y="505596"/>
                  </a:lnTo>
                  <a:lnTo>
                    <a:pt x="249963" y="501639"/>
                  </a:lnTo>
                  <a:lnTo>
                    <a:pt x="249920" y="500255"/>
                  </a:lnTo>
                  <a:lnTo>
                    <a:pt x="249376" y="499438"/>
                  </a:lnTo>
                  <a:lnTo>
                    <a:pt x="248795" y="499093"/>
                  </a:lnTo>
                  <a:lnTo>
                    <a:pt x="247575" y="499291"/>
                  </a:lnTo>
                  <a:lnTo>
                    <a:pt x="245826" y="498641"/>
                  </a:lnTo>
                  <a:lnTo>
                    <a:pt x="244513" y="497607"/>
                  </a:lnTo>
                  <a:lnTo>
                    <a:pt x="243701" y="497272"/>
                  </a:lnTo>
                  <a:lnTo>
                    <a:pt x="242842" y="496216"/>
                  </a:lnTo>
                  <a:lnTo>
                    <a:pt x="240380" y="494089"/>
                  </a:lnTo>
                  <a:lnTo>
                    <a:pt x="239957" y="493529"/>
                  </a:lnTo>
                  <a:lnTo>
                    <a:pt x="235033" y="491714"/>
                  </a:lnTo>
                  <a:lnTo>
                    <a:pt x="230812" y="491987"/>
                  </a:lnTo>
                  <a:lnTo>
                    <a:pt x="228476" y="491712"/>
                  </a:lnTo>
                  <a:lnTo>
                    <a:pt x="227251" y="492115"/>
                  </a:lnTo>
                  <a:lnTo>
                    <a:pt x="225975" y="493271"/>
                  </a:lnTo>
                  <a:lnTo>
                    <a:pt x="224211" y="494039"/>
                  </a:lnTo>
                  <a:lnTo>
                    <a:pt x="222893" y="494060"/>
                  </a:lnTo>
                  <a:lnTo>
                    <a:pt x="221688" y="494636"/>
                  </a:lnTo>
                  <a:lnTo>
                    <a:pt x="218419" y="496704"/>
                  </a:lnTo>
                  <a:lnTo>
                    <a:pt x="216888" y="495454"/>
                  </a:lnTo>
                  <a:lnTo>
                    <a:pt x="215571" y="493605"/>
                  </a:lnTo>
                  <a:lnTo>
                    <a:pt x="216007" y="492040"/>
                  </a:lnTo>
                  <a:lnTo>
                    <a:pt x="216556" y="490599"/>
                  </a:lnTo>
                  <a:lnTo>
                    <a:pt x="216515" y="489630"/>
                  </a:lnTo>
                  <a:lnTo>
                    <a:pt x="216048" y="488804"/>
                  </a:lnTo>
                  <a:lnTo>
                    <a:pt x="214014" y="487896"/>
                  </a:lnTo>
                  <a:lnTo>
                    <a:pt x="209689" y="486237"/>
                  </a:lnTo>
                  <a:lnTo>
                    <a:pt x="208458" y="486217"/>
                  </a:lnTo>
                  <a:lnTo>
                    <a:pt x="206594" y="486830"/>
                  </a:lnTo>
                  <a:lnTo>
                    <a:pt x="203217" y="488684"/>
                  </a:lnTo>
                  <a:lnTo>
                    <a:pt x="202025" y="488286"/>
                  </a:lnTo>
                  <a:lnTo>
                    <a:pt x="200920" y="486813"/>
                  </a:lnTo>
                  <a:lnTo>
                    <a:pt x="199728" y="484970"/>
                  </a:lnTo>
                  <a:lnTo>
                    <a:pt x="198115" y="484027"/>
                  </a:lnTo>
                  <a:lnTo>
                    <a:pt x="194644" y="484120"/>
                  </a:lnTo>
                  <a:lnTo>
                    <a:pt x="194314" y="484191"/>
                  </a:lnTo>
                  <a:lnTo>
                    <a:pt x="192638" y="485258"/>
                  </a:lnTo>
                  <a:lnTo>
                    <a:pt x="191930" y="485152"/>
                  </a:lnTo>
                  <a:lnTo>
                    <a:pt x="188916" y="482437"/>
                  </a:lnTo>
                  <a:lnTo>
                    <a:pt x="189477" y="480956"/>
                  </a:lnTo>
                  <a:lnTo>
                    <a:pt x="190112" y="478766"/>
                  </a:lnTo>
                  <a:lnTo>
                    <a:pt x="189883" y="477040"/>
                  </a:lnTo>
                  <a:lnTo>
                    <a:pt x="189386" y="474807"/>
                  </a:lnTo>
                  <a:lnTo>
                    <a:pt x="188095" y="470924"/>
                  </a:lnTo>
                  <a:lnTo>
                    <a:pt x="187924" y="469825"/>
                  </a:lnTo>
                  <a:lnTo>
                    <a:pt x="185810" y="468124"/>
                  </a:lnTo>
                  <a:lnTo>
                    <a:pt x="185458" y="466695"/>
                  </a:lnTo>
                  <a:lnTo>
                    <a:pt x="184348" y="464858"/>
                  </a:lnTo>
                  <a:lnTo>
                    <a:pt x="183258" y="463682"/>
                  </a:lnTo>
                  <a:lnTo>
                    <a:pt x="183025" y="461064"/>
                  </a:lnTo>
                  <a:lnTo>
                    <a:pt x="182297" y="460142"/>
                  </a:lnTo>
                  <a:lnTo>
                    <a:pt x="181356" y="459710"/>
                  </a:lnTo>
                  <a:lnTo>
                    <a:pt x="178030" y="460463"/>
                  </a:lnTo>
                  <a:lnTo>
                    <a:pt x="177672" y="460386"/>
                  </a:lnTo>
                  <a:lnTo>
                    <a:pt x="179257" y="456207"/>
                  </a:lnTo>
                  <a:lnTo>
                    <a:pt x="179395" y="453786"/>
                  </a:lnTo>
                  <a:lnTo>
                    <a:pt x="180399" y="451240"/>
                  </a:lnTo>
                  <a:lnTo>
                    <a:pt x="181543" y="450233"/>
                  </a:lnTo>
                  <a:lnTo>
                    <a:pt x="181891" y="449359"/>
                  </a:lnTo>
                  <a:lnTo>
                    <a:pt x="182068" y="447671"/>
                  </a:lnTo>
                  <a:lnTo>
                    <a:pt x="181854" y="446224"/>
                  </a:lnTo>
                  <a:lnTo>
                    <a:pt x="181153" y="445474"/>
                  </a:lnTo>
                  <a:lnTo>
                    <a:pt x="178408" y="443849"/>
                  </a:lnTo>
                  <a:lnTo>
                    <a:pt x="175443" y="441889"/>
                  </a:lnTo>
                  <a:lnTo>
                    <a:pt x="174834" y="439396"/>
                  </a:lnTo>
                  <a:lnTo>
                    <a:pt x="173918" y="438890"/>
                  </a:lnTo>
                  <a:lnTo>
                    <a:pt x="171314" y="438760"/>
                  </a:lnTo>
                  <a:lnTo>
                    <a:pt x="171366" y="438054"/>
                  </a:lnTo>
                  <a:lnTo>
                    <a:pt x="171753" y="436069"/>
                  </a:lnTo>
                  <a:lnTo>
                    <a:pt x="172377" y="434339"/>
                  </a:lnTo>
                  <a:lnTo>
                    <a:pt x="174411" y="432483"/>
                  </a:lnTo>
                  <a:lnTo>
                    <a:pt x="174914" y="431229"/>
                  </a:lnTo>
                  <a:lnTo>
                    <a:pt x="175519" y="430103"/>
                  </a:lnTo>
                  <a:lnTo>
                    <a:pt x="180179" y="428773"/>
                  </a:lnTo>
                  <a:lnTo>
                    <a:pt x="180712" y="428270"/>
                  </a:lnTo>
                  <a:lnTo>
                    <a:pt x="180747" y="427823"/>
                  </a:lnTo>
                  <a:lnTo>
                    <a:pt x="180530" y="427393"/>
                  </a:lnTo>
                  <a:lnTo>
                    <a:pt x="179496" y="426710"/>
                  </a:lnTo>
                  <a:lnTo>
                    <a:pt x="178423" y="425777"/>
                  </a:lnTo>
                  <a:lnTo>
                    <a:pt x="177775" y="423235"/>
                  </a:lnTo>
                  <a:lnTo>
                    <a:pt x="176160" y="419249"/>
                  </a:lnTo>
                  <a:lnTo>
                    <a:pt x="174642" y="416573"/>
                  </a:lnTo>
                  <a:lnTo>
                    <a:pt x="174318" y="415005"/>
                  </a:lnTo>
                  <a:lnTo>
                    <a:pt x="174711" y="413194"/>
                  </a:lnTo>
                  <a:lnTo>
                    <a:pt x="175253" y="411415"/>
                  </a:lnTo>
                  <a:lnTo>
                    <a:pt x="175281" y="409681"/>
                  </a:lnTo>
                  <a:lnTo>
                    <a:pt x="172975" y="400049"/>
                  </a:lnTo>
                  <a:lnTo>
                    <a:pt x="173132" y="398291"/>
                  </a:lnTo>
                  <a:lnTo>
                    <a:pt x="173802" y="396537"/>
                  </a:lnTo>
                  <a:lnTo>
                    <a:pt x="174877" y="395076"/>
                  </a:lnTo>
                  <a:lnTo>
                    <a:pt x="177281" y="393169"/>
                  </a:lnTo>
                  <a:lnTo>
                    <a:pt x="180284" y="389686"/>
                  </a:lnTo>
                  <a:lnTo>
                    <a:pt x="182316" y="385099"/>
                  </a:lnTo>
                  <a:lnTo>
                    <a:pt x="183381" y="382324"/>
                  </a:lnTo>
                  <a:lnTo>
                    <a:pt x="184277" y="381691"/>
                  </a:lnTo>
                  <a:lnTo>
                    <a:pt x="186007" y="381537"/>
                  </a:lnTo>
                  <a:lnTo>
                    <a:pt x="186663" y="380683"/>
                  </a:lnTo>
                  <a:lnTo>
                    <a:pt x="187000" y="380178"/>
                  </a:lnTo>
                  <a:lnTo>
                    <a:pt x="188482" y="379710"/>
                  </a:lnTo>
                  <a:lnTo>
                    <a:pt x="188985" y="379159"/>
                  </a:lnTo>
                  <a:lnTo>
                    <a:pt x="188585" y="378221"/>
                  </a:lnTo>
                  <a:lnTo>
                    <a:pt x="187099" y="376580"/>
                  </a:lnTo>
                  <a:lnTo>
                    <a:pt x="185920" y="375560"/>
                  </a:lnTo>
                  <a:lnTo>
                    <a:pt x="187058" y="373273"/>
                  </a:lnTo>
                  <a:lnTo>
                    <a:pt x="186668" y="370213"/>
                  </a:lnTo>
                  <a:lnTo>
                    <a:pt x="185953" y="367662"/>
                  </a:lnTo>
                  <a:lnTo>
                    <a:pt x="186927" y="365792"/>
                  </a:lnTo>
                  <a:lnTo>
                    <a:pt x="188544" y="365628"/>
                  </a:lnTo>
                  <a:lnTo>
                    <a:pt x="190343" y="367665"/>
                  </a:lnTo>
                  <a:lnTo>
                    <a:pt x="193042" y="368722"/>
                  </a:lnTo>
                  <a:lnTo>
                    <a:pt x="195014" y="367355"/>
                  </a:lnTo>
                  <a:lnTo>
                    <a:pt x="195681" y="364714"/>
                  </a:lnTo>
                  <a:lnTo>
                    <a:pt x="197102" y="363551"/>
                  </a:lnTo>
                  <a:lnTo>
                    <a:pt x="198998" y="364589"/>
                  </a:lnTo>
                  <a:lnTo>
                    <a:pt x="202176" y="364964"/>
                  </a:lnTo>
                  <a:lnTo>
                    <a:pt x="204813" y="364792"/>
                  </a:lnTo>
                  <a:lnTo>
                    <a:pt x="206590" y="364237"/>
                  </a:lnTo>
                  <a:lnTo>
                    <a:pt x="207348" y="363378"/>
                  </a:lnTo>
                  <a:lnTo>
                    <a:pt x="208052" y="361836"/>
                  </a:lnTo>
                  <a:lnTo>
                    <a:pt x="209505" y="359874"/>
                  </a:lnTo>
                  <a:lnTo>
                    <a:pt x="211013" y="358593"/>
                  </a:lnTo>
                  <a:lnTo>
                    <a:pt x="222565" y="360050"/>
                  </a:lnTo>
                  <a:lnTo>
                    <a:pt x="232578" y="362759"/>
                  </a:lnTo>
                  <a:lnTo>
                    <a:pt x="233336" y="361745"/>
                  </a:lnTo>
                  <a:lnTo>
                    <a:pt x="233686" y="360001"/>
                  </a:lnTo>
                  <a:lnTo>
                    <a:pt x="231194" y="358500"/>
                  </a:lnTo>
                  <a:lnTo>
                    <a:pt x="229354" y="357714"/>
                  </a:lnTo>
                  <a:lnTo>
                    <a:pt x="227044" y="354588"/>
                  </a:lnTo>
                  <a:lnTo>
                    <a:pt x="223703" y="352121"/>
                  </a:lnTo>
                  <a:lnTo>
                    <a:pt x="220346" y="351904"/>
                  </a:lnTo>
                  <a:lnTo>
                    <a:pt x="215947" y="352763"/>
                  </a:lnTo>
                  <a:lnTo>
                    <a:pt x="209285" y="352249"/>
                  </a:lnTo>
                  <a:lnTo>
                    <a:pt x="203614" y="347601"/>
                  </a:lnTo>
                  <a:lnTo>
                    <a:pt x="199866" y="346147"/>
                  </a:lnTo>
                  <a:lnTo>
                    <a:pt x="197193" y="342565"/>
                  </a:lnTo>
                  <a:lnTo>
                    <a:pt x="196514" y="340661"/>
                  </a:lnTo>
                  <a:lnTo>
                    <a:pt x="199408" y="342277"/>
                  </a:lnTo>
                  <a:lnTo>
                    <a:pt x="199803" y="340569"/>
                  </a:lnTo>
                  <a:lnTo>
                    <a:pt x="200030" y="338298"/>
                  </a:lnTo>
                  <a:lnTo>
                    <a:pt x="198421" y="336911"/>
                  </a:lnTo>
                  <a:lnTo>
                    <a:pt x="196983" y="336085"/>
                  </a:lnTo>
                  <a:lnTo>
                    <a:pt x="189609" y="339632"/>
                  </a:lnTo>
                  <a:lnTo>
                    <a:pt x="181170" y="340794"/>
                  </a:lnTo>
                  <a:lnTo>
                    <a:pt x="189004" y="333794"/>
                  </a:lnTo>
                  <a:lnTo>
                    <a:pt x="194653" y="328737"/>
                  </a:lnTo>
                  <a:lnTo>
                    <a:pt x="195707" y="327975"/>
                  </a:lnTo>
                  <a:lnTo>
                    <a:pt x="198207" y="326615"/>
                  </a:lnTo>
                  <a:lnTo>
                    <a:pt x="200302" y="325184"/>
                  </a:lnTo>
                  <a:lnTo>
                    <a:pt x="201986" y="323306"/>
                  </a:lnTo>
                  <a:lnTo>
                    <a:pt x="207601" y="319597"/>
                  </a:lnTo>
                  <a:lnTo>
                    <a:pt x="213321" y="315596"/>
                  </a:lnTo>
                  <a:lnTo>
                    <a:pt x="218644" y="310313"/>
                  </a:lnTo>
                  <a:lnTo>
                    <a:pt x="220568" y="308648"/>
                  </a:lnTo>
                  <a:lnTo>
                    <a:pt x="223017" y="306866"/>
                  </a:lnTo>
                  <a:lnTo>
                    <a:pt x="228391" y="301255"/>
                  </a:lnTo>
                  <a:lnTo>
                    <a:pt x="230089" y="299699"/>
                  </a:lnTo>
                  <a:lnTo>
                    <a:pt x="236645" y="292637"/>
                  </a:lnTo>
                  <a:lnTo>
                    <a:pt x="240475" y="289109"/>
                  </a:lnTo>
                  <a:lnTo>
                    <a:pt x="242376" y="287080"/>
                  </a:lnTo>
                  <a:lnTo>
                    <a:pt x="250560" y="280362"/>
                  </a:lnTo>
                  <a:lnTo>
                    <a:pt x="256109" y="274948"/>
                  </a:lnTo>
                  <a:lnTo>
                    <a:pt x="258297" y="271974"/>
                  </a:lnTo>
                  <a:lnTo>
                    <a:pt x="260436" y="267705"/>
                  </a:lnTo>
                  <a:lnTo>
                    <a:pt x="261650" y="264788"/>
                  </a:lnTo>
                  <a:lnTo>
                    <a:pt x="263788" y="261008"/>
                  </a:lnTo>
                  <a:lnTo>
                    <a:pt x="263844" y="259753"/>
                  </a:lnTo>
                  <a:lnTo>
                    <a:pt x="263242" y="258585"/>
                  </a:lnTo>
                  <a:lnTo>
                    <a:pt x="261644" y="256769"/>
                  </a:lnTo>
                  <a:lnTo>
                    <a:pt x="259426" y="254674"/>
                  </a:lnTo>
                  <a:lnTo>
                    <a:pt x="257452" y="252108"/>
                  </a:lnTo>
                  <a:lnTo>
                    <a:pt x="255980" y="249797"/>
                  </a:lnTo>
                  <a:lnTo>
                    <a:pt x="251423" y="246581"/>
                  </a:lnTo>
                  <a:lnTo>
                    <a:pt x="244358" y="242503"/>
                  </a:lnTo>
                  <a:lnTo>
                    <a:pt x="239123" y="239476"/>
                  </a:lnTo>
                  <a:lnTo>
                    <a:pt x="231093" y="232994"/>
                  </a:lnTo>
                  <a:lnTo>
                    <a:pt x="229681" y="231374"/>
                  </a:lnTo>
                  <a:lnTo>
                    <a:pt x="229959" y="230947"/>
                  </a:lnTo>
                  <a:lnTo>
                    <a:pt x="234518" y="228978"/>
                  </a:lnTo>
                  <a:lnTo>
                    <a:pt x="239052" y="223901"/>
                  </a:lnTo>
                  <a:lnTo>
                    <a:pt x="241011" y="221322"/>
                  </a:lnTo>
                  <a:lnTo>
                    <a:pt x="241501" y="219320"/>
                  </a:lnTo>
                  <a:lnTo>
                    <a:pt x="241542" y="217063"/>
                  </a:lnTo>
                  <a:lnTo>
                    <a:pt x="241229" y="214979"/>
                  </a:lnTo>
                  <a:lnTo>
                    <a:pt x="240657" y="213685"/>
                  </a:lnTo>
                  <a:lnTo>
                    <a:pt x="238506" y="212058"/>
                  </a:lnTo>
                  <a:lnTo>
                    <a:pt x="232259" y="209088"/>
                  </a:lnTo>
                  <a:lnTo>
                    <a:pt x="230794" y="206343"/>
                  </a:lnTo>
                  <a:lnTo>
                    <a:pt x="229572" y="203463"/>
                  </a:lnTo>
                  <a:lnTo>
                    <a:pt x="229549" y="202272"/>
                  </a:lnTo>
                  <a:lnTo>
                    <a:pt x="232524" y="199172"/>
                  </a:lnTo>
                  <a:lnTo>
                    <a:pt x="232658" y="197621"/>
                  </a:lnTo>
                  <a:lnTo>
                    <a:pt x="232306" y="196031"/>
                  </a:lnTo>
                  <a:lnTo>
                    <a:pt x="231479" y="194870"/>
                  </a:lnTo>
                  <a:lnTo>
                    <a:pt x="225075" y="193466"/>
                  </a:lnTo>
                  <a:lnTo>
                    <a:pt x="223271" y="191982"/>
                  </a:lnTo>
                  <a:lnTo>
                    <a:pt x="221853" y="189616"/>
                  </a:lnTo>
                  <a:lnTo>
                    <a:pt x="221116" y="187583"/>
                  </a:lnTo>
                  <a:lnTo>
                    <a:pt x="221043" y="186379"/>
                  </a:lnTo>
                  <a:lnTo>
                    <a:pt x="221520" y="185030"/>
                  </a:lnTo>
                  <a:lnTo>
                    <a:pt x="223677" y="183562"/>
                  </a:lnTo>
                  <a:lnTo>
                    <a:pt x="225685" y="182570"/>
                  </a:lnTo>
                  <a:lnTo>
                    <a:pt x="226042" y="181232"/>
                  </a:lnTo>
                  <a:lnTo>
                    <a:pt x="226025" y="179783"/>
                  </a:lnTo>
                  <a:lnTo>
                    <a:pt x="225679" y="179082"/>
                  </a:lnTo>
                  <a:lnTo>
                    <a:pt x="221680" y="178392"/>
                  </a:lnTo>
                  <a:lnTo>
                    <a:pt x="221298" y="178000"/>
                  </a:lnTo>
                  <a:lnTo>
                    <a:pt x="221200" y="177498"/>
                  </a:lnTo>
                  <a:lnTo>
                    <a:pt x="221404" y="176897"/>
                  </a:lnTo>
                  <a:lnTo>
                    <a:pt x="223563" y="174310"/>
                  </a:lnTo>
                  <a:lnTo>
                    <a:pt x="223854" y="169373"/>
                  </a:lnTo>
                  <a:lnTo>
                    <a:pt x="225876" y="165917"/>
                  </a:lnTo>
                  <a:lnTo>
                    <a:pt x="223587" y="163891"/>
                  </a:lnTo>
                  <a:lnTo>
                    <a:pt x="223764" y="163534"/>
                  </a:lnTo>
                  <a:lnTo>
                    <a:pt x="227273" y="162472"/>
                  </a:lnTo>
                  <a:lnTo>
                    <a:pt x="230510" y="162214"/>
                  </a:lnTo>
                  <a:lnTo>
                    <a:pt x="231976" y="161815"/>
                  </a:lnTo>
                  <a:lnTo>
                    <a:pt x="232140" y="160193"/>
                  </a:lnTo>
                  <a:lnTo>
                    <a:pt x="231803" y="157999"/>
                  </a:lnTo>
                  <a:lnTo>
                    <a:pt x="228467" y="149368"/>
                  </a:lnTo>
                  <a:lnTo>
                    <a:pt x="227733" y="146874"/>
                  </a:lnTo>
                  <a:lnTo>
                    <a:pt x="225523" y="143721"/>
                  </a:lnTo>
                  <a:lnTo>
                    <a:pt x="223693" y="141599"/>
                  </a:lnTo>
                  <a:lnTo>
                    <a:pt x="222591" y="140083"/>
                  </a:lnTo>
                  <a:lnTo>
                    <a:pt x="220818" y="137113"/>
                  </a:lnTo>
                  <a:lnTo>
                    <a:pt x="219792" y="134061"/>
                  </a:lnTo>
                  <a:lnTo>
                    <a:pt x="218024" y="130648"/>
                  </a:lnTo>
                  <a:lnTo>
                    <a:pt x="215964" y="127511"/>
                  </a:lnTo>
                  <a:lnTo>
                    <a:pt x="214241" y="124605"/>
                  </a:lnTo>
                  <a:lnTo>
                    <a:pt x="209814" y="118903"/>
                  </a:lnTo>
                  <a:lnTo>
                    <a:pt x="209220" y="117322"/>
                  </a:lnTo>
                  <a:lnTo>
                    <a:pt x="209283" y="115891"/>
                  </a:lnTo>
                  <a:lnTo>
                    <a:pt x="209680" y="114375"/>
                  </a:lnTo>
                  <a:lnTo>
                    <a:pt x="213137" y="109690"/>
                  </a:lnTo>
                  <a:lnTo>
                    <a:pt x="216329" y="105773"/>
                  </a:lnTo>
                  <a:lnTo>
                    <a:pt x="220410" y="101168"/>
                  </a:lnTo>
                  <a:lnTo>
                    <a:pt x="224353" y="97338"/>
                  </a:lnTo>
                  <a:lnTo>
                    <a:pt x="228568" y="92786"/>
                  </a:lnTo>
                  <a:lnTo>
                    <a:pt x="229605" y="88232"/>
                  </a:lnTo>
                  <a:lnTo>
                    <a:pt x="229409" y="87465"/>
                  </a:lnTo>
                  <a:lnTo>
                    <a:pt x="225923" y="84993"/>
                  </a:lnTo>
                  <a:lnTo>
                    <a:pt x="219348" y="78363"/>
                  </a:lnTo>
                  <a:lnTo>
                    <a:pt x="215359" y="73320"/>
                  </a:lnTo>
                  <a:lnTo>
                    <a:pt x="209149" y="71185"/>
                  </a:lnTo>
                  <a:lnTo>
                    <a:pt x="200794" y="68448"/>
                  </a:lnTo>
                  <a:lnTo>
                    <a:pt x="198030" y="62279"/>
                  </a:lnTo>
                  <a:lnTo>
                    <a:pt x="196052" y="57031"/>
                  </a:lnTo>
                  <a:lnTo>
                    <a:pt x="196242" y="55141"/>
                  </a:lnTo>
                  <a:lnTo>
                    <a:pt x="202273" y="46145"/>
                  </a:lnTo>
                  <a:lnTo>
                    <a:pt x="202839" y="44510"/>
                  </a:lnTo>
                  <a:lnTo>
                    <a:pt x="202733" y="43497"/>
                  </a:lnTo>
                  <a:lnTo>
                    <a:pt x="202114" y="42863"/>
                  </a:lnTo>
                  <a:lnTo>
                    <a:pt x="201254" y="42513"/>
                  </a:lnTo>
                  <a:lnTo>
                    <a:pt x="195672" y="42252"/>
                  </a:lnTo>
                  <a:lnTo>
                    <a:pt x="194800" y="41019"/>
                  </a:lnTo>
                  <a:lnTo>
                    <a:pt x="198160" y="40088"/>
                  </a:lnTo>
                  <a:lnTo>
                    <a:pt x="200950" y="38818"/>
                  </a:lnTo>
                  <a:lnTo>
                    <a:pt x="205521" y="36935"/>
                  </a:lnTo>
                  <a:lnTo>
                    <a:pt x="207001" y="36458"/>
                  </a:lnTo>
                  <a:lnTo>
                    <a:pt x="210378" y="35373"/>
                  </a:lnTo>
                  <a:lnTo>
                    <a:pt x="211535" y="34536"/>
                  </a:lnTo>
                  <a:lnTo>
                    <a:pt x="212399" y="33547"/>
                  </a:lnTo>
                  <a:lnTo>
                    <a:pt x="215562" y="26796"/>
                  </a:lnTo>
                  <a:lnTo>
                    <a:pt x="216342" y="25723"/>
                  </a:lnTo>
                  <a:lnTo>
                    <a:pt x="226169" y="23293"/>
                  </a:lnTo>
                  <a:lnTo>
                    <a:pt x="229737" y="22043"/>
                  </a:lnTo>
                  <a:lnTo>
                    <a:pt x="231799" y="20465"/>
                  </a:lnTo>
                  <a:lnTo>
                    <a:pt x="232784" y="19237"/>
                  </a:lnTo>
                  <a:lnTo>
                    <a:pt x="233490" y="17776"/>
                  </a:lnTo>
                  <a:lnTo>
                    <a:pt x="233997" y="16164"/>
                  </a:lnTo>
                  <a:lnTo>
                    <a:pt x="234213" y="14683"/>
                  </a:lnTo>
                  <a:lnTo>
                    <a:pt x="233401" y="12749"/>
                  </a:lnTo>
                  <a:lnTo>
                    <a:pt x="233852" y="12515"/>
                  </a:lnTo>
                  <a:lnTo>
                    <a:pt x="234900" y="12596"/>
                  </a:lnTo>
                  <a:lnTo>
                    <a:pt x="238264" y="14521"/>
                  </a:lnTo>
                  <a:lnTo>
                    <a:pt x="243477" y="16564"/>
                  </a:lnTo>
                  <a:lnTo>
                    <a:pt x="247312" y="16723"/>
                  </a:lnTo>
                  <a:lnTo>
                    <a:pt x="248901" y="16334"/>
                  </a:lnTo>
                  <a:lnTo>
                    <a:pt x="249696" y="15441"/>
                  </a:lnTo>
                  <a:lnTo>
                    <a:pt x="250266" y="13693"/>
                  </a:lnTo>
                  <a:lnTo>
                    <a:pt x="250303" y="11890"/>
                  </a:lnTo>
                  <a:lnTo>
                    <a:pt x="249100" y="6713"/>
                  </a:lnTo>
                  <a:lnTo>
                    <a:pt x="253075" y="7272"/>
                  </a:lnTo>
                  <a:lnTo>
                    <a:pt x="261991" y="10404"/>
                  </a:lnTo>
                  <a:lnTo>
                    <a:pt x="264075" y="10116"/>
                  </a:lnTo>
                  <a:lnTo>
                    <a:pt x="266712" y="9170"/>
                  </a:lnTo>
                  <a:lnTo>
                    <a:pt x="269417" y="5440"/>
                  </a:lnTo>
                  <a:lnTo>
                    <a:pt x="271426" y="4801"/>
                  </a:lnTo>
                  <a:lnTo>
                    <a:pt x="274047" y="5671"/>
                  </a:lnTo>
                  <a:lnTo>
                    <a:pt x="274769" y="4670"/>
                  </a:lnTo>
                  <a:lnTo>
                    <a:pt x="273414" y="157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2" name="ee4p_AL_1_15912">
              <a:extLst>
                <a:ext uri="{FF2B5EF4-FFF2-40B4-BE49-F238E27FC236}">
                  <a16:creationId xmlns:a16="http://schemas.microsoft.com/office/drawing/2014/main" id="{E4A7B02F-121E-D048-6998-ECEB364F7949}"/>
                </a:ext>
              </a:extLst>
            </p:cNvPr>
            <p:cNvSpPr>
              <a:spLocks noChangeAspect="1"/>
            </p:cNvSpPr>
            <p:nvPr>
              <p:custDataLst>
                <p:tags r:id="rId14"/>
              </p:custDataLst>
            </p:nvPr>
          </p:nvSpPr>
          <p:spPr>
            <a:xfrm>
              <a:off x="5461805" y="5339950"/>
              <a:ext cx="153439" cy="312738"/>
            </a:xfrm>
            <a:custGeom>
              <a:avLst/>
              <a:gdLst/>
              <a:ahLst/>
              <a:cxnLst/>
              <a:rect l="0" t="0" r="0" b="0"/>
              <a:pathLst>
                <a:path w="38706" h="78890">
                  <a:moveTo>
                    <a:pt x="17320" y="2687"/>
                  </a:moveTo>
                  <a:lnTo>
                    <a:pt x="18195" y="3291"/>
                  </a:lnTo>
                  <a:lnTo>
                    <a:pt x="20013" y="5925"/>
                  </a:lnTo>
                  <a:lnTo>
                    <a:pt x="21225" y="8240"/>
                  </a:lnTo>
                  <a:lnTo>
                    <a:pt x="23606" y="9044"/>
                  </a:lnTo>
                  <a:lnTo>
                    <a:pt x="24935" y="9945"/>
                  </a:lnTo>
                  <a:lnTo>
                    <a:pt x="26640" y="11317"/>
                  </a:lnTo>
                  <a:lnTo>
                    <a:pt x="27467" y="12697"/>
                  </a:lnTo>
                  <a:lnTo>
                    <a:pt x="28629" y="16906"/>
                  </a:lnTo>
                  <a:lnTo>
                    <a:pt x="28763" y="19445"/>
                  </a:lnTo>
                  <a:lnTo>
                    <a:pt x="28426" y="20605"/>
                  </a:lnTo>
                  <a:lnTo>
                    <a:pt x="28137" y="20905"/>
                  </a:lnTo>
                  <a:lnTo>
                    <a:pt x="27077" y="25035"/>
                  </a:lnTo>
                  <a:lnTo>
                    <a:pt x="27330" y="27137"/>
                  </a:lnTo>
                  <a:lnTo>
                    <a:pt x="27321" y="28520"/>
                  </a:lnTo>
                  <a:lnTo>
                    <a:pt x="26423" y="29066"/>
                  </a:lnTo>
                  <a:lnTo>
                    <a:pt x="25827" y="29934"/>
                  </a:lnTo>
                  <a:lnTo>
                    <a:pt x="26794" y="33365"/>
                  </a:lnTo>
                  <a:lnTo>
                    <a:pt x="26675" y="34825"/>
                  </a:lnTo>
                  <a:lnTo>
                    <a:pt x="26718" y="36499"/>
                  </a:lnTo>
                  <a:lnTo>
                    <a:pt x="28463" y="40315"/>
                  </a:lnTo>
                  <a:lnTo>
                    <a:pt x="29493" y="41494"/>
                  </a:lnTo>
                  <a:lnTo>
                    <a:pt x="30413" y="42057"/>
                  </a:lnTo>
                  <a:lnTo>
                    <a:pt x="31590" y="45563"/>
                  </a:lnTo>
                  <a:lnTo>
                    <a:pt x="32287" y="46170"/>
                  </a:lnTo>
                  <a:lnTo>
                    <a:pt x="35148" y="45838"/>
                  </a:lnTo>
                  <a:lnTo>
                    <a:pt x="36548" y="46227"/>
                  </a:lnTo>
                  <a:lnTo>
                    <a:pt x="37103" y="47057"/>
                  </a:lnTo>
                  <a:lnTo>
                    <a:pt x="37228" y="47625"/>
                  </a:lnTo>
                  <a:lnTo>
                    <a:pt x="37040" y="49585"/>
                  </a:lnTo>
                  <a:lnTo>
                    <a:pt x="37751" y="51094"/>
                  </a:lnTo>
                  <a:lnTo>
                    <a:pt x="38705" y="52646"/>
                  </a:lnTo>
                  <a:lnTo>
                    <a:pt x="38701" y="53594"/>
                  </a:lnTo>
                  <a:lnTo>
                    <a:pt x="38061" y="55143"/>
                  </a:lnTo>
                  <a:lnTo>
                    <a:pt x="36917" y="56950"/>
                  </a:lnTo>
                  <a:lnTo>
                    <a:pt x="35401" y="57643"/>
                  </a:lnTo>
                  <a:lnTo>
                    <a:pt x="33730" y="58231"/>
                  </a:lnTo>
                  <a:lnTo>
                    <a:pt x="32933" y="59633"/>
                  </a:lnTo>
                  <a:lnTo>
                    <a:pt x="32527" y="61123"/>
                  </a:lnTo>
                  <a:lnTo>
                    <a:pt x="31780" y="62228"/>
                  </a:lnTo>
                  <a:lnTo>
                    <a:pt x="31318" y="63438"/>
                  </a:lnTo>
                  <a:lnTo>
                    <a:pt x="30610" y="65909"/>
                  </a:lnTo>
                  <a:lnTo>
                    <a:pt x="30443" y="66807"/>
                  </a:lnTo>
                  <a:lnTo>
                    <a:pt x="29312" y="67713"/>
                  </a:lnTo>
                  <a:lnTo>
                    <a:pt x="27561" y="68082"/>
                  </a:lnTo>
                  <a:lnTo>
                    <a:pt x="25990" y="68159"/>
                  </a:lnTo>
                  <a:lnTo>
                    <a:pt x="24928" y="68579"/>
                  </a:lnTo>
                  <a:lnTo>
                    <a:pt x="24391" y="69421"/>
                  </a:lnTo>
                  <a:lnTo>
                    <a:pt x="23391" y="70102"/>
                  </a:lnTo>
                  <a:lnTo>
                    <a:pt x="22786" y="70405"/>
                  </a:lnTo>
                  <a:lnTo>
                    <a:pt x="22790" y="71152"/>
                  </a:lnTo>
                  <a:lnTo>
                    <a:pt x="23518" y="72719"/>
                  </a:lnTo>
                  <a:lnTo>
                    <a:pt x="24345" y="73991"/>
                  </a:lnTo>
                  <a:lnTo>
                    <a:pt x="24362" y="75011"/>
                  </a:lnTo>
                  <a:lnTo>
                    <a:pt x="23956" y="75294"/>
                  </a:lnTo>
                  <a:lnTo>
                    <a:pt x="22676" y="75166"/>
                  </a:lnTo>
                  <a:lnTo>
                    <a:pt x="22404" y="75542"/>
                  </a:lnTo>
                  <a:lnTo>
                    <a:pt x="22265" y="76677"/>
                  </a:lnTo>
                  <a:lnTo>
                    <a:pt x="21922" y="77650"/>
                  </a:lnTo>
                  <a:lnTo>
                    <a:pt x="21395" y="78243"/>
                  </a:lnTo>
                  <a:lnTo>
                    <a:pt x="20480" y="78889"/>
                  </a:lnTo>
                  <a:lnTo>
                    <a:pt x="18804" y="78679"/>
                  </a:lnTo>
                  <a:lnTo>
                    <a:pt x="17228" y="77704"/>
                  </a:lnTo>
                  <a:lnTo>
                    <a:pt x="16405" y="77403"/>
                  </a:lnTo>
                  <a:lnTo>
                    <a:pt x="15934" y="77436"/>
                  </a:lnTo>
                  <a:lnTo>
                    <a:pt x="15809" y="75052"/>
                  </a:lnTo>
                  <a:lnTo>
                    <a:pt x="15129" y="73197"/>
                  </a:lnTo>
                  <a:lnTo>
                    <a:pt x="12630" y="68733"/>
                  </a:lnTo>
                  <a:lnTo>
                    <a:pt x="4509" y="64389"/>
                  </a:lnTo>
                  <a:lnTo>
                    <a:pt x="2598" y="62432"/>
                  </a:lnTo>
                  <a:lnTo>
                    <a:pt x="1758" y="60789"/>
                  </a:lnTo>
                  <a:lnTo>
                    <a:pt x="920" y="59236"/>
                  </a:lnTo>
                  <a:lnTo>
                    <a:pt x="1723" y="59192"/>
                  </a:lnTo>
                  <a:lnTo>
                    <a:pt x="2518" y="59586"/>
                  </a:lnTo>
                  <a:lnTo>
                    <a:pt x="3535" y="60057"/>
                  </a:lnTo>
                  <a:lnTo>
                    <a:pt x="3948" y="59280"/>
                  </a:lnTo>
                  <a:lnTo>
                    <a:pt x="3507" y="57582"/>
                  </a:lnTo>
                  <a:lnTo>
                    <a:pt x="1414" y="53604"/>
                  </a:lnTo>
                  <a:lnTo>
                    <a:pt x="1257" y="52510"/>
                  </a:lnTo>
                  <a:lnTo>
                    <a:pt x="2283" y="49180"/>
                  </a:lnTo>
                  <a:lnTo>
                    <a:pt x="3993" y="45434"/>
                  </a:lnTo>
                  <a:lnTo>
                    <a:pt x="3879" y="40888"/>
                  </a:lnTo>
                  <a:lnTo>
                    <a:pt x="4410" y="37455"/>
                  </a:lnTo>
                  <a:lnTo>
                    <a:pt x="3820" y="35223"/>
                  </a:lnTo>
                  <a:lnTo>
                    <a:pt x="3537" y="32484"/>
                  </a:lnTo>
                  <a:lnTo>
                    <a:pt x="4792" y="28839"/>
                  </a:lnTo>
                  <a:lnTo>
                    <a:pt x="5863" y="27937"/>
                  </a:lnTo>
                  <a:lnTo>
                    <a:pt x="6524" y="26783"/>
                  </a:lnTo>
                  <a:lnTo>
                    <a:pt x="6565" y="22889"/>
                  </a:lnTo>
                  <a:lnTo>
                    <a:pt x="4148" y="21070"/>
                  </a:lnTo>
                  <a:lnTo>
                    <a:pt x="1365" y="20727"/>
                  </a:lnTo>
                  <a:lnTo>
                    <a:pt x="1434" y="19407"/>
                  </a:lnTo>
                  <a:lnTo>
                    <a:pt x="1780" y="17313"/>
                  </a:lnTo>
                  <a:lnTo>
                    <a:pt x="1581" y="16615"/>
                  </a:lnTo>
                  <a:lnTo>
                    <a:pt x="1786" y="15418"/>
                  </a:lnTo>
                  <a:lnTo>
                    <a:pt x="1110" y="13819"/>
                  </a:lnTo>
                  <a:lnTo>
                    <a:pt x="0" y="12669"/>
                  </a:lnTo>
                  <a:lnTo>
                    <a:pt x="1069" y="10628"/>
                  </a:lnTo>
                  <a:lnTo>
                    <a:pt x="2630" y="8162"/>
                  </a:lnTo>
                  <a:lnTo>
                    <a:pt x="4079" y="6205"/>
                  </a:lnTo>
                  <a:lnTo>
                    <a:pt x="5835" y="4163"/>
                  </a:lnTo>
                  <a:lnTo>
                    <a:pt x="7005" y="2203"/>
                  </a:lnTo>
                  <a:lnTo>
                    <a:pt x="8266" y="517"/>
                  </a:lnTo>
                  <a:lnTo>
                    <a:pt x="9348" y="0"/>
                  </a:lnTo>
                  <a:lnTo>
                    <a:pt x="9888" y="358"/>
                  </a:lnTo>
                  <a:lnTo>
                    <a:pt x="10173" y="1095"/>
                  </a:lnTo>
                  <a:lnTo>
                    <a:pt x="10108" y="3278"/>
                  </a:lnTo>
                  <a:lnTo>
                    <a:pt x="10477" y="4030"/>
                  </a:lnTo>
                  <a:lnTo>
                    <a:pt x="11225" y="4584"/>
                  </a:lnTo>
                  <a:lnTo>
                    <a:pt x="12805" y="4313"/>
                  </a:lnTo>
                  <a:lnTo>
                    <a:pt x="14559" y="3770"/>
                  </a:lnTo>
                  <a:lnTo>
                    <a:pt x="16917" y="2617"/>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3" name="ee4p_AD_1_15912">
              <a:extLst>
                <a:ext uri="{FF2B5EF4-FFF2-40B4-BE49-F238E27FC236}">
                  <a16:creationId xmlns:a16="http://schemas.microsoft.com/office/drawing/2014/main" id="{E19686EE-CE71-0E84-F7EA-04923402C60C}"/>
                </a:ext>
              </a:extLst>
            </p:cNvPr>
            <p:cNvSpPr>
              <a:spLocks noChangeAspect="1"/>
            </p:cNvSpPr>
            <p:nvPr>
              <p:custDataLst>
                <p:tags r:id="rId15"/>
              </p:custDataLst>
            </p:nvPr>
          </p:nvSpPr>
          <p:spPr>
            <a:xfrm>
              <a:off x="3895732" y="5340501"/>
              <a:ext cx="28527" cy="22033"/>
            </a:xfrm>
            <a:custGeom>
              <a:avLst/>
              <a:gdLst/>
              <a:ahLst/>
              <a:cxnLst/>
              <a:rect l="0" t="0" r="0" b="0"/>
              <a:pathLst>
                <a:path w="7196" h="5558">
                  <a:moveTo>
                    <a:pt x="6440" y="3721"/>
                  </a:moveTo>
                  <a:lnTo>
                    <a:pt x="5830" y="3898"/>
                  </a:lnTo>
                  <a:lnTo>
                    <a:pt x="3794" y="4984"/>
                  </a:lnTo>
                  <a:lnTo>
                    <a:pt x="2637" y="5364"/>
                  </a:lnTo>
                  <a:lnTo>
                    <a:pt x="1579" y="5557"/>
                  </a:lnTo>
                  <a:lnTo>
                    <a:pt x="752" y="5477"/>
                  </a:lnTo>
                  <a:lnTo>
                    <a:pt x="294" y="4841"/>
                  </a:lnTo>
                  <a:lnTo>
                    <a:pt x="342" y="3867"/>
                  </a:lnTo>
                  <a:lnTo>
                    <a:pt x="158" y="2988"/>
                  </a:lnTo>
                  <a:lnTo>
                    <a:pt x="0" y="2519"/>
                  </a:lnTo>
                  <a:lnTo>
                    <a:pt x="298" y="1250"/>
                  </a:lnTo>
                  <a:lnTo>
                    <a:pt x="974" y="562"/>
                  </a:lnTo>
                  <a:lnTo>
                    <a:pt x="1914" y="0"/>
                  </a:lnTo>
                  <a:lnTo>
                    <a:pt x="3391" y="206"/>
                  </a:lnTo>
                  <a:lnTo>
                    <a:pt x="6524" y="1023"/>
                  </a:lnTo>
                  <a:lnTo>
                    <a:pt x="7178" y="1784"/>
                  </a:lnTo>
                  <a:lnTo>
                    <a:pt x="7195" y="2296"/>
                  </a:lnTo>
                  <a:lnTo>
                    <a:pt x="6614" y="312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4" name="ee4p_AT_1_15912">
              <a:extLst>
                <a:ext uri="{FF2B5EF4-FFF2-40B4-BE49-F238E27FC236}">
                  <a16:creationId xmlns:a16="http://schemas.microsoft.com/office/drawing/2014/main" id="{423E4FE8-87B0-264E-4559-EB9DF332552C}"/>
                </a:ext>
              </a:extLst>
            </p:cNvPr>
            <p:cNvSpPr>
              <a:spLocks noChangeAspect="1"/>
            </p:cNvSpPr>
            <p:nvPr>
              <p:custDataLst>
                <p:tags r:id="rId16"/>
              </p:custDataLst>
            </p:nvPr>
          </p:nvSpPr>
          <p:spPr>
            <a:xfrm>
              <a:off x="4606562" y="4645247"/>
              <a:ext cx="668246" cy="290051"/>
            </a:xfrm>
            <a:custGeom>
              <a:avLst/>
              <a:gdLst/>
              <a:ahLst/>
              <a:cxnLst/>
              <a:rect l="0" t="0" r="0" b="0"/>
              <a:pathLst>
                <a:path w="168569" h="73167">
                  <a:moveTo>
                    <a:pt x="164274" y="11453"/>
                  </a:moveTo>
                  <a:lnTo>
                    <a:pt x="164178" y="11744"/>
                  </a:lnTo>
                  <a:lnTo>
                    <a:pt x="164057" y="12813"/>
                  </a:lnTo>
                  <a:lnTo>
                    <a:pt x="163198" y="14159"/>
                  </a:lnTo>
                  <a:lnTo>
                    <a:pt x="162274" y="15920"/>
                  </a:lnTo>
                  <a:lnTo>
                    <a:pt x="162334" y="17465"/>
                  </a:lnTo>
                  <a:lnTo>
                    <a:pt x="164705" y="22810"/>
                  </a:lnTo>
                  <a:lnTo>
                    <a:pt x="166811" y="26055"/>
                  </a:lnTo>
                  <a:lnTo>
                    <a:pt x="167210" y="27289"/>
                  </a:lnTo>
                  <a:lnTo>
                    <a:pt x="168568" y="28237"/>
                  </a:lnTo>
                  <a:lnTo>
                    <a:pt x="167279" y="29431"/>
                  </a:lnTo>
                  <a:lnTo>
                    <a:pt x="167029" y="31200"/>
                  </a:lnTo>
                  <a:lnTo>
                    <a:pt x="166193" y="31987"/>
                  </a:lnTo>
                  <a:lnTo>
                    <a:pt x="165975" y="32997"/>
                  </a:lnTo>
                  <a:lnTo>
                    <a:pt x="166325" y="33914"/>
                  </a:lnTo>
                  <a:lnTo>
                    <a:pt x="166318" y="35062"/>
                  </a:lnTo>
                  <a:lnTo>
                    <a:pt x="166783" y="36643"/>
                  </a:lnTo>
                  <a:lnTo>
                    <a:pt x="164722" y="36987"/>
                  </a:lnTo>
                  <a:lnTo>
                    <a:pt x="162274" y="36933"/>
                  </a:lnTo>
                  <a:lnTo>
                    <a:pt x="161397" y="37025"/>
                  </a:lnTo>
                  <a:lnTo>
                    <a:pt x="160576" y="37456"/>
                  </a:lnTo>
                  <a:lnTo>
                    <a:pt x="159728" y="37242"/>
                  </a:lnTo>
                  <a:lnTo>
                    <a:pt x="157515" y="35758"/>
                  </a:lnTo>
                  <a:lnTo>
                    <a:pt x="156264" y="35434"/>
                  </a:lnTo>
                  <a:lnTo>
                    <a:pt x="155381" y="35524"/>
                  </a:lnTo>
                  <a:lnTo>
                    <a:pt x="154720" y="36168"/>
                  </a:lnTo>
                  <a:lnTo>
                    <a:pt x="153582" y="36994"/>
                  </a:lnTo>
                  <a:lnTo>
                    <a:pt x="152513" y="37574"/>
                  </a:lnTo>
                  <a:lnTo>
                    <a:pt x="152753" y="38084"/>
                  </a:lnTo>
                  <a:lnTo>
                    <a:pt x="157344" y="39417"/>
                  </a:lnTo>
                  <a:lnTo>
                    <a:pt x="158158" y="41463"/>
                  </a:lnTo>
                  <a:lnTo>
                    <a:pt x="157275" y="43130"/>
                  </a:lnTo>
                  <a:lnTo>
                    <a:pt x="156975" y="43945"/>
                  </a:lnTo>
                  <a:lnTo>
                    <a:pt x="155899" y="44587"/>
                  </a:lnTo>
                  <a:lnTo>
                    <a:pt x="154580" y="45151"/>
                  </a:lnTo>
                  <a:lnTo>
                    <a:pt x="152991" y="45292"/>
                  </a:lnTo>
                  <a:lnTo>
                    <a:pt x="152803" y="46191"/>
                  </a:lnTo>
                  <a:lnTo>
                    <a:pt x="153427" y="48832"/>
                  </a:lnTo>
                  <a:lnTo>
                    <a:pt x="152922" y="49403"/>
                  </a:lnTo>
                  <a:lnTo>
                    <a:pt x="152416" y="50223"/>
                  </a:lnTo>
                  <a:lnTo>
                    <a:pt x="152891" y="52391"/>
                  </a:lnTo>
                  <a:lnTo>
                    <a:pt x="153874" y="52545"/>
                  </a:lnTo>
                  <a:lnTo>
                    <a:pt x="154092" y="53041"/>
                  </a:lnTo>
                  <a:lnTo>
                    <a:pt x="153917" y="53918"/>
                  </a:lnTo>
                  <a:lnTo>
                    <a:pt x="153744" y="54851"/>
                  </a:lnTo>
                  <a:lnTo>
                    <a:pt x="153397" y="55839"/>
                  </a:lnTo>
                  <a:lnTo>
                    <a:pt x="153224" y="56277"/>
                  </a:lnTo>
                  <a:lnTo>
                    <a:pt x="152572" y="56551"/>
                  </a:lnTo>
                  <a:lnTo>
                    <a:pt x="150535" y="56405"/>
                  </a:lnTo>
                  <a:lnTo>
                    <a:pt x="148782" y="57250"/>
                  </a:lnTo>
                  <a:lnTo>
                    <a:pt x="145256" y="60279"/>
                  </a:lnTo>
                  <a:lnTo>
                    <a:pt x="144021" y="60793"/>
                  </a:lnTo>
                  <a:lnTo>
                    <a:pt x="142686" y="62004"/>
                  </a:lnTo>
                  <a:lnTo>
                    <a:pt x="142766" y="64663"/>
                  </a:lnTo>
                  <a:lnTo>
                    <a:pt x="142585" y="64903"/>
                  </a:lnTo>
                  <a:lnTo>
                    <a:pt x="142261" y="65448"/>
                  </a:lnTo>
                  <a:lnTo>
                    <a:pt x="138043" y="64512"/>
                  </a:lnTo>
                  <a:lnTo>
                    <a:pt x="137896" y="64527"/>
                  </a:lnTo>
                  <a:lnTo>
                    <a:pt x="135074" y="64869"/>
                  </a:lnTo>
                  <a:lnTo>
                    <a:pt x="133144" y="66087"/>
                  </a:lnTo>
                  <a:lnTo>
                    <a:pt x="130798" y="66782"/>
                  </a:lnTo>
                  <a:lnTo>
                    <a:pt x="125884" y="66412"/>
                  </a:lnTo>
                  <a:lnTo>
                    <a:pt x="121101" y="66884"/>
                  </a:lnTo>
                  <a:lnTo>
                    <a:pt x="119967" y="67238"/>
                  </a:lnTo>
                  <a:lnTo>
                    <a:pt x="118726" y="67442"/>
                  </a:lnTo>
                  <a:lnTo>
                    <a:pt x="117562" y="68149"/>
                  </a:lnTo>
                  <a:lnTo>
                    <a:pt x="116897" y="69146"/>
                  </a:lnTo>
                  <a:lnTo>
                    <a:pt x="115707" y="70408"/>
                  </a:lnTo>
                  <a:lnTo>
                    <a:pt x="114014" y="71399"/>
                  </a:lnTo>
                  <a:lnTo>
                    <a:pt x="112174" y="72157"/>
                  </a:lnTo>
                  <a:lnTo>
                    <a:pt x="111736" y="72799"/>
                  </a:lnTo>
                  <a:lnTo>
                    <a:pt x="111131" y="73166"/>
                  </a:lnTo>
                  <a:lnTo>
                    <a:pt x="110107" y="72686"/>
                  </a:lnTo>
                  <a:lnTo>
                    <a:pt x="109276" y="72711"/>
                  </a:lnTo>
                  <a:lnTo>
                    <a:pt x="108259" y="72384"/>
                  </a:lnTo>
                  <a:lnTo>
                    <a:pt x="104884" y="72029"/>
                  </a:lnTo>
                  <a:lnTo>
                    <a:pt x="101174" y="71441"/>
                  </a:lnTo>
                  <a:lnTo>
                    <a:pt x="99408" y="70878"/>
                  </a:lnTo>
                  <a:lnTo>
                    <a:pt x="97399" y="70434"/>
                  </a:lnTo>
                  <a:lnTo>
                    <a:pt x="95244" y="70072"/>
                  </a:lnTo>
                  <a:lnTo>
                    <a:pt x="93312" y="69987"/>
                  </a:lnTo>
                  <a:lnTo>
                    <a:pt x="92340" y="69821"/>
                  </a:lnTo>
                  <a:lnTo>
                    <a:pt x="87697" y="68841"/>
                  </a:lnTo>
                  <a:lnTo>
                    <a:pt x="84635" y="68775"/>
                  </a:lnTo>
                  <a:lnTo>
                    <a:pt x="80593" y="68366"/>
                  </a:lnTo>
                  <a:lnTo>
                    <a:pt x="72562" y="66887"/>
                  </a:lnTo>
                  <a:lnTo>
                    <a:pt x="70223" y="66287"/>
                  </a:lnTo>
                  <a:lnTo>
                    <a:pt x="67986" y="66102"/>
                  </a:lnTo>
                  <a:lnTo>
                    <a:pt x="65345" y="65590"/>
                  </a:lnTo>
                  <a:lnTo>
                    <a:pt x="63335" y="64752"/>
                  </a:lnTo>
                  <a:lnTo>
                    <a:pt x="62048" y="63161"/>
                  </a:lnTo>
                  <a:lnTo>
                    <a:pt x="60675" y="61043"/>
                  </a:lnTo>
                  <a:lnTo>
                    <a:pt x="58157" y="58273"/>
                  </a:lnTo>
                  <a:lnTo>
                    <a:pt x="57641" y="56892"/>
                  </a:lnTo>
                  <a:lnTo>
                    <a:pt x="58409" y="55680"/>
                  </a:lnTo>
                  <a:lnTo>
                    <a:pt x="59200" y="54766"/>
                  </a:lnTo>
                  <a:lnTo>
                    <a:pt x="59109" y="54372"/>
                  </a:lnTo>
                  <a:lnTo>
                    <a:pt x="58496" y="54173"/>
                  </a:lnTo>
                  <a:lnTo>
                    <a:pt x="54076" y="55358"/>
                  </a:lnTo>
                  <a:lnTo>
                    <a:pt x="49789" y="56855"/>
                  </a:lnTo>
                  <a:lnTo>
                    <a:pt x="48103" y="56894"/>
                  </a:lnTo>
                  <a:lnTo>
                    <a:pt x="46468" y="56562"/>
                  </a:lnTo>
                  <a:lnTo>
                    <a:pt x="44302" y="56539"/>
                  </a:lnTo>
                  <a:lnTo>
                    <a:pt x="42216" y="56939"/>
                  </a:lnTo>
                  <a:lnTo>
                    <a:pt x="38042" y="57145"/>
                  </a:lnTo>
                  <a:lnTo>
                    <a:pt x="35598" y="58247"/>
                  </a:lnTo>
                  <a:lnTo>
                    <a:pt x="34041" y="60395"/>
                  </a:lnTo>
                  <a:lnTo>
                    <a:pt x="33192" y="62127"/>
                  </a:lnTo>
                  <a:lnTo>
                    <a:pt x="32488" y="62683"/>
                  </a:lnTo>
                  <a:lnTo>
                    <a:pt x="31031" y="62892"/>
                  </a:lnTo>
                  <a:lnTo>
                    <a:pt x="28854" y="62732"/>
                  </a:lnTo>
                  <a:lnTo>
                    <a:pt x="27325" y="62229"/>
                  </a:lnTo>
                  <a:lnTo>
                    <a:pt x="25766" y="60750"/>
                  </a:lnTo>
                  <a:lnTo>
                    <a:pt x="23345" y="60546"/>
                  </a:lnTo>
                  <a:lnTo>
                    <a:pt x="21126" y="60507"/>
                  </a:lnTo>
                  <a:lnTo>
                    <a:pt x="20538" y="60233"/>
                  </a:lnTo>
                  <a:lnTo>
                    <a:pt x="20577" y="59272"/>
                  </a:lnTo>
                  <a:lnTo>
                    <a:pt x="19700" y="57459"/>
                  </a:lnTo>
                  <a:lnTo>
                    <a:pt x="18251" y="56892"/>
                  </a:lnTo>
                  <a:lnTo>
                    <a:pt x="14501" y="60305"/>
                  </a:lnTo>
                  <a:lnTo>
                    <a:pt x="13477" y="60607"/>
                  </a:lnTo>
                  <a:lnTo>
                    <a:pt x="10456" y="59664"/>
                  </a:lnTo>
                  <a:lnTo>
                    <a:pt x="7821" y="58205"/>
                  </a:lnTo>
                  <a:lnTo>
                    <a:pt x="7532" y="57137"/>
                  </a:lnTo>
                  <a:lnTo>
                    <a:pt x="7104" y="56261"/>
                  </a:lnTo>
                  <a:lnTo>
                    <a:pt x="4887" y="55431"/>
                  </a:lnTo>
                  <a:lnTo>
                    <a:pt x="2121" y="54862"/>
                  </a:lnTo>
                  <a:lnTo>
                    <a:pt x="1244" y="54865"/>
                  </a:lnTo>
                  <a:lnTo>
                    <a:pt x="1585" y="54349"/>
                  </a:lnTo>
                  <a:lnTo>
                    <a:pt x="1913" y="53475"/>
                  </a:lnTo>
                  <a:lnTo>
                    <a:pt x="1706" y="52778"/>
                  </a:lnTo>
                  <a:lnTo>
                    <a:pt x="1058" y="52056"/>
                  </a:lnTo>
                  <a:lnTo>
                    <a:pt x="702" y="51284"/>
                  </a:lnTo>
                  <a:lnTo>
                    <a:pt x="598" y="50535"/>
                  </a:lnTo>
                  <a:lnTo>
                    <a:pt x="402" y="49924"/>
                  </a:lnTo>
                  <a:lnTo>
                    <a:pt x="283" y="49350"/>
                  </a:lnTo>
                  <a:lnTo>
                    <a:pt x="78" y="48899"/>
                  </a:lnTo>
                  <a:lnTo>
                    <a:pt x="1881" y="45509"/>
                  </a:lnTo>
                  <a:lnTo>
                    <a:pt x="2252" y="43399"/>
                  </a:lnTo>
                  <a:lnTo>
                    <a:pt x="672" y="42162"/>
                  </a:lnTo>
                  <a:lnTo>
                    <a:pt x="0" y="41794"/>
                  </a:lnTo>
                  <a:lnTo>
                    <a:pt x="551" y="41519"/>
                  </a:lnTo>
                  <a:lnTo>
                    <a:pt x="2799" y="41748"/>
                  </a:lnTo>
                  <a:lnTo>
                    <a:pt x="4226" y="41048"/>
                  </a:lnTo>
                  <a:lnTo>
                    <a:pt x="4973" y="40354"/>
                  </a:lnTo>
                  <a:lnTo>
                    <a:pt x="6968" y="41006"/>
                  </a:lnTo>
                  <a:lnTo>
                    <a:pt x="9897" y="42325"/>
                  </a:lnTo>
                  <a:lnTo>
                    <a:pt x="11279" y="43215"/>
                  </a:lnTo>
                  <a:lnTo>
                    <a:pt x="11849" y="43903"/>
                  </a:lnTo>
                  <a:lnTo>
                    <a:pt x="12166" y="44479"/>
                  </a:lnTo>
                  <a:lnTo>
                    <a:pt x="11991" y="45465"/>
                  </a:lnTo>
                  <a:lnTo>
                    <a:pt x="12658" y="45851"/>
                  </a:lnTo>
                  <a:lnTo>
                    <a:pt x="14036" y="46000"/>
                  </a:lnTo>
                  <a:lnTo>
                    <a:pt x="14954" y="46304"/>
                  </a:lnTo>
                  <a:lnTo>
                    <a:pt x="14632" y="47599"/>
                  </a:lnTo>
                  <a:lnTo>
                    <a:pt x="14572" y="48673"/>
                  </a:lnTo>
                  <a:lnTo>
                    <a:pt x="15846" y="48524"/>
                  </a:lnTo>
                  <a:lnTo>
                    <a:pt x="17441" y="47704"/>
                  </a:lnTo>
                  <a:lnTo>
                    <a:pt x="18687" y="46230"/>
                  </a:lnTo>
                  <a:lnTo>
                    <a:pt x="19456" y="44802"/>
                  </a:lnTo>
                  <a:lnTo>
                    <a:pt x="20042" y="41321"/>
                  </a:lnTo>
                  <a:lnTo>
                    <a:pt x="20242" y="41027"/>
                  </a:lnTo>
                  <a:lnTo>
                    <a:pt x="21201" y="41301"/>
                  </a:lnTo>
                  <a:lnTo>
                    <a:pt x="25090" y="41149"/>
                  </a:lnTo>
                  <a:lnTo>
                    <a:pt x="26923" y="41797"/>
                  </a:lnTo>
                  <a:lnTo>
                    <a:pt x="29830" y="41907"/>
                  </a:lnTo>
                  <a:lnTo>
                    <a:pt x="29776" y="42452"/>
                  </a:lnTo>
                  <a:lnTo>
                    <a:pt x="30292" y="43303"/>
                  </a:lnTo>
                  <a:lnTo>
                    <a:pt x="31579" y="44530"/>
                  </a:lnTo>
                  <a:lnTo>
                    <a:pt x="32214" y="45331"/>
                  </a:lnTo>
                  <a:lnTo>
                    <a:pt x="33566" y="45471"/>
                  </a:lnTo>
                  <a:lnTo>
                    <a:pt x="35645" y="45030"/>
                  </a:lnTo>
                  <a:lnTo>
                    <a:pt x="36865" y="44572"/>
                  </a:lnTo>
                  <a:lnTo>
                    <a:pt x="37323" y="44897"/>
                  </a:lnTo>
                  <a:lnTo>
                    <a:pt x="39225" y="44580"/>
                  </a:lnTo>
                  <a:lnTo>
                    <a:pt x="40910" y="43589"/>
                  </a:lnTo>
                  <a:lnTo>
                    <a:pt x="41326" y="42834"/>
                  </a:lnTo>
                  <a:lnTo>
                    <a:pt x="43028" y="42303"/>
                  </a:lnTo>
                  <a:lnTo>
                    <a:pt x="45328" y="41078"/>
                  </a:lnTo>
                  <a:lnTo>
                    <a:pt x="48487" y="40130"/>
                  </a:lnTo>
                  <a:lnTo>
                    <a:pt x="58854" y="39118"/>
                  </a:lnTo>
                  <a:lnTo>
                    <a:pt x="59256" y="38353"/>
                  </a:lnTo>
                  <a:lnTo>
                    <a:pt x="59102" y="36600"/>
                  </a:lnTo>
                  <a:lnTo>
                    <a:pt x="59377" y="36342"/>
                  </a:lnTo>
                  <a:lnTo>
                    <a:pt x="60683" y="36779"/>
                  </a:lnTo>
                  <a:lnTo>
                    <a:pt x="62780" y="37188"/>
                  </a:lnTo>
                  <a:lnTo>
                    <a:pt x="64385" y="37808"/>
                  </a:lnTo>
                  <a:lnTo>
                    <a:pt x="65428" y="38618"/>
                  </a:lnTo>
                  <a:lnTo>
                    <a:pt x="66393" y="38651"/>
                  </a:lnTo>
                  <a:lnTo>
                    <a:pt x="67889" y="38084"/>
                  </a:lnTo>
                  <a:lnTo>
                    <a:pt x="69915" y="37718"/>
                  </a:lnTo>
                  <a:lnTo>
                    <a:pt x="71806" y="38559"/>
                  </a:lnTo>
                  <a:lnTo>
                    <a:pt x="72355" y="39469"/>
                  </a:lnTo>
                  <a:lnTo>
                    <a:pt x="72022" y="39935"/>
                  </a:lnTo>
                  <a:lnTo>
                    <a:pt x="72059" y="40673"/>
                  </a:lnTo>
                  <a:lnTo>
                    <a:pt x="72646" y="41290"/>
                  </a:lnTo>
                  <a:lnTo>
                    <a:pt x="74184" y="42293"/>
                  </a:lnTo>
                  <a:lnTo>
                    <a:pt x="76155" y="43156"/>
                  </a:lnTo>
                  <a:lnTo>
                    <a:pt x="77179" y="43089"/>
                  </a:lnTo>
                  <a:lnTo>
                    <a:pt x="77559" y="42249"/>
                  </a:lnTo>
                  <a:lnTo>
                    <a:pt x="77922" y="40252"/>
                  </a:lnTo>
                  <a:lnTo>
                    <a:pt x="78058" y="38117"/>
                  </a:lnTo>
                  <a:lnTo>
                    <a:pt x="77604" y="36891"/>
                  </a:lnTo>
                  <a:lnTo>
                    <a:pt x="76542" y="36591"/>
                  </a:lnTo>
                  <a:lnTo>
                    <a:pt x="75272" y="36494"/>
                  </a:lnTo>
                  <a:lnTo>
                    <a:pt x="74598" y="36241"/>
                  </a:lnTo>
                  <a:lnTo>
                    <a:pt x="74834" y="35567"/>
                  </a:lnTo>
                  <a:lnTo>
                    <a:pt x="75849" y="33823"/>
                  </a:lnTo>
                  <a:lnTo>
                    <a:pt x="75834" y="31489"/>
                  </a:lnTo>
                  <a:lnTo>
                    <a:pt x="73542" y="28834"/>
                  </a:lnTo>
                  <a:lnTo>
                    <a:pt x="71556" y="26261"/>
                  </a:lnTo>
                  <a:lnTo>
                    <a:pt x="71562" y="25385"/>
                  </a:lnTo>
                  <a:lnTo>
                    <a:pt x="72754" y="23863"/>
                  </a:lnTo>
                  <a:lnTo>
                    <a:pt x="74594" y="22651"/>
                  </a:lnTo>
                  <a:lnTo>
                    <a:pt x="78678" y="20632"/>
                  </a:lnTo>
                  <a:lnTo>
                    <a:pt x="79967" y="20211"/>
                  </a:lnTo>
                  <a:lnTo>
                    <a:pt x="81621" y="19873"/>
                  </a:lnTo>
                  <a:lnTo>
                    <a:pt x="84000" y="19042"/>
                  </a:lnTo>
                  <a:lnTo>
                    <a:pt x="85145" y="18188"/>
                  </a:lnTo>
                  <a:lnTo>
                    <a:pt x="85914" y="17260"/>
                  </a:lnTo>
                  <a:lnTo>
                    <a:pt x="87030" y="12426"/>
                  </a:lnTo>
                  <a:lnTo>
                    <a:pt x="87291" y="12220"/>
                  </a:lnTo>
                  <a:lnTo>
                    <a:pt x="87622" y="11935"/>
                  </a:lnTo>
                  <a:lnTo>
                    <a:pt x="91792" y="13604"/>
                  </a:lnTo>
                  <a:lnTo>
                    <a:pt x="92167" y="13328"/>
                  </a:lnTo>
                  <a:lnTo>
                    <a:pt x="92869" y="13056"/>
                  </a:lnTo>
                  <a:lnTo>
                    <a:pt x="94227" y="11776"/>
                  </a:lnTo>
                  <a:lnTo>
                    <a:pt x="94525" y="10803"/>
                  </a:lnTo>
                  <a:lnTo>
                    <a:pt x="94495" y="8963"/>
                  </a:lnTo>
                  <a:lnTo>
                    <a:pt x="94616" y="7226"/>
                  </a:lnTo>
                  <a:lnTo>
                    <a:pt x="94877" y="6673"/>
                  </a:lnTo>
                  <a:lnTo>
                    <a:pt x="95506" y="6874"/>
                  </a:lnTo>
                  <a:lnTo>
                    <a:pt x="97300" y="7780"/>
                  </a:lnTo>
                  <a:lnTo>
                    <a:pt x="98725" y="8792"/>
                  </a:lnTo>
                  <a:lnTo>
                    <a:pt x="100060" y="11349"/>
                  </a:lnTo>
                  <a:lnTo>
                    <a:pt x="103171" y="12028"/>
                  </a:lnTo>
                  <a:lnTo>
                    <a:pt x="107101" y="12095"/>
                  </a:lnTo>
                  <a:lnTo>
                    <a:pt x="108505" y="10957"/>
                  </a:lnTo>
                  <a:lnTo>
                    <a:pt x="109779" y="10694"/>
                  </a:lnTo>
                  <a:lnTo>
                    <a:pt x="111222" y="11041"/>
                  </a:lnTo>
                  <a:lnTo>
                    <a:pt x="114260" y="11441"/>
                  </a:lnTo>
                  <a:lnTo>
                    <a:pt x="114599" y="9376"/>
                  </a:lnTo>
                  <a:lnTo>
                    <a:pt x="116352" y="7230"/>
                  </a:lnTo>
                  <a:lnTo>
                    <a:pt x="117147" y="6472"/>
                  </a:lnTo>
                  <a:lnTo>
                    <a:pt x="119373" y="6546"/>
                  </a:lnTo>
                  <a:lnTo>
                    <a:pt x="119922" y="4942"/>
                  </a:lnTo>
                  <a:lnTo>
                    <a:pt x="120470" y="490"/>
                  </a:lnTo>
                  <a:lnTo>
                    <a:pt x="120941" y="0"/>
                  </a:lnTo>
                  <a:lnTo>
                    <a:pt x="122563" y="93"/>
                  </a:lnTo>
                  <a:lnTo>
                    <a:pt x="124176" y="906"/>
                  </a:lnTo>
                  <a:lnTo>
                    <a:pt x="124662" y="1564"/>
                  </a:lnTo>
                  <a:lnTo>
                    <a:pt x="125500" y="1511"/>
                  </a:lnTo>
                  <a:lnTo>
                    <a:pt x="126674" y="1063"/>
                  </a:lnTo>
                  <a:lnTo>
                    <a:pt x="127961" y="773"/>
                  </a:lnTo>
                  <a:lnTo>
                    <a:pt x="129995" y="1248"/>
                  </a:lnTo>
                  <a:lnTo>
                    <a:pt x="134340" y="3272"/>
                  </a:lnTo>
                  <a:lnTo>
                    <a:pt x="136581" y="4010"/>
                  </a:lnTo>
                  <a:lnTo>
                    <a:pt x="138002" y="3869"/>
                  </a:lnTo>
                  <a:lnTo>
                    <a:pt x="139332" y="3896"/>
                  </a:lnTo>
                  <a:lnTo>
                    <a:pt x="144463" y="7019"/>
                  </a:lnTo>
                  <a:lnTo>
                    <a:pt x="148048" y="7456"/>
                  </a:lnTo>
                  <a:lnTo>
                    <a:pt x="151319" y="7469"/>
                  </a:lnTo>
                  <a:lnTo>
                    <a:pt x="152371" y="6527"/>
                  </a:lnTo>
                  <a:lnTo>
                    <a:pt x="153766" y="5729"/>
                  </a:lnTo>
                  <a:lnTo>
                    <a:pt x="155217" y="5839"/>
                  </a:lnTo>
                  <a:lnTo>
                    <a:pt x="156486" y="6248"/>
                  </a:lnTo>
                  <a:lnTo>
                    <a:pt x="158957" y="7604"/>
                  </a:lnTo>
                  <a:lnTo>
                    <a:pt x="160101" y="7951"/>
                  </a:lnTo>
                  <a:lnTo>
                    <a:pt x="161622" y="8170"/>
                  </a:lnTo>
                  <a:lnTo>
                    <a:pt x="162738" y="8472"/>
                  </a:lnTo>
                  <a:lnTo>
                    <a:pt x="163725" y="1082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5" name="ee4p_BE_1_15912">
              <a:extLst>
                <a:ext uri="{FF2B5EF4-FFF2-40B4-BE49-F238E27FC236}">
                  <a16:creationId xmlns:a16="http://schemas.microsoft.com/office/drawing/2014/main" id="{E35F5E2C-BE57-51C9-BFE3-9E5F26EFD209}"/>
                </a:ext>
              </a:extLst>
            </p:cNvPr>
            <p:cNvSpPr>
              <a:spLocks noChangeAspect="1"/>
            </p:cNvSpPr>
            <p:nvPr>
              <p:custDataLst>
                <p:tags r:id="rId17"/>
              </p:custDataLst>
            </p:nvPr>
          </p:nvSpPr>
          <p:spPr>
            <a:xfrm>
              <a:off x="3993038" y="4359458"/>
              <a:ext cx="336571" cy="227963"/>
            </a:xfrm>
            <a:custGeom>
              <a:avLst/>
              <a:gdLst/>
              <a:ahLst/>
              <a:cxnLst/>
              <a:rect l="0" t="0" r="0" b="0"/>
              <a:pathLst>
                <a:path w="84902" h="57505">
                  <a:moveTo>
                    <a:pt x="50661" y="1713"/>
                  </a:moveTo>
                  <a:lnTo>
                    <a:pt x="50765" y="2322"/>
                  </a:lnTo>
                  <a:lnTo>
                    <a:pt x="51370" y="2580"/>
                  </a:lnTo>
                  <a:lnTo>
                    <a:pt x="53490" y="2448"/>
                  </a:lnTo>
                  <a:lnTo>
                    <a:pt x="54566" y="1344"/>
                  </a:lnTo>
                  <a:lnTo>
                    <a:pt x="55414" y="647"/>
                  </a:lnTo>
                  <a:lnTo>
                    <a:pt x="56045" y="1116"/>
                  </a:lnTo>
                  <a:lnTo>
                    <a:pt x="56353" y="2475"/>
                  </a:lnTo>
                  <a:lnTo>
                    <a:pt x="56939" y="4246"/>
                  </a:lnTo>
                  <a:lnTo>
                    <a:pt x="59465" y="6226"/>
                  </a:lnTo>
                  <a:lnTo>
                    <a:pt x="61603" y="6790"/>
                  </a:lnTo>
                  <a:lnTo>
                    <a:pt x="64233" y="6401"/>
                  </a:lnTo>
                  <a:lnTo>
                    <a:pt x="65274" y="6048"/>
                  </a:lnTo>
                  <a:lnTo>
                    <a:pt x="65980" y="6342"/>
                  </a:lnTo>
                  <a:lnTo>
                    <a:pt x="66680" y="7388"/>
                  </a:lnTo>
                  <a:lnTo>
                    <a:pt x="68191" y="8585"/>
                  </a:lnTo>
                  <a:lnTo>
                    <a:pt x="71365" y="9433"/>
                  </a:lnTo>
                  <a:lnTo>
                    <a:pt x="72342" y="9913"/>
                  </a:lnTo>
                  <a:lnTo>
                    <a:pt x="73019" y="10716"/>
                  </a:lnTo>
                  <a:lnTo>
                    <a:pt x="72823" y="11863"/>
                  </a:lnTo>
                  <a:lnTo>
                    <a:pt x="71309" y="14717"/>
                  </a:lnTo>
                  <a:lnTo>
                    <a:pt x="71111" y="15559"/>
                  </a:lnTo>
                  <a:lnTo>
                    <a:pt x="71314" y="15842"/>
                  </a:lnTo>
                  <a:lnTo>
                    <a:pt x="71018" y="16370"/>
                  </a:lnTo>
                  <a:lnTo>
                    <a:pt x="69048" y="18281"/>
                  </a:lnTo>
                  <a:lnTo>
                    <a:pt x="68869" y="18953"/>
                  </a:lnTo>
                  <a:lnTo>
                    <a:pt x="69525" y="20050"/>
                  </a:lnTo>
                  <a:lnTo>
                    <a:pt x="70065" y="20959"/>
                  </a:lnTo>
                  <a:lnTo>
                    <a:pt x="70087" y="20776"/>
                  </a:lnTo>
                  <a:lnTo>
                    <a:pt x="73104" y="19957"/>
                  </a:lnTo>
                  <a:lnTo>
                    <a:pt x="74464" y="21606"/>
                  </a:lnTo>
                  <a:lnTo>
                    <a:pt x="76708" y="21667"/>
                  </a:lnTo>
                  <a:lnTo>
                    <a:pt x="76973" y="22198"/>
                  </a:lnTo>
                  <a:lnTo>
                    <a:pt x="79483" y="23740"/>
                  </a:lnTo>
                  <a:lnTo>
                    <a:pt x="80258" y="24961"/>
                  </a:lnTo>
                  <a:lnTo>
                    <a:pt x="82059" y="26141"/>
                  </a:lnTo>
                  <a:lnTo>
                    <a:pt x="80567" y="27633"/>
                  </a:lnTo>
                  <a:lnTo>
                    <a:pt x="80793" y="28296"/>
                  </a:lnTo>
                  <a:lnTo>
                    <a:pt x="81331" y="28975"/>
                  </a:lnTo>
                  <a:lnTo>
                    <a:pt x="83363" y="29371"/>
                  </a:lnTo>
                  <a:lnTo>
                    <a:pt x="84380" y="30350"/>
                  </a:lnTo>
                  <a:lnTo>
                    <a:pt x="84440" y="31845"/>
                  </a:lnTo>
                  <a:lnTo>
                    <a:pt x="84901" y="34282"/>
                  </a:lnTo>
                  <a:lnTo>
                    <a:pt x="80714" y="36700"/>
                  </a:lnTo>
                  <a:lnTo>
                    <a:pt x="79524" y="39399"/>
                  </a:lnTo>
                  <a:lnTo>
                    <a:pt x="79418" y="39930"/>
                  </a:lnTo>
                  <a:lnTo>
                    <a:pt x="79275" y="39850"/>
                  </a:lnTo>
                  <a:lnTo>
                    <a:pt x="78811" y="38959"/>
                  </a:lnTo>
                  <a:lnTo>
                    <a:pt x="78053" y="38967"/>
                  </a:lnTo>
                  <a:lnTo>
                    <a:pt x="76317" y="38595"/>
                  </a:lnTo>
                  <a:lnTo>
                    <a:pt x="73898" y="41034"/>
                  </a:lnTo>
                  <a:lnTo>
                    <a:pt x="72804" y="43059"/>
                  </a:lnTo>
                  <a:lnTo>
                    <a:pt x="72156" y="44544"/>
                  </a:lnTo>
                  <a:lnTo>
                    <a:pt x="71182" y="45744"/>
                  </a:lnTo>
                  <a:lnTo>
                    <a:pt x="70987" y="47012"/>
                  </a:lnTo>
                  <a:lnTo>
                    <a:pt x="71111" y="47544"/>
                  </a:lnTo>
                  <a:lnTo>
                    <a:pt x="70778" y="48231"/>
                  </a:lnTo>
                  <a:lnTo>
                    <a:pt x="70761" y="48953"/>
                  </a:lnTo>
                  <a:lnTo>
                    <a:pt x="72154" y="50375"/>
                  </a:lnTo>
                  <a:lnTo>
                    <a:pt x="72501" y="51144"/>
                  </a:lnTo>
                  <a:lnTo>
                    <a:pt x="74197" y="53658"/>
                  </a:lnTo>
                  <a:lnTo>
                    <a:pt x="73669" y="54575"/>
                  </a:lnTo>
                  <a:lnTo>
                    <a:pt x="73250" y="55567"/>
                  </a:lnTo>
                  <a:lnTo>
                    <a:pt x="72761" y="56271"/>
                  </a:lnTo>
                  <a:lnTo>
                    <a:pt x="72192" y="56717"/>
                  </a:lnTo>
                  <a:lnTo>
                    <a:pt x="70439" y="56690"/>
                  </a:lnTo>
                  <a:lnTo>
                    <a:pt x="68219" y="57006"/>
                  </a:lnTo>
                  <a:lnTo>
                    <a:pt x="66723" y="57499"/>
                  </a:lnTo>
                  <a:lnTo>
                    <a:pt x="65947" y="57504"/>
                  </a:lnTo>
                  <a:lnTo>
                    <a:pt x="64341" y="56252"/>
                  </a:lnTo>
                  <a:lnTo>
                    <a:pt x="62546" y="54375"/>
                  </a:lnTo>
                  <a:lnTo>
                    <a:pt x="61406" y="53479"/>
                  </a:lnTo>
                  <a:lnTo>
                    <a:pt x="60895" y="52705"/>
                  </a:lnTo>
                  <a:lnTo>
                    <a:pt x="59485" y="52379"/>
                  </a:lnTo>
                  <a:lnTo>
                    <a:pt x="57474" y="51452"/>
                  </a:lnTo>
                  <a:lnTo>
                    <a:pt x="56079" y="50443"/>
                  </a:lnTo>
                  <a:lnTo>
                    <a:pt x="54883" y="49815"/>
                  </a:lnTo>
                  <a:lnTo>
                    <a:pt x="53194" y="49501"/>
                  </a:lnTo>
                  <a:lnTo>
                    <a:pt x="51801" y="49533"/>
                  </a:lnTo>
                  <a:lnTo>
                    <a:pt x="51393" y="47834"/>
                  </a:lnTo>
                  <a:lnTo>
                    <a:pt x="51225" y="45892"/>
                  </a:lnTo>
                  <a:lnTo>
                    <a:pt x="50087" y="44592"/>
                  </a:lnTo>
                  <a:lnTo>
                    <a:pt x="51646" y="39500"/>
                  </a:lnTo>
                  <a:lnTo>
                    <a:pt x="50720" y="39000"/>
                  </a:lnTo>
                  <a:lnTo>
                    <a:pt x="49707" y="39408"/>
                  </a:lnTo>
                  <a:lnTo>
                    <a:pt x="48243" y="40622"/>
                  </a:lnTo>
                  <a:lnTo>
                    <a:pt x="47545" y="42072"/>
                  </a:lnTo>
                  <a:lnTo>
                    <a:pt x="47126" y="43355"/>
                  </a:lnTo>
                  <a:lnTo>
                    <a:pt x="44669" y="44572"/>
                  </a:lnTo>
                  <a:lnTo>
                    <a:pt x="40771" y="45013"/>
                  </a:lnTo>
                  <a:lnTo>
                    <a:pt x="36511" y="44572"/>
                  </a:lnTo>
                  <a:lnTo>
                    <a:pt x="35919" y="44245"/>
                  </a:lnTo>
                  <a:lnTo>
                    <a:pt x="35647" y="43873"/>
                  </a:lnTo>
                  <a:lnTo>
                    <a:pt x="35643" y="43425"/>
                  </a:lnTo>
                  <a:lnTo>
                    <a:pt x="35941" y="42736"/>
                  </a:lnTo>
                  <a:lnTo>
                    <a:pt x="36684" y="41900"/>
                  </a:lnTo>
                  <a:lnTo>
                    <a:pt x="36867" y="40706"/>
                  </a:lnTo>
                  <a:lnTo>
                    <a:pt x="36105" y="39673"/>
                  </a:lnTo>
                  <a:lnTo>
                    <a:pt x="35608" y="39271"/>
                  </a:lnTo>
                  <a:lnTo>
                    <a:pt x="35805" y="38270"/>
                  </a:lnTo>
                  <a:lnTo>
                    <a:pt x="36368" y="37015"/>
                  </a:lnTo>
                  <a:lnTo>
                    <a:pt x="36478" y="36300"/>
                  </a:lnTo>
                  <a:lnTo>
                    <a:pt x="33594" y="34132"/>
                  </a:lnTo>
                  <a:lnTo>
                    <a:pt x="31505" y="33709"/>
                  </a:lnTo>
                  <a:lnTo>
                    <a:pt x="29480" y="33633"/>
                  </a:lnTo>
                  <a:lnTo>
                    <a:pt x="27942" y="33389"/>
                  </a:lnTo>
                  <a:lnTo>
                    <a:pt x="27046" y="33490"/>
                  </a:lnTo>
                  <a:lnTo>
                    <a:pt x="26401" y="34122"/>
                  </a:lnTo>
                  <a:lnTo>
                    <a:pt x="25748" y="34575"/>
                  </a:lnTo>
                  <a:lnTo>
                    <a:pt x="25260" y="34032"/>
                  </a:lnTo>
                  <a:lnTo>
                    <a:pt x="24364" y="30189"/>
                  </a:lnTo>
                  <a:lnTo>
                    <a:pt x="23671" y="29608"/>
                  </a:lnTo>
                  <a:lnTo>
                    <a:pt x="21052" y="28966"/>
                  </a:lnTo>
                  <a:lnTo>
                    <a:pt x="17497" y="28736"/>
                  </a:lnTo>
                  <a:lnTo>
                    <a:pt x="16549" y="28034"/>
                  </a:lnTo>
                  <a:lnTo>
                    <a:pt x="16029" y="26302"/>
                  </a:lnTo>
                  <a:lnTo>
                    <a:pt x="15701" y="24214"/>
                  </a:lnTo>
                  <a:lnTo>
                    <a:pt x="14530" y="22213"/>
                  </a:lnTo>
                  <a:lnTo>
                    <a:pt x="13930" y="21712"/>
                  </a:lnTo>
                  <a:lnTo>
                    <a:pt x="12868" y="20823"/>
                  </a:lnTo>
                  <a:lnTo>
                    <a:pt x="11010" y="21188"/>
                  </a:lnTo>
                  <a:lnTo>
                    <a:pt x="8780" y="22348"/>
                  </a:lnTo>
                  <a:lnTo>
                    <a:pt x="7463" y="22670"/>
                  </a:lnTo>
                  <a:lnTo>
                    <a:pt x="6962" y="22793"/>
                  </a:lnTo>
                  <a:lnTo>
                    <a:pt x="5184" y="21662"/>
                  </a:lnTo>
                  <a:lnTo>
                    <a:pt x="3189" y="19891"/>
                  </a:lnTo>
                  <a:lnTo>
                    <a:pt x="1589" y="18010"/>
                  </a:lnTo>
                  <a:lnTo>
                    <a:pt x="1203" y="16965"/>
                  </a:lnTo>
                  <a:lnTo>
                    <a:pt x="1693" y="15695"/>
                  </a:lnTo>
                  <a:lnTo>
                    <a:pt x="1103" y="14722"/>
                  </a:lnTo>
                  <a:lnTo>
                    <a:pt x="246" y="12942"/>
                  </a:lnTo>
                  <a:lnTo>
                    <a:pt x="0" y="11550"/>
                  </a:lnTo>
                  <a:lnTo>
                    <a:pt x="9624" y="6623"/>
                  </a:lnTo>
                  <a:lnTo>
                    <a:pt x="15485" y="4096"/>
                  </a:lnTo>
                  <a:lnTo>
                    <a:pt x="18247" y="3331"/>
                  </a:lnTo>
                  <a:lnTo>
                    <a:pt x="18910" y="5870"/>
                  </a:lnTo>
                  <a:lnTo>
                    <a:pt x="19413" y="6676"/>
                  </a:lnTo>
                  <a:lnTo>
                    <a:pt x="20069" y="7199"/>
                  </a:lnTo>
                  <a:lnTo>
                    <a:pt x="20942" y="7302"/>
                  </a:lnTo>
                  <a:lnTo>
                    <a:pt x="21939" y="6676"/>
                  </a:lnTo>
                  <a:lnTo>
                    <a:pt x="23336" y="6015"/>
                  </a:lnTo>
                  <a:lnTo>
                    <a:pt x="25582" y="6322"/>
                  </a:lnTo>
                  <a:lnTo>
                    <a:pt x="27215" y="6933"/>
                  </a:lnTo>
                  <a:lnTo>
                    <a:pt x="27795" y="7567"/>
                  </a:lnTo>
                  <a:lnTo>
                    <a:pt x="28875" y="8171"/>
                  </a:lnTo>
                  <a:lnTo>
                    <a:pt x="30452" y="8315"/>
                  </a:lnTo>
                  <a:lnTo>
                    <a:pt x="33503" y="7161"/>
                  </a:lnTo>
                  <a:lnTo>
                    <a:pt x="36433" y="5402"/>
                  </a:lnTo>
                  <a:lnTo>
                    <a:pt x="37293" y="4180"/>
                  </a:lnTo>
                  <a:lnTo>
                    <a:pt x="37619" y="3073"/>
                  </a:lnTo>
                  <a:lnTo>
                    <a:pt x="39351" y="3805"/>
                  </a:lnTo>
                  <a:lnTo>
                    <a:pt x="40881" y="3967"/>
                  </a:lnTo>
                  <a:lnTo>
                    <a:pt x="41551" y="3642"/>
                  </a:lnTo>
                  <a:lnTo>
                    <a:pt x="41125" y="1866"/>
                  </a:lnTo>
                  <a:lnTo>
                    <a:pt x="42367" y="920"/>
                  </a:lnTo>
                  <a:lnTo>
                    <a:pt x="43749" y="482"/>
                  </a:lnTo>
                  <a:lnTo>
                    <a:pt x="44373" y="1250"/>
                  </a:lnTo>
                  <a:lnTo>
                    <a:pt x="45636" y="2033"/>
                  </a:lnTo>
                  <a:lnTo>
                    <a:pt x="46636" y="2038"/>
                  </a:lnTo>
                  <a:lnTo>
                    <a:pt x="49327" y="0"/>
                  </a:lnTo>
                  <a:lnTo>
                    <a:pt x="49957" y="403"/>
                  </a:lnTo>
                  <a:lnTo>
                    <a:pt x="50540" y="112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6" name="ee4p_BG_1_15912">
              <a:extLst>
                <a:ext uri="{FF2B5EF4-FFF2-40B4-BE49-F238E27FC236}">
                  <a16:creationId xmlns:a16="http://schemas.microsoft.com/office/drawing/2014/main" id="{F9B0DB5A-40BD-728A-3358-BBD3A34A2B97}"/>
                </a:ext>
              </a:extLst>
            </p:cNvPr>
            <p:cNvSpPr>
              <a:spLocks noChangeAspect="1"/>
            </p:cNvSpPr>
            <p:nvPr>
              <p:custDataLst>
                <p:tags r:id="rId18"/>
              </p:custDataLst>
            </p:nvPr>
          </p:nvSpPr>
          <p:spPr>
            <a:xfrm>
              <a:off x="5730334" y="5170321"/>
              <a:ext cx="547103" cy="317364"/>
            </a:xfrm>
            <a:custGeom>
              <a:avLst/>
              <a:gdLst/>
              <a:ahLst/>
              <a:cxnLst/>
              <a:rect l="0" t="0" r="0" b="0"/>
              <a:pathLst>
                <a:path w="138010" h="80057">
                  <a:moveTo>
                    <a:pt x="138009" y="13408"/>
                  </a:moveTo>
                  <a:lnTo>
                    <a:pt x="137488" y="19904"/>
                  </a:lnTo>
                  <a:lnTo>
                    <a:pt x="135357" y="22918"/>
                  </a:lnTo>
                  <a:lnTo>
                    <a:pt x="132133" y="21908"/>
                  </a:lnTo>
                  <a:lnTo>
                    <a:pt x="128021" y="22749"/>
                  </a:lnTo>
                  <a:lnTo>
                    <a:pt x="125843" y="26172"/>
                  </a:lnTo>
                  <a:lnTo>
                    <a:pt x="124607" y="27186"/>
                  </a:lnTo>
                  <a:lnTo>
                    <a:pt x="123493" y="28378"/>
                  </a:lnTo>
                  <a:lnTo>
                    <a:pt x="122776" y="32816"/>
                  </a:lnTo>
                  <a:lnTo>
                    <a:pt x="122608" y="40070"/>
                  </a:lnTo>
                  <a:lnTo>
                    <a:pt x="121049" y="40954"/>
                  </a:lnTo>
                  <a:lnTo>
                    <a:pt x="119619" y="41224"/>
                  </a:lnTo>
                  <a:lnTo>
                    <a:pt x="113672" y="47590"/>
                  </a:lnTo>
                  <a:lnTo>
                    <a:pt x="117095" y="49378"/>
                  </a:lnTo>
                  <a:lnTo>
                    <a:pt x="118613" y="50738"/>
                  </a:lnTo>
                  <a:lnTo>
                    <a:pt x="121115" y="54516"/>
                  </a:lnTo>
                  <a:lnTo>
                    <a:pt x="124683" y="58784"/>
                  </a:lnTo>
                  <a:lnTo>
                    <a:pt x="125385" y="60865"/>
                  </a:lnTo>
                  <a:lnTo>
                    <a:pt x="122394" y="60399"/>
                  </a:lnTo>
                  <a:lnTo>
                    <a:pt x="121349" y="60540"/>
                  </a:lnTo>
                  <a:lnTo>
                    <a:pt x="120679" y="61197"/>
                  </a:lnTo>
                  <a:lnTo>
                    <a:pt x="119291" y="61064"/>
                  </a:lnTo>
                  <a:lnTo>
                    <a:pt x="117572" y="61070"/>
                  </a:lnTo>
                  <a:lnTo>
                    <a:pt x="115775" y="61824"/>
                  </a:lnTo>
                  <a:lnTo>
                    <a:pt x="114780" y="62145"/>
                  </a:lnTo>
                  <a:lnTo>
                    <a:pt x="113452" y="61453"/>
                  </a:lnTo>
                  <a:lnTo>
                    <a:pt x="110977" y="59378"/>
                  </a:lnTo>
                  <a:lnTo>
                    <a:pt x="109474" y="57931"/>
                  </a:lnTo>
                  <a:lnTo>
                    <a:pt x="108356" y="57566"/>
                  </a:lnTo>
                  <a:lnTo>
                    <a:pt x="107229" y="57996"/>
                  </a:lnTo>
                  <a:lnTo>
                    <a:pt x="103212" y="58486"/>
                  </a:lnTo>
                  <a:lnTo>
                    <a:pt x="102262" y="59330"/>
                  </a:lnTo>
                  <a:lnTo>
                    <a:pt x="100407" y="60260"/>
                  </a:lnTo>
                  <a:lnTo>
                    <a:pt x="98539" y="60703"/>
                  </a:lnTo>
                  <a:lnTo>
                    <a:pt x="95860" y="61017"/>
                  </a:lnTo>
                  <a:lnTo>
                    <a:pt x="94447" y="60975"/>
                  </a:lnTo>
                  <a:lnTo>
                    <a:pt x="93659" y="61425"/>
                  </a:lnTo>
                  <a:lnTo>
                    <a:pt x="92996" y="62784"/>
                  </a:lnTo>
                  <a:lnTo>
                    <a:pt x="92545" y="64111"/>
                  </a:lnTo>
                  <a:lnTo>
                    <a:pt x="92150" y="64649"/>
                  </a:lnTo>
                  <a:lnTo>
                    <a:pt x="88809" y="65306"/>
                  </a:lnTo>
                  <a:lnTo>
                    <a:pt x="88077" y="66068"/>
                  </a:lnTo>
                  <a:lnTo>
                    <a:pt x="87872" y="66813"/>
                  </a:lnTo>
                  <a:lnTo>
                    <a:pt x="87936" y="67558"/>
                  </a:lnTo>
                  <a:lnTo>
                    <a:pt x="85276" y="66837"/>
                  </a:lnTo>
                  <a:lnTo>
                    <a:pt x="83216" y="67316"/>
                  </a:lnTo>
                  <a:lnTo>
                    <a:pt x="82732" y="67887"/>
                  </a:lnTo>
                  <a:lnTo>
                    <a:pt x="82301" y="68705"/>
                  </a:lnTo>
                  <a:lnTo>
                    <a:pt x="82543" y="69580"/>
                  </a:lnTo>
                  <a:lnTo>
                    <a:pt x="83300" y="70426"/>
                  </a:lnTo>
                  <a:lnTo>
                    <a:pt x="84015" y="72718"/>
                  </a:lnTo>
                  <a:lnTo>
                    <a:pt x="84272" y="75007"/>
                  </a:lnTo>
                  <a:lnTo>
                    <a:pt x="83834" y="76304"/>
                  </a:lnTo>
                  <a:lnTo>
                    <a:pt x="82309" y="77230"/>
                  </a:lnTo>
                  <a:lnTo>
                    <a:pt x="79146" y="78253"/>
                  </a:lnTo>
                  <a:lnTo>
                    <a:pt x="76086" y="77764"/>
                  </a:lnTo>
                  <a:lnTo>
                    <a:pt x="74736" y="78170"/>
                  </a:lnTo>
                  <a:lnTo>
                    <a:pt x="72471" y="78300"/>
                  </a:lnTo>
                  <a:lnTo>
                    <a:pt x="70383" y="78572"/>
                  </a:lnTo>
                  <a:lnTo>
                    <a:pt x="67174" y="79507"/>
                  </a:lnTo>
                  <a:lnTo>
                    <a:pt x="64283" y="80056"/>
                  </a:lnTo>
                  <a:lnTo>
                    <a:pt x="61678" y="78151"/>
                  </a:lnTo>
                  <a:lnTo>
                    <a:pt x="58586" y="76852"/>
                  </a:lnTo>
                  <a:lnTo>
                    <a:pt x="55343" y="76080"/>
                  </a:lnTo>
                  <a:lnTo>
                    <a:pt x="54214" y="76643"/>
                  </a:lnTo>
                  <a:lnTo>
                    <a:pt x="53725" y="77087"/>
                  </a:lnTo>
                  <a:lnTo>
                    <a:pt x="51013" y="75401"/>
                  </a:lnTo>
                  <a:lnTo>
                    <a:pt x="49795" y="74800"/>
                  </a:lnTo>
                  <a:lnTo>
                    <a:pt x="49206" y="74148"/>
                  </a:lnTo>
                  <a:lnTo>
                    <a:pt x="48076" y="71898"/>
                  </a:lnTo>
                  <a:lnTo>
                    <a:pt x="47405" y="71827"/>
                  </a:lnTo>
                  <a:lnTo>
                    <a:pt x="45168" y="72665"/>
                  </a:lnTo>
                  <a:lnTo>
                    <a:pt x="43017" y="72625"/>
                  </a:lnTo>
                  <a:lnTo>
                    <a:pt x="41711" y="72472"/>
                  </a:lnTo>
                  <a:lnTo>
                    <a:pt x="37856" y="72566"/>
                  </a:lnTo>
                  <a:lnTo>
                    <a:pt x="37345" y="74103"/>
                  </a:lnTo>
                  <a:lnTo>
                    <a:pt x="36867" y="74342"/>
                  </a:lnTo>
                  <a:lnTo>
                    <a:pt x="36031" y="74547"/>
                  </a:lnTo>
                  <a:lnTo>
                    <a:pt x="33982" y="74450"/>
                  </a:lnTo>
                  <a:lnTo>
                    <a:pt x="31361" y="75585"/>
                  </a:lnTo>
                  <a:lnTo>
                    <a:pt x="28549" y="76277"/>
                  </a:lnTo>
                  <a:lnTo>
                    <a:pt x="26353" y="76296"/>
                  </a:lnTo>
                  <a:lnTo>
                    <a:pt x="24088" y="75961"/>
                  </a:lnTo>
                  <a:lnTo>
                    <a:pt x="22732" y="76201"/>
                  </a:lnTo>
                  <a:lnTo>
                    <a:pt x="19808" y="76325"/>
                  </a:lnTo>
                  <a:lnTo>
                    <a:pt x="17953" y="77985"/>
                  </a:lnTo>
                  <a:lnTo>
                    <a:pt x="15070" y="77891"/>
                  </a:lnTo>
                  <a:lnTo>
                    <a:pt x="12648" y="77610"/>
                  </a:lnTo>
                  <a:lnTo>
                    <a:pt x="12950" y="77087"/>
                  </a:lnTo>
                  <a:lnTo>
                    <a:pt x="13431" y="70494"/>
                  </a:lnTo>
                  <a:lnTo>
                    <a:pt x="14630" y="67548"/>
                  </a:lnTo>
                  <a:lnTo>
                    <a:pt x="14584" y="66942"/>
                  </a:lnTo>
                  <a:lnTo>
                    <a:pt x="14327" y="66482"/>
                  </a:lnTo>
                  <a:lnTo>
                    <a:pt x="13265" y="66008"/>
                  </a:lnTo>
                  <a:lnTo>
                    <a:pt x="12496" y="64415"/>
                  </a:lnTo>
                  <a:lnTo>
                    <a:pt x="10896" y="60213"/>
                  </a:lnTo>
                  <a:lnTo>
                    <a:pt x="9996" y="59361"/>
                  </a:lnTo>
                  <a:lnTo>
                    <a:pt x="7480" y="58473"/>
                  </a:lnTo>
                  <a:lnTo>
                    <a:pt x="5277" y="57259"/>
                  </a:lnTo>
                  <a:lnTo>
                    <a:pt x="3410" y="55657"/>
                  </a:lnTo>
                  <a:lnTo>
                    <a:pt x="0" y="51696"/>
                  </a:lnTo>
                  <a:lnTo>
                    <a:pt x="1725" y="51300"/>
                  </a:lnTo>
                  <a:lnTo>
                    <a:pt x="2248" y="50493"/>
                  </a:lnTo>
                  <a:lnTo>
                    <a:pt x="3969" y="48313"/>
                  </a:lnTo>
                  <a:lnTo>
                    <a:pt x="4166" y="47240"/>
                  </a:lnTo>
                  <a:lnTo>
                    <a:pt x="3984" y="46634"/>
                  </a:lnTo>
                  <a:lnTo>
                    <a:pt x="2831" y="45583"/>
                  </a:lnTo>
                  <a:lnTo>
                    <a:pt x="2039" y="43293"/>
                  </a:lnTo>
                  <a:lnTo>
                    <a:pt x="2637" y="41146"/>
                  </a:lnTo>
                  <a:lnTo>
                    <a:pt x="2688" y="40042"/>
                  </a:lnTo>
                  <a:lnTo>
                    <a:pt x="2105" y="38949"/>
                  </a:lnTo>
                  <a:lnTo>
                    <a:pt x="2714" y="37589"/>
                  </a:lnTo>
                  <a:lnTo>
                    <a:pt x="3952" y="36844"/>
                  </a:lnTo>
                  <a:lnTo>
                    <a:pt x="4733" y="36626"/>
                  </a:lnTo>
                  <a:lnTo>
                    <a:pt x="8007" y="36480"/>
                  </a:lnTo>
                  <a:lnTo>
                    <a:pt x="10080" y="33753"/>
                  </a:lnTo>
                  <a:lnTo>
                    <a:pt x="11339" y="32881"/>
                  </a:lnTo>
                  <a:lnTo>
                    <a:pt x="12630" y="31334"/>
                  </a:lnTo>
                  <a:lnTo>
                    <a:pt x="13229" y="30768"/>
                  </a:lnTo>
                  <a:lnTo>
                    <a:pt x="13796" y="29562"/>
                  </a:lnTo>
                  <a:lnTo>
                    <a:pt x="13993" y="28328"/>
                  </a:lnTo>
                  <a:lnTo>
                    <a:pt x="11399" y="26600"/>
                  </a:lnTo>
                  <a:lnTo>
                    <a:pt x="10518" y="25300"/>
                  </a:lnTo>
                  <a:lnTo>
                    <a:pt x="9365" y="23864"/>
                  </a:lnTo>
                  <a:lnTo>
                    <a:pt x="7804" y="22871"/>
                  </a:lnTo>
                  <a:lnTo>
                    <a:pt x="4655" y="21165"/>
                  </a:lnTo>
                  <a:lnTo>
                    <a:pt x="3429" y="19432"/>
                  </a:lnTo>
                  <a:lnTo>
                    <a:pt x="2876" y="17185"/>
                  </a:lnTo>
                  <a:lnTo>
                    <a:pt x="2040" y="15480"/>
                  </a:lnTo>
                  <a:lnTo>
                    <a:pt x="1123" y="14369"/>
                  </a:lnTo>
                  <a:lnTo>
                    <a:pt x="948" y="13465"/>
                  </a:lnTo>
                  <a:lnTo>
                    <a:pt x="566" y="12354"/>
                  </a:lnTo>
                  <a:lnTo>
                    <a:pt x="473" y="10171"/>
                  </a:lnTo>
                  <a:lnTo>
                    <a:pt x="1216" y="7267"/>
                  </a:lnTo>
                  <a:lnTo>
                    <a:pt x="1697" y="6241"/>
                  </a:lnTo>
                  <a:lnTo>
                    <a:pt x="2764" y="5955"/>
                  </a:lnTo>
                  <a:lnTo>
                    <a:pt x="5603" y="4404"/>
                  </a:lnTo>
                  <a:lnTo>
                    <a:pt x="5735" y="2418"/>
                  </a:lnTo>
                  <a:lnTo>
                    <a:pt x="6247" y="1185"/>
                  </a:lnTo>
                  <a:lnTo>
                    <a:pt x="7152" y="477"/>
                  </a:lnTo>
                  <a:lnTo>
                    <a:pt x="7983" y="0"/>
                  </a:lnTo>
                  <a:lnTo>
                    <a:pt x="9534" y="1155"/>
                  </a:lnTo>
                  <a:lnTo>
                    <a:pt x="13298" y="2996"/>
                  </a:lnTo>
                  <a:lnTo>
                    <a:pt x="15135" y="4331"/>
                  </a:lnTo>
                  <a:lnTo>
                    <a:pt x="15044" y="5164"/>
                  </a:lnTo>
                  <a:lnTo>
                    <a:pt x="14181" y="5983"/>
                  </a:lnTo>
                  <a:lnTo>
                    <a:pt x="12544" y="6788"/>
                  </a:lnTo>
                  <a:lnTo>
                    <a:pt x="11591" y="7852"/>
                  </a:lnTo>
                  <a:lnTo>
                    <a:pt x="11330" y="9173"/>
                  </a:lnTo>
                  <a:lnTo>
                    <a:pt x="11579" y="10105"/>
                  </a:lnTo>
                  <a:lnTo>
                    <a:pt x="12714" y="10918"/>
                  </a:lnTo>
                  <a:lnTo>
                    <a:pt x="19471" y="9853"/>
                  </a:lnTo>
                  <a:lnTo>
                    <a:pt x="26325" y="10402"/>
                  </a:lnTo>
                  <a:lnTo>
                    <a:pt x="35528" y="12209"/>
                  </a:lnTo>
                  <a:lnTo>
                    <a:pt x="41631" y="12835"/>
                  </a:lnTo>
                  <a:lnTo>
                    <a:pt x="46137" y="12000"/>
                  </a:lnTo>
                  <a:lnTo>
                    <a:pt x="54488" y="13512"/>
                  </a:lnTo>
                  <a:lnTo>
                    <a:pt x="62259" y="14917"/>
                  </a:lnTo>
                  <a:lnTo>
                    <a:pt x="69720" y="15336"/>
                  </a:lnTo>
                  <a:lnTo>
                    <a:pt x="73900" y="14231"/>
                  </a:lnTo>
                  <a:lnTo>
                    <a:pt x="76835" y="12744"/>
                  </a:lnTo>
                  <a:lnTo>
                    <a:pt x="79368" y="9943"/>
                  </a:lnTo>
                  <a:lnTo>
                    <a:pt x="85613" y="6245"/>
                  </a:lnTo>
                  <a:lnTo>
                    <a:pt x="91659" y="4169"/>
                  </a:lnTo>
                  <a:lnTo>
                    <a:pt x="99586" y="2484"/>
                  </a:lnTo>
                  <a:lnTo>
                    <a:pt x="104875" y="1909"/>
                  </a:lnTo>
                  <a:lnTo>
                    <a:pt x="105622" y="2485"/>
                  </a:lnTo>
                  <a:lnTo>
                    <a:pt x="112359" y="5887"/>
                  </a:lnTo>
                  <a:lnTo>
                    <a:pt x="115359" y="5899"/>
                  </a:lnTo>
                  <a:lnTo>
                    <a:pt x="117788" y="6502"/>
                  </a:lnTo>
                  <a:lnTo>
                    <a:pt x="118669" y="7400"/>
                  </a:lnTo>
                  <a:lnTo>
                    <a:pt x="119284" y="7625"/>
                  </a:lnTo>
                  <a:lnTo>
                    <a:pt x="122506" y="6784"/>
                  </a:lnTo>
                  <a:lnTo>
                    <a:pt x="123936" y="8644"/>
                  </a:lnTo>
                  <a:lnTo>
                    <a:pt x="126170" y="11243"/>
                  </a:lnTo>
                  <a:lnTo>
                    <a:pt x="129973" y="12582"/>
                  </a:lnTo>
                  <a:lnTo>
                    <a:pt x="133362" y="13340"/>
                  </a:lnTo>
                  <a:lnTo>
                    <a:pt x="134428" y="1345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7" name="ee4p_BA_1_15912">
              <a:extLst>
                <a:ext uri="{FF2B5EF4-FFF2-40B4-BE49-F238E27FC236}">
                  <a16:creationId xmlns:a16="http://schemas.microsoft.com/office/drawing/2014/main" id="{E34AE037-6809-009A-424F-6E236A223263}"/>
                </a:ext>
              </a:extLst>
            </p:cNvPr>
            <p:cNvSpPr>
              <a:spLocks noChangeAspect="1"/>
            </p:cNvSpPr>
            <p:nvPr>
              <p:custDataLst>
                <p:tags r:id="rId19"/>
              </p:custDataLst>
            </p:nvPr>
          </p:nvSpPr>
          <p:spPr>
            <a:xfrm>
              <a:off x="5151144" y="5058042"/>
              <a:ext cx="337237" cy="291248"/>
            </a:xfrm>
            <a:custGeom>
              <a:avLst/>
              <a:gdLst/>
              <a:ahLst/>
              <a:cxnLst/>
              <a:rect l="0" t="0" r="0" b="0"/>
              <a:pathLst>
                <a:path w="85070" h="73469">
                  <a:moveTo>
                    <a:pt x="26137" y="0"/>
                  </a:moveTo>
                  <a:lnTo>
                    <a:pt x="30709" y="2871"/>
                  </a:lnTo>
                  <a:lnTo>
                    <a:pt x="32594" y="3301"/>
                  </a:lnTo>
                  <a:lnTo>
                    <a:pt x="33656" y="2904"/>
                  </a:lnTo>
                  <a:lnTo>
                    <a:pt x="35103" y="3085"/>
                  </a:lnTo>
                  <a:lnTo>
                    <a:pt x="38310" y="3924"/>
                  </a:lnTo>
                  <a:lnTo>
                    <a:pt x="39050" y="4278"/>
                  </a:lnTo>
                  <a:lnTo>
                    <a:pt x="40015" y="4218"/>
                  </a:lnTo>
                  <a:lnTo>
                    <a:pt x="42387" y="3098"/>
                  </a:lnTo>
                  <a:lnTo>
                    <a:pt x="43196" y="3237"/>
                  </a:lnTo>
                  <a:lnTo>
                    <a:pt x="45908" y="5434"/>
                  </a:lnTo>
                  <a:lnTo>
                    <a:pt x="47271" y="5458"/>
                  </a:lnTo>
                  <a:lnTo>
                    <a:pt x="48912" y="4510"/>
                  </a:lnTo>
                  <a:lnTo>
                    <a:pt x="49966" y="3692"/>
                  </a:lnTo>
                  <a:lnTo>
                    <a:pt x="53082" y="4305"/>
                  </a:lnTo>
                  <a:lnTo>
                    <a:pt x="54868" y="3935"/>
                  </a:lnTo>
                  <a:lnTo>
                    <a:pt x="56349" y="3897"/>
                  </a:lnTo>
                  <a:lnTo>
                    <a:pt x="57956" y="4273"/>
                  </a:lnTo>
                  <a:lnTo>
                    <a:pt x="59422" y="4781"/>
                  </a:lnTo>
                  <a:lnTo>
                    <a:pt x="60845" y="5223"/>
                  </a:lnTo>
                  <a:lnTo>
                    <a:pt x="64700" y="5453"/>
                  </a:lnTo>
                  <a:lnTo>
                    <a:pt x="66546" y="6845"/>
                  </a:lnTo>
                  <a:lnTo>
                    <a:pt x="67282" y="8192"/>
                  </a:lnTo>
                  <a:lnTo>
                    <a:pt x="67299" y="9012"/>
                  </a:lnTo>
                  <a:lnTo>
                    <a:pt x="67481" y="9895"/>
                  </a:lnTo>
                  <a:lnTo>
                    <a:pt x="68543" y="10759"/>
                  </a:lnTo>
                  <a:lnTo>
                    <a:pt x="70862" y="11252"/>
                  </a:lnTo>
                  <a:lnTo>
                    <a:pt x="72318" y="11143"/>
                  </a:lnTo>
                  <a:lnTo>
                    <a:pt x="73091" y="11084"/>
                  </a:lnTo>
                  <a:lnTo>
                    <a:pt x="75069" y="10312"/>
                  </a:lnTo>
                  <a:lnTo>
                    <a:pt x="77396" y="9912"/>
                  </a:lnTo>
                  <a:lnTo>
                    <a:pt x="79074" y="10371"/>
                  </a:lnTo>
                  <a:lnTo>
                    <a:pt x="79869" y="10823"/>
                  </a:lnTo>
                  <a:lnTo>
                    <a:pt x="80051" y="11433"/>
                  </a:lnTo>
                  <a:lnTo>
                    <a:pt x="79556" y="13558"/>
                  </a:lnTo>
                  <a:lnTo>
                    <a:pt x="78615" y="15845"/>
                  </a:lnTo>
                  <a:lnTo>
                    <a:pt x="77094" y="18220"/>
                  </a:lnTo>
                  <a:lnTo>
                    <a:pt x="75507" y="20458"/>
                  </a:lnTo>
                  <a:lnTo>
                    <a:pt x="75088" y="21642"/>
                  </a:lnTo>
                  <a:lnTo>
                    <a:pt x="74976" y="23524"/>
                  </a:lnTo>
                  <a:lnTo>
                    <a:pt x="74780" y="25007"/>
                  </a:lnTo>
                  <a:lnTo>
                    <a:pt x="74997" y="25813"/>
                  </a:lnTo>
                  <a:lnTo>
                    <a:pt x="75518" y="26566"/>
                  </a:lnTo>
                  <a:lnTo>
                    <a:pt x="77280" y="27163"/>
                  </a:lnTo>
                  <a:lnTo>
                    <a:pt x="79653" y="28647"/>
                  </a:lnTo>
                  <a:lnTo>
                    <a:pt x="81672" y="30581"/>
                  </a:lnTo>
                  <a:lnTo>
                    <a:pt x="84259" y="32776"/>
                  </a:lnTo>
                  <a:lnTo>
                    <a:pt x="85069" y="33589"/>
                  </a:lnTo>
                  <a:lnTo>
                    <a:pt x="85067" y="34465"/>
                  </a:lnTo>
                  <a:lnTo>
                    <a:pt x="84311" y="35114"/>
                  </a:lnTo>
                  <a:lnTo>
                    <a:pt x="82098" y="35360"/>
                  </a:lnTo>
                  <a:lnTo>
                    <a:pt x="79794" y="35168"/>
                  </a:lnTo>
                  <a:lnTo>
                    <a:pt x="78910" y="34945"/>
                  </a:lnTo>
                  <a:lnTo>
                    <a:pt x="78088" y="35213"/>
                  </a:lnTo>
                  <a:lnTo>
                    <a:pt x="77578" y="35711"/>
                  </a:lnTo>
                  <a:lnTo>
                    <a:pt x="77848" y="36299"/>
                  </a:lnTo>
                  <a:lnTo>
                    <a:pt x="80210" y="38962"/>
                  </a:lnTo>
                  <a:lnTo>
                    <a:pt x="82955" y="42775"/>
                  </a:lnTo>
                  <a:lnTo>
                    <a:pt x="83108" y="44412"/>
                  </a:lnTo>
                  <a:lnTo>
                    <a:pt x="82774" y="45698"/>
                  </a:lnTo>
                  <a:lnTo>
                    <a:pt x="82138" y="46590"/>
                  </a:lnTo>
                  <a:lnTo>
                    <a:pt x="80996" y="46442"/>
                  </a:lnTo>
                  <a:lnTo>
                    <a:pt x="80128" y="45744"/>
                  </a:lnTo>
                  <a:lnTo>
                    <a:pt x="78811" y="45789"/>
                  </a:lnTo>
                  <a:lnTo>
                    <a:pt x="77788" y="45989"/>
                  </a:lnTo>
                  <a:lnTo>
                    <a:pt x="76457" y="47365"/>
                  </a:lnTo>
                  <a:lnTo>
                    <a:pt x="75794" y="47307"/>
                  </a:lnTo>
                  <a:lnTo>
                    <a:pt x="74654" y="47515"/>
                  </a:lnTo>
                  <a:lnTo>
                    <a:pt x="73931" y="47785"/>
                  </a:lnTo>
                  <a:lnTo>
                    <a:pt x="72786" y="47386"/>
                  </a:lnTo>
                  <a:lnTo>
                    <a:pt x="71590" y="47122"/>
                  </a:lnTo>
                  <a:lnTo>
                    <a:pt x="71070" y="47544"/>
                  </a:lnTo>
                  <a:lnTo>
                    <a:pt x="70839" y="48350"/>
                  </a:lnTo>
                  <a:lnTo>
                    <a:pt x="71581" y="49813"/>
                  </a:lnTo>
                  <a:lnTo>
                    <a:pt x="72972" y="52102"/>
                  </a:lnTo>
                  <a:lnTo>
                    <a:pt x="72749" y="53846"/>
                  </a:lnTo>
                  <a:lnTo>
                    <a:pt x="71689" y="54035"/>
                  </a:lnTo>
                  <a:lnTo>
                    <a:pt x="70715" y="52582"/>
                  </a:lnTo>
                  <a:lnTo>
                    <a:pt x="69852" y="52347"/>
                  </a:lnTo>
                  <a:lnTo>
                    <a:pt x="68867" y="52397"/>
                  </a:lnTo>
                  <a:lnTo>
                    <a:pt x="66615" y="54085"/>
                  </a:lnTo>
                  <a:lnTo>
                    <a:pt x="64957" y="55502"/>
                  </a:lnTo>
                  <a:lnTo>
                    <a:pt x="64572" y="56491"/>
                  </a:lnTo>
                  <a:lnTo>
                    <a:pt x="63978" y="57573"/>
                  </a:lnTo>
                  <a:lnTo>
                    <a:pt x="63799" y="58353"/>
                  </a:lnTo>
                  <a:lnTo>
                    <a:pt x="63838" y="60952"/>
                  </a:lnTo>
                  <a:lnTo>
                    <a:pt x="60849" y="61368"/>
                  </a:lnTo>
                  <a:lnTo>
                    <a:pt x="60223" y="61750"/>
                  </a:lnTo>
                  <a:lnTo>
                    <a:pt x="59862" y="62539"/>
                  </a:lnTo>
                  <a:lnTo>
                    <a:pt x="60111" y="65869"/>
                  </a:lnTo>
                  <a:lnTo>
                    <a:pt x="60353" y="67657"/>
                  </a:lnTo>
                  <a:lnTo>
                    <a:pt x="62061" y="70412"/>
                  </a:lnTo>
                  <a:lnTo>
                    <a:pt x="62119" y="71282"/>
                  </a:lnTo>
                  <a:lnTo>
                    <a:pt x="61877" y="71856"/>
                  </a:lnTo>
                  <a:lnTo>
                    <a:pt x="60663" y="72948"/>
                  </a:lnTo>
                  <a:lnTo>
                    <a:pt x="60085" y="73340"/>
                  </a:lnTo>
                  <a:lnTo>
                    <a:pt x="59696" y="73468"/>
                  </a:lnTo>
                  <a:lnTo>
                    <a:pt x="57712" y="72749"/>
                  </a:lnTo>
                  <a:lnTo>
                    <a:pt x="56770" y="72409"/>
                  </a:lnTo>
                  <a:lnTo>
                    <a:pt x="52788" y="69974"/>
                  </a:lnTo>
                  <a:lnTo>
                    <a:pt x="51033" y="68619"/>
                  </a:lnTo>
                  <a:lnTo>
                    <a:pt x="48254" y="66850"/>
                  </a:lnTo>
                  <a:lnTo>
                    <a:pt x="46539" y="65843"/>
                  </a:lnTo>
                  <a:lnTo>
                    <a:pt x="45669" y="64312"/>
                  </a:lnTo>
                  <a:lnTo>
                    <a:pt x="44304" y="63958"/>
                  </a:lnTo>
                  <a:lnTo>
                    <a:pt x="42697" y="64450"/>
                  </a:lnTo>
                  <a:lnTo>
                    <a:pt x="40875" y="63345"/>
                  </a:lnTo>
                  <a:lnTo>
                    <a:pt x="42164" y="62772"/>
                  </a:lnTo>
                  <a:lnTo>
                    <a:pt x="42482" y="62227"/>
                  </a:lnTo>
                  <a:lnTo>
                    <a:pt x="42320" y="61517"/>
                  </a:lnTo>
                  <a:lnTo>
                    <a:pt x="41752" y="60547"/>
                  </a:lnTo>
                  <a:lnTo>
                    <a:pt x="36830" y="56358"/>
                  </a:lnTo>
                  <a:lnTo>
                    <a:pt x="34416" y="53492"/>
                  </a:lnTo>
                  <a:lnTo>
                    <a:pt x="34023" y="52464"/>
                  </a:lnTo>
                  <a:lnTo>
                    <a:pt x="33991" y="49723"/>
                  </a:lnTo>
                  <a:lnTo>
                    <a:pt x="33421" y="49064"/>
                  </a:lnTo>
                  <a:lnTo>
                    <a:pt x="29806" y="47816"/>
                  </a:lnTo>
                  <a:lnTo>
                    <a:pt x="25766" y="44246"/>
                  </a:lnTo>
                  <a:lnTo>
                    <a:pt x="21600" y="40744"/>
                  </a:lnTo>
                  <a:lnTo>
                    <a:pt x="21030" y="39766"/>
                  </a:lnTo>
                  <a:lnTo>
                    <a:pt x="18881" y="37114"/>
                  </a:lnTo>
                  <a:lnTo>
                    <a:pt x="16262" y="34695"/>
                  </a:lnTo>
                  <a:lnTo>
                    <a:pt x="14172" y="33151"/>
                  </a:lnTo>
                  <a:lnTo>
                    <a:pt x="12460" y="31394"/>
                  </a:lnTo>
                  <a:lnTo>
                    <a:pt x="10561" y="28937"/>
                  </a:lnTo>
                  <a:lnTo>
                    <a:pt x="9579" y="25223"/>
                  </a:lnTo>
                  <a:lnTo>
                    <a:pt x="8705" y="21916"/>
                  </a:lnTo>
                  <a:lnTo>
                    <a:pt x="8111" y="20630"/>
                  </a:lnTo>
                  <a:lnTo>
                    <a:pt x="6908" y="20179"/>
                  </a:lnTo>
                  <a:lnTo>
                    <a:pt x="3172" y="16249"/>
                  </a:lnTo>
                  <a:lnTo>
                    <a:pt x="0" y="13963"/>
                  </a:lnTo>
                  <a:lnTo>
                    <a:pt x="30" y="11492"/>
                  </a:lnTo>
                  <a:lnTo>
                    <a:pt x="550" y="7365"/>
                  </a:lnTo>
                  <a:lnTo>
                    <a:pt x="1138" y="2674"/>
                  </a:lnTo>
                  <a:lnTo>
                    <a:pt x="1907" y="2022"/>
                  </a:lnTo>
                  <a:lnTo>
                    <a:pt x="3353" y="1667"/>
                  </a:lnTo>
                  <a:lnTo>
                    <a:pt x="5010" y="1803"/>
                  </a:lnTo>
                  <a:lnTo>
                    <a:pt x="6450" y="2383"/>
                  </a:lnTo>
                  <a:lnTo>
                    <a:pt x="9303" y="5595"/>
                  </a:lnTo>
                  <a:lnTo>
                    <a:pt x="10933" y="6843"/>
                  </a:lnTo>
                  <a:lnTo>
                    <a:pt x="12311" y="7329"/>
                  </a:lnTo>
                  <a:lnTo>
                    <a:pt x="13896" y="5975"/>
                  </a:lnTo>
                  <a:lnTo>
                    <a:pt x="15852" y="3138"/>
                  </a:lnTo>
                  <a:lnTo>
                    <a:pt x="17558" y="1640"/>
                  </a:lnTo>
                  <a:lnTo>
                    <a:pt x="23311" y="2183"/>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8" name="ee4p_BY_1_15912">
              <a:extLst>
                <a:ext uri="{FF2B5EF4-FFF2-40B4-BE49-F238E27FC236}">
                  <a16:creationId xmlns:a16="http://schemas.microsoft.com/office/drawing/2014/main" id="{5E509E3A-C312-9894-750B-00C7370F1151}"/>
                </a:ext>
              </a:extLst>
            </p:cNvPr>
            <p:cNvSpPr>
              <a:spLocks noChangeAspect="1"/>
            </p:cNvSpPr>
            <p:nvPr>
              <p:custDataLst>
                <p:tags r:id="rId20"/>
              </p:custDataLst>
            </p:nvPr>
          </p:nvSpPr>
          <p:spPr>
            <a:xfrm>
              <a:off x="5803181" y="3800795"/>
              <a:ext cx="835834" cy="584966"/>
            </a:xfrm>
            <a:custGeom>
              <a:avLst/>
              <a:gdLst/>
              <a:ahLst/>
              <a:cxnLst/>
              <a:rect l="0" t="0" r="0" b="0"/>
              <a:pathLst>
                <a:path w="210844" h="147561">
                  <a:moveTo>
                    <a:pt x="109961" y="90"/>
                  </a:moveTo>
                  <a:lnTo>
                    <a:pt x="112975" y="2805"/>
                  </a:lnTo>
                  <a:lnTo>
                    <a:pt x="113683" y="2911"/>
                  </a:lnTo>
                  <a:lnTo>
                    <a:pt x="115359" y="1844"/>
                  </a:lnTo>
                  <a:lnTo>
                    <a:pt x="115689" y="1773"/>
                  </a:lnTo>
                  <a:lnTo>
                    <a:pt x="119160" y="1680"/>
                  </a:lnTo>
                  <a:lnTo>
                    <a:pt x="120773" y="2623"/>
                  </a:lnTo>
                  <a:lnTo>
                    <a:pt x="121965" y="4466"/>
                  </a:lnTo>
                  <a:lnTo>
                    <a:pt x="123070" y="5939"/>
                  </a:lnTo>
                  <a:lnTo>
                    <a:pt x="124262" y="6337"/>
                  </a:lnTo>
                  <a:lnTo>
                    <a:pt x="127639" y="4483"/>
                  </a:lnTo>
                  <a:lnTo>
                    <a:pt x="129503" y="3870"/>
                  </a:lnTo>
                  <a:lnTo>
                    <a:pt x="130734" y="3890"/>
                  </a:lnTo>
                  <a:lnTo>
                    <a:pt x="135059" y="5549"/>
                  </a:lnTo>
                  <a:lnTo>
                    <a:pt x="137093" y="6457"/>
                  </a:lnTo>
                  <a:lnTo>
                    <a:pt x="137560" y="7283"/>
                  </a:lnTo>
                  <a:lnTo>
                    <a:pt x="137601" y="8252"/>
                  </a:lnTo>
                  <a:lnTo>
                    <a:pt x="137052" y="9693"/>
                  </a:lnTo>
                  <a:lnTo>
                    <a:pt x="136616" y="11258"/>
                  </a:lnTo>
                  <a:lnTo>
                    <a:pt x="137933" y="13107"/>
                  </a:lnTo>
                  <a:lnTo>
                    <a:pt x="139464" y="14357"/>
                  </a:lnTo>
                  <a:lnTo>
                    <a:pt x="142733" y="12289"/>
                  </a:lnTo>
                  <a:lnTo>
                    <a:pt x="143938" y="11713"/>
                  </a:lnTo>
                  <a:lnTo>
                    <a:pt x="145256" y="11692"/>
                  </a:lnTo>
                  <a:lnTo>
                    <a:pt x="147020" y="10924"/>
                  </a:lnTo>
                  <a:lnTo>
                    <a:pt x="148296" y="9768"/>
                  </a:lnTo>
                  <a:lnTo>
                    <a:pt x="149521" y="9365"/>
                  </a:lnTo>
                  <a:lnTo>
                    <a:pt x="151857" y="9640"/>
                  </a:lnTo>
                  <a:lnTo>
                    <a:pt x="156078" y="9367"/>
                  </a:lnTo>
                  <a:lnTo>
                    <a:pt x="161002" y="11182"/>
                  </a:lnTo>
                  <a:lnTo>
                    <a:pt x="161425" y="11742"/>
                  </a:lnTo>
                  <a:lnTo>
                    <a:pt x="163887" y="13869"/>
                  </a:lnTo>
                  <a:lnTo>
                    <a:pt x="164746" y="14925"/>
                  </a:lnTo>
                  <a:lnTo>
                    <a:pt x="165558" y="15260"/>
                  </a:lnTo>
                  <a:lnTo>
                    <a:pt x="166871" y="16294"/>
                  </a:lnTo>
                  <a:lnTo>
                    <a:pt x="168620" y="16944"/>
                  </a:lnTo>
                  <a:lnTo>
                    <a:pt x="169840" y="16746"/>
                  </a:lnTo>
                  <a:lnTo>
                    <a:pt x="170421" y="17091"/>
                  </a:lnTo>
                  <a:lnTo>
                    <a:pt x="170965" y="17908"/>
                  </a:lnTo>
                  <a:lnTo>
                    <a:pt x="171008" y="19292"/>
                  </a:lnTo>
                  <a:lnTo>
                    <a:pt x="170827" y="23249"/>
                  </a:lnTo>
                  <a:lnTo>
                    <a:pt x="169970" y="24393"/>
                  </a:lnTo>
                  <a:lnTo>
                    <a:pt x="169067" y="25323"/>
                  </a:lnTo>
                  <a:lnTo>
                    <a:pt x="168836" y="26042"/>
                  </a:lnTo>
                  <a:lnTo>
                    <a:pt x="168923" y="26915"/>
                  </a:lnTo>
                  <a:lnTo>
                    <a:pt x="170315" y="28619"/>
                  </a:lnTo>
                  <a:lnTo>
                    <a:pt x="172116" y="31265"/>
                  </a:lnTo>
                  <a:lnTo>
                    <a:pt x="172533" y="32798"/>
                  </a:lnTo>
                  <a:lnTo>
                    <a:pt x="172533" y="33946"/>
                  </a:lnTo>
                  <a:lnTo>
                    <a:pt x="170080" y="37319"/>
                  </a:lnTo>
                  <a:lnTo>
                    <a:pt x="169264" y="38110"/>
                  </a:lnTo>
                  <a:lnTo>
                    <a:pt x="168702" y="39769"/>
                  </a:lnTo>
                  <a:lnTo>
                    <a:pt x="168404" y="41453"/>
                  </a:lnTo>
                  <a:lnTo>
                    <a:pt x="168577" y="42151"/>
                  </a:lnTo>
                  <a:lnTo>
                    <a:pt x="172675" y="44827"/>
                  </a:lnTo>
                  <a:lnTo>
                    <a:pt x="175707" y="46278"/>
                  </a:lnTo>
                  <a:lnTo>
                    <a:pt x="176390" y="46986"/>
                  </a:lnTo>
                  <a:lnTo>
                    <a:pt x="176450" y="47426"/>
                  </a:lnTo>
                  <a:lnTo>
                    <a:pt x="174837" y="50294"/>
                  </a:lnTo>
                  <a:lnTo>
                    <a:pt x="174680" y="51067"/>
                  </a:lnTo>
                  <a:lnTo>
                    <a:pt x="177111" y="52252"/>
                  </a:lnTo>
                  <a:lnTo>
                    <a:pt x="178454" y="54122"/>
                  </a:lnTo>
                  <a:lnTo>
                    <a:pt x="179640" y="57168"/>
                  </a:lnTo>
                  <a:lnTo>
                    <a:pt x="181950" y="60082"/>
                  </a:lnTo>
                  <a:lnTo>
                    <a:pt x="186921" y="62658"/>
                  </a:lnTo>
                  <a:lnTo>
                    <a:pt x="190538" y="64337"/>
                  </a:lnTo>
                  <a:lnTo>
                    <a:pt x="191289" y="65101"/>
                  </a:lnTo>
                  <a:lnTo>
                    <a:pt x="191551" y="66009"/>
                  </a:lnTo>
                  <a:lnTo>
                    <a:pt x="191274" y="68004"/>
                  </a:lnTo>
                  <a:lnTo>
                    <a:pt x="190339" y="70428"/>
                  </a:lnTo>
                  <a:lnTo>
                    <a:pt x="189702" y="71776"/>
                  </a:lnTo>
                  <a:lnTo>
                    <a:pt x="191175" y="72336"/>
                  </a:lnTo>
                  <a:lnTo>
                    <a:pt x="194965" y="72186"/>
                  </a:lnTo>
                  <a:lnTo>
                    <a:pt x="199569" y="72659"/>
                  </a:lnTo>
                  <a:lnTo>
                    <a:pt x="205092" y="75329"/>
                  </a:lnTo>
                  <a:lnTo>
                    <a:pt x="205109" y="76525"/>
                  </a:lnTo>
                  <a:lnTo>
                    <a:pt x="204539" y="77613"/>
                  </a:lnTo>
                  <a:lnTo>
                    <a:pt x="204920" y="78761"/>
                  </a:lnTo>
                  <a:lnTo>
                    <a:pt x="205522" y="79734"/>
                  </a:lnTo>
                  <a:lnTo>
                    <a:pt x="210301" y="82713"/>
                  </a:lnTo>
                  <a:lnTo>
                    <a:pt x="210758" y="83577"/>
                  </a:lnTo>
                  <a:lnTo>
                    <a:pt x="210843" y="85022"/>
                  </a:lnTo>
                  <a:lnTo>
                    <a:pt x="210711" y="86078"/>
                  </a:lnTo>
                  <a:lnTo>
                    <a:pt x="209387" y="86301"/>
                  </a:lnTo>
                  <a:lnTo>
                    <a:pt x="207919" y="86797"/>
                  </a:lnTo>
                  <a:lnTo>
                    <a:pt x="205516" y="88062"/>
                  </a:lnTo>
                  <a:lnTo>
                    <a:pt x="204563" y="89856"/>
                  </a:lnTo>
                  <a:lnTo>
                    <a:pt x="200681" y="92323"/>
                  </a:lnTo>
                  <a:lnTo>
                    <a:pt x="198277" y="93439"/>
                  </a:lnTo>
                  <a:lnTo>
                    <a:pt x="196364" y="93490"/>
                  </a:lnTo>
                  <a:lnTo>
                    <a:pt x="191814" y="92988"/>
                  </a:lnTo>
                  <a:lnTo>
                    <a:pt x="190216" y="91768"/>
                  </a:lnTo>
                  <a:lnTo>
                    <a:pt x="189553" y="90649"/>
                  </a:lnTo>
                  <a:lnTo>
                    <a:pt x="187802" y="90146"/>
                  </a:lnTo>
                  <a:lnTo>
                    <a:pt x="185474" y="90099"/>
                  </a:lnTo>
                  <a:lnTo>
                    <a:pt x="182266" y="90293"/>
                  </a:lnTo>
                  <a:lnTo>
                    <a:pt x="181613" y="90630"/>
                  </a:lnTo>
                  <a:lnTo>
                    <a:pt x="181087" y="92005"/>
                  </a:lnTo>
                  <a:lnTo>
                    <a:pt x="179724" y="94346"/>
                  </a:lnTo>
                  <a:lnTo>
                    <a:pt x="178748" y="95670"/>
                  </a:lnTo>
                  <a:lnTo>
                    <a:pt x="179551" y="96476"/>
                  </a:lnTo>
                  <a:lnTo>
                    <a:pt x="180832" y="98162"/>
                  </a:lnTo>
                  <a:lnTo>
                    <a:pt x="182816" y="100304"/>
                  </a:lnTo>
                  <a:lnTo>
                    <a:pt x="184859" y="102204"/>
                  </a:lnTo>
                  <a:lnTo>
                    <a:pt x="185515" y="103369"/>
                  </a:lnTo>
                  <a:lnTo>
                    <a:pt x="185485" y="104198"/>
                  </a:lnTo>
                  <a:lnTo>
                    <a:pt x="184511" y="105174"/>
                  </a:lnTo>
                  <a:lnTo>
                    <a:pt x="184660" y="107134"/>
                  </a:lnTo>
                  <a:lnTo>
                    <a:pt x="186645" y="109720"/>
                  </a:lnTo>
                  <a:lnTo>
                    <a:pt x="185973" y="110128"/>
                  </a:lnTo>
                  <a:lnTo>
                    <a:pt x="185775" y="113295"/>
                  </a:lnTo>
                  <a:lnTo>
                    <a:pt x="185792" y="116673"/>
                  </a:lnTo>
                  <a:lnTo>
                    <a:pt x="186327" y="117489"/>
                  </a:lnTo>
                  <a:lnTo>
                    <a:pt x="187396" y="118160"/>
                  </a:lnTo>
                  <a:lnTo>
                    <a:pt x="188297" y="119392"/>
                  </a:lnTo>
                  <a:lnTo>
                    <a:pt x="189800" y="122202"/>
                  </a:lnTo>
                  <a:lnTo>
                    <a:pt x="189905" y="122935"/>
                  </a:lnTo>
                  <a:lnTo>
                    <a:pt x="185712" y="122727"/>
                  </a:lnTo>
                  <a:lnTo>
                    <a:pt x="180676" y="122808"/>
                  </a:lnTo>
                  <a:lnTo>
                    <a:pt x="177845" y="124440"/>
                  </a:lnTo>
                  <a:lnTo>
                    <a:pt x="176750" y="124064"/>
                  </a:lnTo>
                  <a:lnTo>
                    <a:pt x="174779" y="123649"/>
                  </a:lnTo>
                  <a:lnTo>
                    <a:pt x="172598" y="124559"/>
                  </a:lnTo>
                  <a:lnTo>
                    <a:pt x="169614" y="127313"/>
                  </a:lnTo>
                  <a:lnTo>
                    <a:pt x="167614" y="129024"/>
                  </a:lnTo>
                  <a:lnTo>
                    <a:pt x="165668" y="131416"/>
                  </a:lnTo>
                  <a:lnTo>
                    <a:pt x="165053" y="132715"/>
                  </a:lnTo>
                  <a:lnTo>
                    <a:pt x="163824" y="135105"/>
                  </a:lnTo>
                  <a:lnTo>
                    <a:pt x="162699" y="137832"/>
                  </a:lnTo>
                  <a:lnTo>
                    <a:pt x="163312" y="139739"/>
                  </a:lnTo>
                  <a:lnTo>
                    <a:pt x="164233" y="141510"/>
                  </a:lnTo>
                  <a:lnTo>
                    <a:pt x="164440" y="143416"/>
                  </a:lnTo>
                  <a:lnTo>
                    <a:pt x="164900" y="144910"/>
                  </a:lnTo>
                  <a:lnTo>
                    <a:pt x="163671" y="145997"/>
                  </a:lnTo>
                  <a:lnTo>
                    <a:pt x="162954" y="147560"/>
                  </a:lnTo>
                  <a:lnTo>
                    <a:pt x="160853" y="147289"/>
                  </a:lnTo>
                  <a:lnTo>
                    <a:pt x="158286" y="145787"/>
                  </a:lnTo>
                  <a:lnTo>
                    <a:pt x="157746" y="143614"/>
                  </a:lnTo>
                  <a:lnTo>
                    <a:pt x="155768" y="142098"/>
                  </a:lnTo>
                  <a:lnTo>
                    <a:pt x="154468" y="141315"/>
                  </a:lnTo>
                  <a:lnTo>
                    <a:pt x="152324" y="141193"/>
                  </a:lnTo>
                  <a:lnTo>
                    <a:pt x="148896" y="141899"/>
                  </a:lnTo>
                  <a:lnTo>
                    <a:pt x="144414" y="142441"/>
                  </a:lnTo>
                  <a:lnTo>
                    <a:pt x="141032" y="142587"/>
                  </a:lnTo>
                  <a:lnTo>
                    <a:pt x="139186" y="143357"/>
                  </a:lnTo>
                  <a:lnTo>
                    <a:pt x="136463" y="144114"/>
                  </a:lnTo>
                  <a:lnTo>
                    <a:pt x="135409" y="143219"/>
                  </a:lnTo>
                  <a:lnTo>
                    <a:pt x="133897" y="140753"/>
                  </a:lnTo>
                  <a:lnTo>
                    <a:pt x="132653" y="138295"/>
                  </a:lnTo>
                  <a:lnTo>
                    <a:pt x="131800" y="137216"/>
                  </a:lnTo>
                  <a:lnTo>
                    <a:pt x="131058" y="136914"/>
                  </a:lnTo>
                  <a:lnTo>
                    <a:pt x="130144" y="136976"/>
                  </a:lnTo>
                  <a:lnTo>
                    <a:pt x="129090" y="137756"/>
                  </a:lnTo>
                  <a:lnTo>
                    <a:pt x="128309" y="138555"/>
                  </a:lnTo>
                  <a:lnTo>
                    <a:pt x="127199" y="138838"/>
                  </a:lnTo>
                  <a:lnTo>
                    <a:pt x="125474" y="139484"/>
                  </a:lnTo>
                  <a:lnTo>
                    <a:pt x="124230" y="140361"/>
                  </a:lnTo>
                  <a:lnTo>
                    <a:pt x="122859" y="142622"/>
                  </a:lnTo>
                  <a:lnTo>
                    <a:pt x="121952" y="142461"/>
                  </a:lnTo>
                  <a:lnTo>
                    <a:pt x="121012" y="141942"/>
                  </a:lnTo>
                  <a:lnTo>
                    <a:pt x="119935" y="139412"/>
                  </a:lnTo>
                  <a:lnTo>
                    <a:pt x="118454" y="138829"/>
                  </a:lnTo>
                  <a:lnTo>
                    <a:pt x="116078" y="138795"/>
                  </a:lnTo>
                  <a:lnTo>
                    <a:pt x="113137" y="138259"/>
                  </a:lnTo>
                  <a:lnTo>
                    <a:pt x="110753" y="137493"/>
                  </a:lnTo>
                  <a:lnTo>
                    <a:pt x="109883" y="137676"/>
                  </a:lnTo>
                  <a:lnTo>
                    <a:pt x="108464" y="138753"/>
                  </a:lnTo>
                  <a:lnTo>
                    <a:pt x="106927" y="138908"/>
                  </a:lnTo>
                  <a:lnTo>
                    <a:pt x="103562" y="137949"/>
                  </a:lnTo>
                  <a:lnTo>
                    <a:pt x="102904" y="138388"/>
                  </a:lnTo>
                  <a:lnTo>
                    <a:pt x="102020" y="139808"/>
                  </a:lnTo>
                  <a:lnTo>
                    <a:pt x="100969" y="141177"/>
                  </a:lnTo>
                  <a:lnTo>
                    <a:pt x="100055" y="141312"/>
                  </a:lnTo>
                  <a:lnTo>
                    <a:pt x="99542" y="140961"/>
                  </a:lnTo>
                  <a:lnTo>
                    <a:pt x="99829" y="138536"/>
                  </a:lnTo>
                  <a:lnTo>
                    <a:pt x="97875" y="137677"/>
                  </a:lnTo>
                  <a:lnTo>
                    <a:pt x="94579" y="137545"/>
                  </a:lnTo>
                  <a:lnTo>
                    <a:pt x="92264" y="137897"/>
                  </a:lnTo>
                  <a:lnTo>
                    <a:pt x="91128" y="137801"/>
                  </a:lnTo>
                  <a:lnTo>
                    <a:pt x="90550" y="137325"/>
                  </a:lnTo>
                  <a:lnTo>
                    <a:pt x="87717" y="133246"/>
                  </a:lnTo>
                  <a:lnTo>
                    <a:pt x="86216" y="132987"/>
                  </a:lnTo>
                  <a:lnTo>
                    <a:pt x="83534" y="133189"/>
                  </a:lnTo>
                  <a:lnTo>
                    <a:pt x="79567" y="132696"/>
                  </a:lnTo>
                  <a:lnTo>
                    <a:pt x="75000" y="131776"/>
                  </a:lnTo>
                  <a:lnTo>
                    <a:pt x="72491" y="131436"/>
                  </a:lnTo>
                  <a:lnTo>
                    <a:pt x="71184" y="130522"/>
                  </a:lnTo>
                  <a:lnTo>
                    <a:pt x="68371" y="130209"/>
                  </a:lnTo>
                  <a:lnTo>
                    <a:pt x="60813" y="128482"/>
                  </a:lnTo>
                  <a:lnTo>
                    <a:pt x="57727" y="128177"/>
                  </a:lnTo>
                  <a:lnTo>
                    <a:pt x="53184" y="128150"/>
                  </a:lnTo>
                  <a:lnTo>
                    <a:pt x="46261" y="127766"/>
                  </a:lnTo>
                  <a:lnTo>
                    <a:pt x="41828" y="127979"/>
                  </a:lnTo>
                  <a:lnTo>
                    <a:pt x="39774" y="128552"/>
                  </a:lnTo>
                  <a:lnTo>
                    <a:pt x="37399" y="128907"/>
                  </a:lnTo>
                  <a:lnTo>
                    <a:pt x="33391" y="129227"/>
                  </a:lnTo>
                  <a:lnTo>
                    <a:pt x="31758" y="129191"/>
                  </a:lnTo>
                  <a:lnTo>
                    <a:pt x="29191" y="129381"/>
                  </a:lnTo>
                  <a:lnTo>
                    <a:pt x="26243" y="129840"/>
                  </a:lnTo>
                  <a:lnTo>
                    <a:pt x="25399" y="130699"/>
                  </a:lnTo>
                  <a:lnTo>
                    <a:pt x="24434" y="132578"/>
                  </a:lnTo>
                  <a:lnTo>
                    <a:pt x="21046" y="135821"/>
                  </a:lnTo>
                  <a:lnTo>
                    <a:pt x="17761" y="137980"/>
                  </a:lnTo>
                  <a:lnTo>
                    <a:pt x="17161" y="138164"/>
                  </a:lnTo>
                  <a:lnTo>
                    <a:pt x="15239" y="137019"/>
                  </a:lnTo>
                  <a:lnTo>
                    <a:pt x="13635" y="136632"/>
                  </a:lnTo>
                  <a:lnTo>
                    <a:pt x="11758" y="136509"/>
                  </a:lnTo>
                  <a:lnTo>
                    <a:pt x="10428" y="136875"/>
                  </a:lnTo>
                  <a:lnTo>
                    <a:pt x="9586" y="137416"/>
                  </a:lnTo>
                  <a:lnTo>
                    <a:pt x="9700" y="139919"/>
                  </a:lnTo>
                  <a:lnTo>
                    <a:pt x="9513" y="140138"/>
                  </a:lnTo>
                  <a:lnTo>
                    <a:pt x="8061" y="137168"/>
                  </a:lnTo>
                  <a:lnTo>
                    <a:pt x="8176" y="134478"/>
                  </a:lnTo>
                  <a:lnTo>
                    <a:pt x="8983" y="132941"/>
                  </a:lnTo>
                  <a:lnTo>
                    <a:pt x="9964" y="131557"/>
                  </a:lnTo>
                  <a:lnTo>
                    <a:pt x="9560" y="129478"/>
                  </a:lnTo>
                  <a:lnTo>
                    <a:pt x="10525" y="126724"/>
                  </a:lnTo>
                  <a:lnTo>
                    <a:pt x="10555" y="124731"/>
                  </a:lnTo>
                  <a:lnTo>
                    <a:pt x="10132" y="123867"/>
                  </a:lnTo>
                  <a:lnTo>
                    <a:pt x="9351" y="122876"/>
                  </a:lnTo>
                  <a:lnTo>
                    <a:pt x="7210" y="121771"/>
                  </a:lnTo>
                  <a:lnTo>
                    <a:pt x="6265" y="120908"/>
                  </a:lnTo>
                  <a:lnTo>
                    <a:pt x="3362" y="119754"/>
                  </a:lnTo>
                  <a:lnTo>
                    <a:pt x="484" y="118316"/>
                  </a:lnTo>
                  <a:lnTo>
                    <a:pt x="0" y="117435"/>
                  </a:lnTo>
                  <a:lnTo>
                    <a:pt x="136" y="116831"/>
                  </a:lnTo>
                  <a:lnTo>
                    <a:pt x="642" y="115913"/>
                  </a:lnTo>
                  <a:lnTo>
                    <a:pt x="2835" y="113225"/>
                  </a:lnTo>
                  <a:lnTo>
                    <a:pt x="5215" y="110612"/>
                  </a:lnTo>
                  <a:lnTo>
                    <a:pt x="6733" y="109560"/>
                  </a:lnTo>
                  <a:lnTo>
                    <a:pt x="14807" y="106204"/>
                  </a:lnTo>
                  <a:lnTo>
                    <a:pt x="16057" y="105029"/>
                  </a:lnTo>
                  <a:lnTo>
                    <a:pt x="16371" y="103040"/>
                  </a:lnTo>
                  <a:lnTo>
                    <a:pt x="16390" y="101591"/>
                  </a:lnTo>
                  <a:lnTo>
                    <a:pt x="16237" y="99017"/>
                  </a:lnTo>
                  <a:lnTo>
                    <a:pt x="15744" y="95346"/>
                  </a:lnTo>
                  <a:lnTo>
                    <a:pt x="15127" y="92811"/>
                  </a:lnTo>
                  <a:lnTo>
                    <a:pt x="13581" y="88043"/>
                  </a:lnTo>
                  <a:lnTo>
                    <a:pt x="9372" y="78158"/>
                  </a:lnTo>
                  <a:lnTo>
                    <a:pt x="6846" y="67858"/>
                  </a:lnTo>
                  <a:lnTo>
                    <a:pt x="8491" y="68464"/>
                  </a:lnTo>
                  <a:lnTo>
                    <a:pt x="12352" y="68693"/>
                  </a:lnTo>
                  <a:lnTo>
                    <a:pt x="15423" y="67983"/>
                  </a:lnTo>
                  <a:lnTo>
                    <a:pt x="17012" y="67884"/>
                  </a:lnTo>
                  <a:lnTo>
                    <a:pt x="18429" y="68106"/>
                  </a:lnTo>
                  <a:lnTo>
                    <a:pt x="20538" y="67700"/>
                  </a:lnTo>
                  <a:lnTo>
                    <a:pt x="22471" y="67536"/>
                  </a:lnTo>
                  <a:lnTo>
                    <a:pt x="23473" y="68459"/>
                  </a:lnTo>
                  <a:lnTo>
                    <a:pt x="25272" y="69278"/>
                  </a:lnTo>
                  <a:lnTo>
                    <a:pt x="28822" y="68100"/>
                  </a:lnTo>
                  <a:lnTo>
                    <a:pt x="31966" y="66645"/>
                  </a:lnTo>
                  <a:lnTo>
                    <a:pt x="35226" y="66802"/>
                  </a:lnTo>
                  <a:lnTo>
                    <a:pt x="35693" y="66086"/>
                  </a:lnTo>
                  <a:lnTo>
                    <a:pt x="36498" y="62421"/>
                  </a:lnTo>
                  <a:lnTo>
                    <a:pt x="37468" y="61626"/>
                  </a:lnTo>
                  <a:lnTo>
                    <a:pt x="41372" y="61994"/>
                  </a:lnTo>
                  <a:lnTo>
                    <a:pt x="42817" y="61329"/>
                  </a:lnTo>
                  <a:lnTo>
                    <a:pt x="44322" y="59525"/>
                  </a:lnTo>
                  <a:lnTo>
                    <a:pt x="46626" y="58399"/>
                  </a:lnTo>
                  <a:lnTo>
                    <a:pt x="48548" y="58400"/>
                  </a:lnTo>
                  <a:lnTo>
                    <a:pt x="50550" y="57135"/>
                  </a:lnTo>
                  <a:lnTo>
                    <a:pt x="51534" y="57983"/>
                  </a:lnTo>
                  <a:lnTo>
                    <a:pt x="52013" y="59498"/>
                  </a:lnTo>
                  <a:lnTo>
                    <a:pt x="51351" y="60711"/>
                  </a:lnTo>
                  <a:lnTo>
                    <a:pt x="51638" y="61186"/>
                  </a:lnTo>
                  <a:lnTo>
                    <a:pt x="53024" y="61786"/>
                  </a:lnTo>
                  <a:lnTo>
                    <a:pt x="55402" y="61768"/>
                  </a:lnTo>
                  <a:lnTo>
                    <a:pt x="56920" y="61266"/>
                  </a:lnTo>
                  <a:lnTo>
                    <a:pt x="57274" y="60573"/>
                  </a:lnTo>
                  <a:lnTo>
                    <a:pt x="57269" y="59314"/>
                  </a:lnTo>
                  <a:lnTo>
                    <a:pt x="56896" y="58143"/>
                  </a:lnTo>
                  <a:lnTo>
                    <a:pt x="55888" y="57129"/>
                  </a:lnTo>
                  <a:lnTo>
                    <a:pt x="53994" y="56607"/>
                  </a:lnTo>
                  <a:lnTo>
                    <a:pt x="52681" y="56590"/>
                  </a:lnTo>
                  <a:lnTo>
                    <a:pt x="52456" y="55945"/>
                  </a:lnTo>
                  <a:lnTo>
                    <a:pt x="52903" y="54567"/>
                  </a:lnTo>
                  <a:lnTo>
                    <a:pt x="54069" y="52025"/>
                  </a:lnTo>
                  <a:lnTo>
                    <a:pt x="55503" y="49723"/>
                  </a:lnTo>
                  <a:lnTo>
                    <a:pt x="56380" y="48853"/>
                  </a:lnTo>
                  <a:lnTo>
                    <a:pt x="56531" y="48055"/>
                  </a:lnTo>
                  <a:lnTo>
                    <a:pt x="56360" y="46659"/>
                  </a:lnTo>
                  <a:lnTo>
                    <a:pt x="56328" y="44154"/>
                  </a:lnTo>
                  <a:lnTo>
                    <a:pt x="57619" y="40618"/>
                  </a:lnTo>
                  <a:lnTo>
                    <a:pt x="59353" y="37978"/>
                  </a:lnTo>
                  <a:lnTo>
                    <a:pt x="61679" y="37122"/>
                  </a:lnTo>
                  <a:lnTo>
                    <a:pt x="64521" y="36657"/>
                  </a:lnTo>
                  <a:lnTo>
                    <a:pt x="66339" y="35397"/>
                  </a:lnTo>
                  <a:lnTo>
                    <a:pt x="67237" y="33949"/>
                  </a:lnTo>
                  <a:lnTo>
                    <a:pt x="67578" y="32726"/>
                  </a:lnTo>
                  <a:lnTo>
                    <a:pt x="68010" y="31667"/>
                  </a:lnTo>
                  <a:lnTo>
                    <a:pt x="68917" y="31203"/>
                  </a:lnTo>
                  <a:lnTo>
                    <a:pt x="75758" y="31493"/>
                  </a:lnTo>
                  <a:lnTo>
                    <a:pt x="76803" y="29212"/>
                  </a:lnTo>
                  <a:lnTo>
                    <a:pt x="77391" y="28574"/>
                  </a:lnTo>
                  <a:lnTo>
                    <a:pt x="78704" y="27900"/>
                  </a:lnTo>
                  <a:lnTo>
                    <a:pt x="79617" y="27088"/>
                  </a:lnTo>
                  <a:lnTo>
                    <a:pt x="79273" y="26463"/>
                  </a:lnTo>
                  <a:lnTo>
                    <a:pt x="77529" y="26058"/>
                  </a:lnTo>
                  <a:lnTo>
                    <a:pt x="73417" y="25701"/>
                  </a:lnTo>
                  <a:lnTo>
                    <a:pt x="72584" y="24946"/>
                  </a:lnTo>
                  <a:lnTo>
                    <a:pt x="72847" y="24036"/>
                  </a:lnTo>
                  <a:lnTo>
                    <a:pt x="73946" y="21680"/>
                  </a:lnTo>
                  <a:lnTo>
                    <a:pt x="74994" y="18637"/>
                  </a:lnTo>
                  <a:lnTo>
                    <a:pt x="75529" y="16277"/>
                  </a:lnTo>
                  <a:lnTo>
                    <a:pt x="75589" y="14885"/>
                  </a:lnTo>
                  <a:lnTo>
                    <a:pt x="76179" y="14510"/>
                  </a:lnTo>
                  <a:lnTo>
                    <a:pt x="79533" y="14064"/>
                  </a:lnTo>
                  <a:lnTo>
                    <a:pt x="80651" y="13591"/>
                  </a:lnTo>
                  <a:lnTo>
                    <a:pt x="83538" y="10370"/>
                  </a:lnTo>
                  <a:lnTo>
                    <a:pt x="85739" y="9822"/>
                  </a:lnTo>
                  <a:lnTo>
                    <a:pt x="91414" y="10651"/>
                  </a:lnTo>
                  <a:lnTo>
                    <a:pt x="94022" y="10587"/>
                  </a:lnTo>
                  <a:lnTo>
                    <a:pt x="94731" y="10663"/>
                  </a:lnTo>
                  <a:lnTo>
                    <a:pt x="97330" y="10810"/>
                  </a:lnTo>
                  <a:lnTo>
                    <a:pt x="97611" y="10487"/>
                  </a:lnTo>
                  <a:lnTo>
                    <a:pt x="98779" y="7298"/>
                  </a:lnTo>
                  <a:lnTo>
                    <a:pt x="99928" y="6369"/>
                  </a:lnTo>
                  <a:lnTo>
                    <a:pt x="104396" y="2174"/>
                  </a:lnTo>
                  <a:lnTo>
                    <a:pt x="107397" y="390"/>
                  </a:lnTo>
                  <a:lnTo>
                    <a:pt x="109296" y="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9" name="ee4p_CH_1_15912">
              <a:extLst>
                <a:ext uri="{FF2B5EF4-FFF2-40B4-BE49-F238E27FC236}">
                  <a16:creationId xmlns:a16="http://schemas.microsoft.com/office/drawing/2014/main" id="{86E11B8A-533D-B582-CDAD-4CD62BE5769D}"/>
                </a:ext>
              </a:extLst>
            </p:cNvPr>
            <p:cNvSpPr>
              <a:spLocks noChangeAspect="1"/>
            </p:cNvSpPr>
            <p:nvPr>
              <p:custDataLst>
                <p:tags r:id="rId21"/>
              </p:custDataLst>
            </p:nvPr>
          </p:nvSpPr>
          <p:spPr>
            <a:xfrm>
              <a:off x="4295029" y="4782917"/>
              <a:ext cx="393109" cy="214822"/>
            </a:xfrm>
            <a:custGeom>
              <a:avLst/>
              <a:gdLst/>
              <a:ahLst/>
              <a:cxnLst/>
              <a:rect l="0" t="0" r="0" b="0"/>
              <a:pathLst>
                <a:path w="99164" h="54190">
                  <a:moveTo>
                    <a:pt x="78586" y="7066"/>
                  </a:moveTo>
                  <a:lnTo>
                    <a:pt x="79258" y="7434"/>
                  </a:lnTo>
                  <a:lnTo>
                    <a:pt x="80838" y="8671"/>
                  </a:lnTo>
                  <a:lnTo>
                    <a:pt x="80467" y="10781"/>
                  </a:lnTo>
                  <a:lnTo>
                    <a:pt x="78664" y="14171"/>
                  </a:lnTo>
                  <a:lnTo>
                    <a:pt x="77707" y="16915"/>
                  </a:lnTo>
                  <a:lnTo>
                    <a:pt x="77601" y="19015"/>
                  </a:lnTo>
                  <a:lnTo>
                    <a:pt x="77783" y="20000"/>
                  </a:lnTo>
                  <a:lnTo>
                    <a:pt x="78107" y="19987"/>
                  </a:lnTo>
                  <a:lnTo>
                    <a:pt x="79830" y="20137"/>
                  </a:lnTo>
                  <a:lnTo>
                    <a:pt x="80707" y="20134"/>
                  </a:lnTo>
                  <a:lnTo>
                    <a:pt x="83473" y="20703"/>
                  </a:lnTo>
                  <a:lnTo>
                    <a:pt x="85690" y="21533"/>
                  </a:lnTo>
                  <a:lnTo>
                    <a:pt x="86118" y="22409"/>
                  </a:lnTo>
                  <a:lnTo>
                    <a:pt x="86407" y="23477"/>
                  </a:lnTo>
                  <a:lnTo>
                    <a:pt x="89042" y="24936"/>
                  </a:lnTo>
                  <a:lnTo>
                    <a:pt x="92063" y="25879"/>
                  </a:lnTo>
                  <a:lnTo>
                    <a:pt x="93087" y="25577"/>
                  </a:lnTo>
                  <a:lnTo>
                    <a:pt x="96837" y="22164"/>
                  </a:lnTo>
                  <a:lnTo>
                    <a:pt x="98286" y="22731"/>
                  </a:lnTo>
                  <a:lnTo>
                    <a:pt x="99163" y="24544"/>
                  </a:lnTo>
                  <a:lnTo>
                    <a:pt x="99124" y="25505"/>
                  </a:lnTo>
                  <a:lnTo>
                    <a:pt x="98090" y="29128"/>
                  </a:lnTo>
                  <a:lnTo>
                    <a:pt x="97911" y="31070"/>
                  </a:lnTo>
                  <a:lnTo>
                    <a:pt x="98802" y="32354"/>
                  </a:lnTo>
                  <a:lnTo>
                    <a:pt x="98895" y="33354"/>
                  </a:lnTo>
                  <a:lnTo>
                    <a:pt x="98634" y="34266"/>
                  </a:lnTo>
                  <a:lnTo>
                    <a:pt x="97140" y="34349"/>
                  </a:lnTo>
                  <a:lnTo>
                    <a:pt x="95131" y="33855"/>
                  </a:lnTo>
                  <a:lnTo>
                    <a:pt x="93434" y="32292"/>
                  </a:lnTo>
                  <a:lnTo>
                    <a:pt x="92152" y="32479"/>
                  </a:lnTo>
                  <a:lnTo>
                    <a:pt x="91035" y="32881"/>
                  </a:lnTo>
                  <a:lnTo>
                    <a:pt x="90465" y="34357"/>
                  </a:lnTo>
                  <a:lnTo>
                    <a:pt x="89958" y="36122"/>
                  </a:lnTo>
                  <a:lnTo>
                    <a:pt x="90120" y="37102"/>
                  </a:lnTo>
                  <a:lnTo>
                    <a:pt x="90923" y="37855"/>
                  </a:lnTo>
                  <a:lnTo>
                    <a:pt x="91536" y="39460"/>
                  </a:lnTo>
                  <a:lnTo>
                    <a:pt x="91983" y="41535"/>
                  </a:lnTo>
                  <a:lnTo>
                    <a:pt x="92322" y="42489"/>
                  </a:lnTo>
                  <a:lnTo>
                    <a:pt x="91949" y="42912"/>
                  </a:lnTo>
                  <a:lnTo>
                    <a:pt x="90892" y="43196"/>
                  </a:lnTo>
                  <a:lnTo>
                    <a:pt x="90018" y="42916"/>
                  </a:lnTo>
                  <a:lnTo>
                    <a:pt x="88485" y="40435"/>
                  </a:lnTo>
                  <a:lnTo>
                    <a:pt x="87768" y="39489"/>
                  </a:lnTo>
                  <a:lnTo>
                    <a:pt x="86557" y="39324"/>
                  </a:lnTo>
                  <a:lnTo>
                    <a:pt x="84419" y="39926"/>
                  </a:lnTo>
                  <a:lnTo>
                    <a:pt x="81139" y="41316"/>
                  </a:lnTo>
                  <a:lnTo>
                    <a:pt x="79815" y="41310"/>
                  </a:lnTo>
                  <a:lnTo>
                    <a:pt x="78690" y="41030"/>
                  </a:lnTo>
                  <a:lnTo>
                    <a:pt x="77636" y="39850"/>
                  </a:lnTo>
                  <a:lnTo>
                    <a:pt x="76742" y="37576"/>
                  </a:lnTo>
                  <a:lnTo>
                    <a:pt x="76455" y="36146"/>
                  </a:lnTo>
                  <a:lnTo>
                    <a:pt x="75829" y="36192"/>
                  </a:lnTo>
                  <a:lnTo>
                    <a:pt x="73730" y="35779"/>
                  </a:lnTo>
                  <a:lnTo>
                    <a:pt x="72752" y="36344"/>
                  </a:lnTo>
                  <a:lnTo>
                    <a:pt x="72743" y="38673"/>
                  </a:lnTo>
                  <a:lnTo>
                    <a:pt x="72551" y="41568"/>
                  </a:lnTo>
                  <a:lnTo>
                    <a:pt x="71497" y="43438"/>
                  </a:lnTo>
                  <a:lnTo>
                    <a:pt x="68569" y="46669"/>
                  </a:lnTo>
                  <a:lnTo>
                    <a:pt x="67494" y="48078"/>
                  </a:lnTo>
                  <a:lnTo>
                    <a:pt x="67066" y="49088"/>
                  </a:lnTo>
                  <a:lnTo>
                    <a:pt x="66975" y="49966"/>
                  </a:lnTo>
                  <a:lnTo>
                    <a:pt x="67422" y="51484"/>
                  </a:lnTo>
                  <a:lnTo>
                    <a:pt x="68031" y="52933"/>
                  </a:lnTo>
                  <a:lnTo>
                    <a:pt x="67524" y="53757"/>
                  </a:lnTo>
                  <a:lnTo>
                    <a:pt x="65975" y="54189"/>
                  </a:lnTo>
                  <a:lnTo>
                    <a:pt x="64883" y="53309"/>
                  </a:lnTo>
                  <a:lnTo>
                    <a:pt x="64460" y="51744"/>
                  </a:lnTo>
                  <a:lnTo>
                    <a:pt x="62091" y="49605"/>
                  </a:lnTo>
                  <a:lnTo>
                    <a:pt x="63168" y="47813"/>
                  </a:lnTo>
                  <a:lnTo>
                    <a:pt x="62987" y="47368"/>
                  </a:lnTo>
                  <a:lnTo>
                    <a:pt x="59076" y="46438"/>
                  </a:lnTo>
                  <a:lnTo>
                    <a:pt x="57390" y="45082"/>
                  </a:lnTo>
                  <a:lnTo>
                    <a:pt x="55023" y="42700"/>
                  </a:lnTo>
                  <a:lnTo>
                    <a:pt x="54583" y="41677"/>
                  </a:lnTo>
                  <a:lnTo>
                    <a:pt x="54682" y="38353"/>
                  </a:lnTo>
                  <a:lnTo>
                    <a:pt x="54546" y="37546"/>
                  </a:lnTo>
                  <a:lnTo>
                    <a:pt x="54230" y="37153"/>
                  </a:lnTo>
                  <a:lnTo>
                    <a:pt x="53084" y="37179"/>
                  </a:lnTo>
                  <a:lnTo>
                    <a:pt x="51488" y="38335"/>
                  </a:lnTo>
                  <a:lnTo>
                    <a:pt x="50016" y="40060"/>
                  </a:lnTo>
                  <a:lnTo>
                    <a:pt x="47003" y="42004"/>
                  </a:lnTo>
                  <a:lnTo>
                    <a:pt x="46690" y="42420"/>
                  </a:lnTo>
                  <a:lnTo>
                    <a:pt x="47701" y="44314"/>
                  </a:lnTo>
                  <a:lnTo>
                    <a:pt x="47655" y="45051"/>
                  </a:lnTo>
                  <a:lnTo>
                    <a:pt x="45202" y="48066"/>
                  </a:lnTo>
                  <a:lnTo>
                    <a:pt x="44736" y="49060"/>
                  </a:lnTo>
                  <a:lnTo>
                    <a:pt x="41622" y="50950"/>
                  </a:lnTo>
                  <a:lnTo>
                    <a:pt x="40197" y="51657"/>
                  </a:lnTo>
                  <a:lnTo>
                    <a:pt x="35878" y="50267"/>
                  </a:lnTo>
                  <a:lnTo>
                    <a:pt x="34684" y="50102"/>
                  </a:lnTo>
                  <a:lnTo>
                    <a:pt x="32760" y="51033"/>
                  </a:lnTo>
                  <a:lnTo>
                    <a:pt x="30026" y="51918"/>
                  </a:lnTo>
                  <a:lnTo>
                    <a:pt x="25627" y="52799"/>
                  </a:lnTo>
                  <a:lnTo>
                    <a:pt x="24008" y="52155"/>
                  </a:lnTo>
                  <a:lnTo>
                    <a:pt x="23241" y="51548"/>
                  </a:lnTo>
                  <a:lnTo>
                    <a:pt x="22861" y="50636"/>
                  </a:lnTo>
                  <a:lnTo>
                    <a:pt x="21751" y="49026"/>
                  </a:lnTo>
                  <a:lnTo>
                    <a:pt x="20503" y="48070"/>
                  </a:lnTo>
                  <a:lnTo>
                    <a:pt x="19635" y="47029"/>
                  </a:lnTo>
                  <a:lnTo>
                    <a:pt x="18478" y="45889"/>
                  </a:lnTo>
                  <a:lnTo>
                    <a:pt x="17735" y="44935"/>
                  </a:lnTo>
                  <a:lnTo>
                    <a:pt x="18724" y="41889"/>
                  </a:lnTo>
                  <a:lnTo>
                    <a:pt x="18002" y="40815"/>
                  </a:lnTo>
                  <a:lnTo>
                    <a:pt x="17631" y="39284"/>
                  </a:lnTo>
                  <a:lnTo>
                    <a:pt x="17823" y="38246"/>
                  </a:lnTo>
                  <a:lnTo>
                    <a:pt x="17426" y="37993"/>
                  </a:lnTo>
                  <a:lnTo>
                    <a:pt x="13448" y="37394"/>
                  </a:lnTo>
                  <a:lnTo>
                    <a:pt x="10147" y="37584"/>
                  </a:lnTo>
                  <a:lnTo>
                    <a:pt x="7780" y="38605"/>
                  </a:lnTo>
                  <a:lnTo>
                    <a:pt x="5852" y="40298"/>
                  </a:lnTo>
                  <a:lnTo>
                    <a:pt x="5621" y="40663"/>
                  </a:lnTo>
                  <a:lnTo>
                    <a:pt x="5740" y="40968"/>
                  </a:lnTo>
                  <a:lnTo>
                    <a:pt x="6698" y="42524"/>
                  </a:lnTo>
                  <a:lnTo>
                    <a:pt x="5072" y="44162"/>
                  </a:lnTo>
                  <a:lnTo>
                    <a:pt x="2578" y="45436"/>
                  </a:lnTo>
                  <a:lnTo>
                    <a:pt x="810" y="45566"/>
                  </a:lnTo>
                  <a:lnTo>
                    <a:pt x="32" y="45320"/>
                  </a:lnTo>
                  <a:lnTo>
                    <a:pt x="0" y="43564"/>
                  </a:lnTo>
                  <a:lnTo>
                    <a:pt x="1461" y="42916"/>
                  </a:lnTo>
                  <a:lnTo>
                    <a:pt x="2783" y="41773"/>
                  </a:lnTo>
                  <a:lnTo>
                    <a:pt x="3226" y="40159"/>
                  </a:lnTo>
                  <a:lnTo>
                    <a:pt x="3388" y="39023"/>
                  </a:lnTo>
                  <a:lnTo>
                    <a:pt x="1995" y="37649"/>
                  </a:lnTo>
                  <a:lnTo>
                    <a:pt x="2166" y="36806"/>
                  </a:lnTo>
                  <a:lnTo>
                    <a:pt x="3029" y="35210"/>
                  </a:lnTo>
                  <a:lnTo>
                    <a:pt x="3530" y="33795"/>
                  </a:lnTo>
                  <a:lnTo>
                    <a:pt x="4217" y="32572"/>
                  </a:lnTo>
                  <a:lnTo>
                    <a:pt x="6968" y="30569"/>
                  </a:lnTo>
                  <a:lnTo>
                    <a:pt x="9732" y="28556"/>
                  </a:lnTo>
                  <a:lnTo>
                    <a:pt x="10149" y="26415"/>
                  </a:lnTo>
                  <a:lnTo>
                    <a:pt x="10361" y="23806"/>
                  </a:lnTo>
                  <a:lnTo>
                    <a:pt x="10751" y="23180"/>
                  </a:lnTo>
                  <a:lnTo>
                    <a:pt x="14479" y="21617"/>
                  </a:lnTo>
                  <a:lnTo>
                    <a:pt x="15409" y="20998"/>
                  </a:lnTo>
                  <a:lnTo>
                    <a:pt x="15878" y="20112"/>
                  </a:lnTo>
                  <a:lnTo>
                    <a:pt x="18810" y="17180"/>
                  </a:lnTo>
                  <a:lnTo>
                    <a:pt x="21715" y="14271"/>
                  </a:lnTo>
                  <a:lnTo>
                    <a:pt x="22300" y="13294"/>
                  </a:lnTo>
                  <a:lnTo>
                    <a:pt x="22788" y="12722"/>
                  </a:lnTo>
                  <a:lnTo>
                    <a:pt x="22788" y="12247"/>
                  </a:lnTo>
                  <a:lnTo>
                    <a:pt x="22423" y="11881"/>
                  </a:lnTo>
                  <a:lnTo>
                    <a:pt x="21039" y="11637"/>
                  </a:lnTo>
                  <a:lnTo>
                    <a:pt x="20572" y="10712"/>
                  </a:lnTo>
                  <a:lnTo>
                    <a:pt x="22075" y="9058"/>
                  </a:lnTo>
                  <a:lnTo>
                    <a:pt x="23956" y="8045"/>
                  </a:lnTo>
                  <a:lnTo>
                    <a:pt x="25783" y="8031"/>
                  </a:lnTo>
                  <a:lnTo>
                    <a:pt x="26517" y="8497"/>
                  </a:lnTo>
                  <a:lnTo>
                    <a:pt x="26478" y="9045"/>
                  </a:lnTo>
                  <a:lnTo>
                    <a:pt x="27266" y="9633"/>
                  </a:lnTo>
                  <a:lnTo>
                    <a:pt x="28651" y="9828"/>
                  </a:lnTo>
                  <a:lnTo>
                    <a:pt x="30363" y="9623"/>
                  </a:lnTo>
                  <a:lnTo>
                    <a:pt x="32062" y="9004"/>
                  </a:lnTo>
                  <a:lnTo>
                    <a:pt x="33110" y="7531"/>
                  </a:lnTo>
                  <a:lnTo>
                    <a:pt x="33718" y="6417"/>
                  </a:lnTo>
                  <a:lnTo>
                    <a:pt x="36388" y="5143"/>
                  </a:lnTo>
                  <a:lnTo>
                    <a:pt x="38210" y="5784"/>
                  </a:lnTo>
                  <a:lnTo>
                    <a:pt x="43274" y="5953"/>
                  </a:lnTo>
                  <a:lnTo>
                    <a:pt x="46960" y="5608"/>
                  </a:lnTo>
                  <a:lnTo>
                    <a:pt x="49271" y="4744"/>
                  </a:lnTo>
                  <a:lnTo>
                    <a:pt x="52136" y="4744"/>
                  </a:lnTo>
                  <a:lnTo>
                    <a:pt x="54058" y="5231"/>
                  </a:lnTo>
                  <a:lnTo>
                    <a:pt x="54397" y="5159"/>
                  </a:lnTo>
                  <a:lnTo>
                    <a:pt x="54926" y="5045"/>
                  </a:lnTo>
                  <a:lnTo>
                    <a:pt x="55449" y="4582"/>
                  </a:lnTo>
                  <a:lnTo>
                    <a:pt x="57258" y="4264"/>
                  </a:lnTo>
                  <a:lnTo>
                    <a:pt x="57502" y="3876"/>
                  </a:lnTo>
                  <a:lnTo>
                    <a:pt x="57426" y="3480"/>
                  </a:lnTo>
                  <a:lnTo>
                    <a:pt x="57100" y="3277"/>
                  </a:lnTo>
                  <a:lnTo>
                    <a:pt x="54876" y="3483"/>
                  </a:lnTo>
                  <a:lnTo>
                    <a:pt x="54025" y="3176"/>
                  </a:lnTo>
                  <a:lnTo>
                    <a:pt x="53807" y="2471"/>
                  </a:lnTo>
                  <a:lnTo>
                    <a:pt x="54522" y="1246"/>
                  </a:lnTo>
                  <a:lnTo>
                    <a:pt x="56161" y="246"/>
                  </a:lnTo>
                  <a:lnTo>
                    <a:pt x="57550" y="0"/>
                  </a:lnTo>
                  <a:lnTo>
                    <a:pt x="58549" y="268"/>
                  </a:lnTo>
                  <a:lnTo>
                    <a:pt x="60992" y="2126"/>
                  </a:lnTo>
                  <a:lnTo>
                    <a:pt x="61577" y="2183"/>
                  </a:lnTo>
                  <a:lnTo>
                    <a:pt x="61916" y="1849"/>
                  </a:lnTo>
                  <a:lnTo>
                    <a:pt x="62423" y="1662"/>
                  </a:lnTo>
                  <a:lnTo>
                    <a:pt x="63265" y="2026"/>
                  </a:lnTo>
                  <a:lnTo>
                    <a:pt x="64213" y="3176"/>
                  </a:lnTo>
                  <a:lnTo>
                    <a:pt x="64371" y="3354"/>
                  </a:lnTo>
                  <a:lnTo>
                    <a:pt x="69819" y="2951"/>
                  </a:lnTo>
                  <a:lnTo>
                    <a:pt x="71041" y="2951"/>
                  </a:lnTo>
                  <a:lnTo>
                    <a:pt x="74738" y="496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0" name="ee4p_CZ_1_15912">
              <a:extLst>
                <a:ext uri="{FF2B5EF4-FFF2-40B4-BE49-F238E27FC236}">
                  <a16:creationId xmlns:a16="http://schemas.microsoft.com/office/drawing/2014/main" id="{910203F1-7CEE-3B31-F508-04468588EA5B}"/>
                </a:ext>
              </a:extLst>
            </p:cNvPr>
            <p:cNvSpPr>
              <a:spLocks noChangeAspect="1"/>
            </p:cNvSpPr>
            <p:nvPr>
              <p:custDataLst>
                <p:tags r:id="rId22"/>
              </p:custDataLst>
            </p:nvPr>
          </p:nvSpPr>
          <p:spPr>
            <a:xfrm>
              <a:off x="4831469" y="4412119"/>
              <a:ext cx="591031" cy="281080"/>
            </a:xfrm>
            <a:custGeom>
              <a:avLst/>
              <a:gdLst/>
              <a:ahLst/>
              <a:cxnLst/>
              <a:rect l="0" t="0" r="0" b="0"/>
              <a:pathLst>
                <a:path w="149091" h="70904">
                  <a:moveTo>
                    <a:pt x="60137" y="5220"/>
                  </a:moveTo>
                  <a:lnTo>
                    <a:pt x="62048" y="5150"/>
                  </a:lnTo>
                  <a:lnTo>
                    <a:pt x="63974" y="4416"/>
                  </a:lnTo>
                  <a:lnTo>
                    <a:pt x="64129" y="3229"/>
                  </a:lnTo>
                  <a:lnTo>
                    <a:pt x="64008" y="1005"/>
                  </a:lnTo>
                  <a:lnTo>
                    <a:pt x="64214" y="685"/>
                  </a:lnTo>
                  <a:lnTo>
                    <a:pt x="67137" y="1313"/>
                  </a:lnTo>
                  <a:lnTo>
                    <a:pt x="70070" y="2315"/>
                  </a:lnTo>
                  <a:lnTo>
                    <a:pt x="70478" y="4520"/>
                  </a:lnTo>
                  <a:lnTo>
                    <a:pt x="71264" y="5606"/>
                  </a:lnTo>
                  <a:lnTo>
                    <a:pt x="72188" y="6597"/>
                  </a:lnTo>
                  <a:lnTo>
                    <a:pt x="73078" y="7048"/>
                  </a:lnTo>
                  <a:lnTo>
                    <a:pt x="74611" y="7119"/>
                  </a:lnTo>
                  <a:lnTo>
                    <a:pt x="78591" y="8429"/>
                  </a:lnTo>
                  <a:lnTo>
                    <a:pt x="80506" y="8696"/>
                  </a:lnTo>
                  <a:lnTo>
                    <a:pt x="82467" y="9599"/>
                  </a:lnTo>
                  <a:lnTo>
                    <a:pt x="84118" y="10524"/>
                  </a:lnTo>
                  <a:lnTo>
                    <a:pt x="85326" y="10717"/>
                  </a:lnTo>
                  <a:lnTo>
                    <a:pt x="85885" y="11730"/>
                  </a:lnTo>
                  <a:lnTo>
                    <a:pt x="86623" y="12423"/>
                  </a:lnTo>
                  <a:lnTo>
                    <a:pt x="87932" y="11891"/>
                  </a:lnTo>
                  <a:lnTo>
                    <a:pt x="92704" y="11143"/>
                  </a:lnTo>
                  <a:lnTo>
                    <a:pt x="94423" y="12139"/>
                  </a:lnTo>
                  <a:lnTo>
                    <a:pt x="95585" y="13192"/>
                  </a:lnTo>
                  <a:lnTo>
                    <a:pt x="95745" y="13527"/>
                  </a:lnTo>
                  <a:lnTo>
                    <a:pt x="95138" y="14456"/>
                  </a:lnTo>
                  <a:lnTo>
                    <a:pt x="94847" y="15175"/>
                  </a:lnTo>
                  <a:lnTo>
                    <a:pt x="94350" y="15652"/>
                  </a:lnTo>
                  <a:lnTo>
                    <a:pt x="92711" y="16159"/>
                  </a:lnTo>
                  <a:lnTo>
                    <a:pt x="91787" y="16981"/>
                  </a:lnTo>
                  <a:lnTo>
                    <a:pt x="91115" y="17880"/>
                  </a:lnTo>
                  <a:lnTo>
                    <a:pt x="91566" y="18739"/>
                  </a:lnTo>
                  <a:lnTo>
                    <a:pt x="92905" y="19383"/>
                  </a:lnTo>
                  <a:lnTo>
                    <a:pt x="93853" y="19528"/>
                  </a:lnTo>
                  <a:lnTo>
                    <a:pt x="94214" y="20156"/>
                  </a:lnTo>
                  <a:lnTo>
                    <a:pt x="97246" y="22961"/>
                  </a:lnTo>
                  <a:lnTo>
                    <a:pt x="99657" y="26619"/>
                  </a:lnTo>
                  <a:lnTo>
                    <a:pt x="100597" y="27191"/>
                  </a:lnTo>
                  <a:lnTo>
                    <a:pt x="101480" y="27326"/>
                  </a:lnTo>
                  <a:lnTo>
                    <a:pt x="102501" y="26789"/>
                  </a:lnTo>
                  <a:lnTo>
                    <a:pt x="103680" y="25604"/>
                  </a:lnTo>
                  <a:lnTo>
                    <a:pt x="105078" y="24746"/>
                  </a:lnTo>
                  <a:lnTo>
                    <a:pt x="106261" y="24305"/>
                  </a:lnTo>
                  <a:lnTo>
                    <a:pt x="108347" y="23293"/>
                  </a:lnTo>
                  <a:lnTo>
                    <a:pt x="108429" y="22633"/>
                  </a:lnTo>
                  <a:lnTo>
                    <a:pt x="106691" y="20156"/>
                  </a:lnTo>
                  <a:lnTo>
                    <a:pt x="105682" y="18147"/>
                  </a:lnTo>
                  <a:lnTo>
                    <a:pt x="105924" y="17783"/>
                  </a:lnTo>
                  <a:lnTo>
                    <a:pt x="108150" y="18101"/>
                  </a:lnTo>
                  <a:lnTo>
                    <a:pt x="111936" y="19197"/>
                  </a:lnTo>
                  <a:lnTo>
                    <a:pt x="117758" y="22776"/>
                  </a:lnTo>
                  <a:lnTo>
                    <a:pt x="118799" y="22776"/>
                  </a:lnTo>
                  <a:lnTo>
                    <a:pt x="120839" y="22507"/>
                  </a:lnTo>
                  <a:lnTo>
                    <a:pt x="123053" y="21923"/>
                  </a:lnTo>
                  <a:lnTo>
                    <a:pt x="124104" y="21258"/>
                  </a:lnTo>
                  <a:lnTo>
                    <a:pt x="124499" y="21506"/>
                  </a:lnTo>
                  <a:lnTo>
                    <a:pt x="124838" y="23471"/>
                  </a:lnTo>
                  <a:lnTo>
                    <a:pt x="124259" y="24548"/>
                  </a:lnTo>
                  <a:lnTo>
                    <a:pt x="121608" y="25592"/>
                  </a:lnTo>
                  <a:lnTo>
                    <a:pt x="121761" y="26111"/>
                  </a:lnTo>
                  <a:lnTo>
                    <a:pt x="122441" y="26779"/>
                  </a:lnTo>
                  <a:lnTo>
                    <a:pt x="123635" y="27230"/>
                  </a:lnTo>
                  <a:lnTo>
                    <a:pt x="125084" y="28502"/>
                  </a:lnTo>
                  <a:lnTo>
                    <a:pt x="126082" y="29951"/>
                  </a:lnTo>
                  <a:lnTo>
                    <a:pt x="126957" y="30623"/>
                  </a:lnTo>
                  <a:lnTo>
                    <a:pt x="127920" y="30942"/>
                  </a:lnTo>
                  <a:lnTo>
                    <a:pt x="130330" y="30168"/>
                  </a:lnTo>
                  <a:lnTo>
                    <a:pt x="131012" y="29556"/>
                  </a:lnTo>
                  <a:lnTo>
                    <a:pt x="131314" y="29123"/>
                  </a:lnTo>
                  <a:lnTo>
                    <a:pt x="131783" y="29219"/>
                  </a:lnTo>
                  <a:lnTo>
                    <a:pt x="132627" y="29931"/>
                  </a:lnTo>
                  <a:lnTo>
                    <a:pt x="132882" y="30350"/>
                  </a:lnTo>
                  <a:lnTo>
                    <a:pt x="135227" y="31159"/>
                  </a:lnTo>
                  <a:lnTo>
                    <a:pt x="136577" y="32153"/>
                  </a:lnTo>
                  <a:lnTo>
                    <a:pt x="137438" y="32621"/>
                  </a:lnTo>
                  <a:lnTo>
                    <a:pt x="138393" y="32166"/>
                  </a:lnTo>
                  <a:lnTo>
                    <a:pt x="142103" y="32957"/>
                  </a:lnTo>
                  <a:lnTo>
                    <a:pt x="143124" y="33621"/>
                  </a:lnTo>
                  <a:lnTo>
                    <a:pt x="143450" y="34723"/>
                  </a:lnTo>
                  <a:lnTo>
                    <a:pt x="143266" y="35391"/>
                  </a:lnTo>
                  <a:lnTo>
                    <a:pt x="143837" y="37122"/>
                  </a:lnTo>
                  <a:lnTo>
                    <a:pt x="148531" y="41266"/>
                  </a:lnTo>
                  <a:lnTo>
                    <a:pt x="149025" y="43380"/>
                  </a:lnTo>
                  <a:lnTo>
                    <a:pt x="149090" y="44222"/>
                  </a:lnTo>
                  <a:lnTo>
                    <a:pt x="148533" y="44267"/>
                  </a:lnTo>
                  <a:lnTo>
                    <a:pt x="147265" y="44704"/>
                  </a:lnTo>
                  <a:lnTo>
                    <a:pt x="145640" y="44863"/>
                  </a:lnTo>
                  <a:lnTo>
                    <a:pt x="143878" y="44777"/>
                  </a:lnTo>
                  <a:lnTo>
                    <a:pt x="142508" y="45545"/>
                  </a:lnTo>
                  <a:lnTo>
                    <a:pt x="141215" y="46795"/>
                  </a:lnTo>
                  <a:lnTo>
                    <a:pt x="139883" y="47660"/>
                  </a:lnTo>
                  <a:lnTo>
                    <a:pt x="139159" y="48434"/>
                  </a:lnTo>
                  <a:lnTo>
                    <a:pt x="138755" y="49227"/>
                  </a:lnTo>
                  <a:lnTo>
                    <a:pt x="134247" y="51485"/>
                  </a:lnTo>
                  <a:lnTo>
                    <a:pt x="133621" y="52424"/>
                  </a:lnTo>
                  <a:lnTo>
                    <a:pt x="133119" y="53704"/>
                  </a:lnTo>
                  <a:lnTo>
                    <a:pt x="132908" y="55432"/>
                  </a:lnTo>
                  <a:lnTo>
                    <a:pt x="132588" y="56980"/>
                  </a:lnTo>
                  <a:lnTo>
                    <a:pt x="131813" y="57797"/>
                  </a:lnTo>
                  <a:lnTo>
                    <a:pt x="129377" y="58498"/>
                  </a:lnTo>
                  <a:lnTo>
                    <a:pt x="128770" y="58876"/>
                  </a:lnTo>
                  <a:lnTo>
                    <a:pt x="128315" y="59663"/>
                  </a:lnTo>
                  <a:lnTo>
                    <a:pt x="126948" y="60876"/>
                  </a:lnTo>
                  <a:lnTo>
                    <a:pt x="125348" y="62030"/>
                  </a:lnTo>
                  <a:lnTo>
                    <a:pt x="122405" y="63348"/>
                  </a:lnTo>
                  <a:lnTo>
                    <a:pt x="119248" y="63749"/>
                  </a:lnTo>
                  <a:lnTo>
                    <a:pt x="115140" y="63321"/>
                  </a:lnTo>
                  <a:lnTo>
                    <a:pt x="112743" y="62804"/>
                  </a:lnTo>
                  <a:lnTo>
                    <a:pt x="111575" y="63371"/>
                  </a:lnTo>
                  <a:lnTo>
                    <a:pt x="109975" y="65088"/>
                  </a:lnTo>
                  <a:lnTo>
                    <a:pt x="108250" y="68042"/>
                  </a:lnTo>
                  <a:lnTo>
                    <a:pt x="107540" y="70261"/>
                  </a:lnTo>
                  <a:lnTo>
                    <a:pt x="106991" y="69634"/>
                  </a:lnTo>
                  <a:lnTo>
                    <a:pt x="106004" y="67280"/>
                  </a:lnTo>
                  <a:lnTo>
                    <a:pt x="104888" y="66978"/>
                  </a:lnTo>
                  <a:lnTo>
                    <a:pt x="103367" y="66759"/>
                  </a:lnTo>
                  <a:lnTo>
                    <a:pt x="102223" y="66412"/>
                  </a:lnTo>
                  <a:lnTo>
                    <a:pt x="99752" y="65056"/>
                  </a:lnTo>
                  <a:lnTo>
                    <a:pt x="98483" y="64647"/>
                  </a:lnTo>
                  <a:lnTo>
                    <a:pt x="97032" y="64537"/>
                  </a:lnTo>
                  <a:lnTo>
                    <a:pt x="95637" y="65335"/>
                  </a:lnTo>
                  <a:lnTo>
                    <a:pt x="94585" y="66277"/>
                  </a:lnTo>
                  <a:lnTo>
                    <a:pt x="91314" y="66264"/>
                  </a:lnTo>
                  <a:lnTo>
                    <a:pt x="87729" y="65827"/>
                  </a:lnTo>
                  <a:lnTo>
                    <a:pt x="82598" y="62704"/>
                  </a:lnTo>
                  <a:lnTo>
                    <a:pt x="81268" y="62677"/>
                  </a:lnTo>
                  <a:lnTo>
                    <a:pt x="79847" y="62818"/>
                  </a:lnTo>
                  <a:lnTo>
                    <a:pt x="77606" y="62080"/>
                  </a:lnTo>
                  <a:lnTo>
                    <a:pt x="73261" y="60056"/>
                  </a:lnTo>
                  <a:lnTo>
                    <a:pt x="71227" y="59581"/>
                  </a:lnTo>
                  <a:lnTo>
                    <a:pt x="69940" y="59871"/>
                  </a:lnTo>
                  <a:lnTo>
                    <a:pt x="68766" y="60319"/>
                  </a:lnTo>
                  <a:lnTo>
                    <a:pt x="67928" y="60372"/>
                  </a:lnTo>
                  <a:lnTo>
                    <a:pt x="67442" y="59714"/>
                  </a:lnTo>
                  <a:lnTo>
                    <a:pt x="65829" y="58901"/>
                  </a:lnTo>
                  <a:lnTo>
                    <a:pt x="64207" y="58808"/>
                  </a:lnTo>
                  <a:lnTo>
                    <a:pt x="63736" y="59298"/>
                  </a:lnTo>
                  <a:lnTo>
                    <a:pt x="63188" y="63750"/>
                  </a:lnTo>
                  <a:lnTo>
                    <a:pt x="62639" y="65354"/>
                  </a:lnTo>
                  <a:lnTo>
                    <a:pt x="60413" y="65280"/>
                  </a:lnTo>
                  <a:lnTo>
                    <a:pt x="59618" y="66038"/>
                  </a:lnTo>
                  <a:lnTo>
                    <a:pt x="57865" y="68184"/>
                  </a:lnTo>
                  <a:lnTo>
                    <a:pt x="57526" y="70249"/>
                  </a:lnTo>
                  <a:lnTo>
                    <a:pt x="54488" y="69849"/>
                  </a:lnTo>
                  <a:lnTo>
                    <a:pt x="53045" y="69502"/>
                  </a:lnTo>
                  <a:lnTo>
                    <a:pt x="51771" y="69765"/>
                  </a:lnTo>
                  <a:lnTo>
                    <a:pt x="50367" y="70903"/>
                  </a:lnTo>
                  <a:lnTo>
                    <a:pt x="46437" y="70836"/>
                  </a:lnTo>
                  <a:lnTo>
                    <a:pt x="43326" y="70157"/>
                  </a:lnTo>
                  <a:lnTo>
                    <a:pt x="41991" y="67600"/>
                  </a:lnTo>
                  <a:lnTo>
                    <a:pt x="40566" y="66588"/>
                  </a:lnTo>
                  <a:lnTo>
                    <a:pt x="38772" y="65682"/>
                  </a:lnTo>
                  <a:lnTo>
                    <a:pt x="38143" y="65481"/>
                  </a:lnTo>
                  <a:lnTo>
                    <a:pt x="37152" y="64085"/>
                  </a:lnTo>
                  <a:lnTo>
                    <a:pt x="35273" y="62355"/>
                  </a:lnTo>
                  <a:lnTo>
                    <a:pt x="32237" y="59990"/>
                  </a:lnTo>
                  <a:lnTo>
                    <a:pt x="29873" y="60107"/>
                  </a:lnTo>
                  <a:lnTo>
                    <a:pt x="28998" y="59479"/>
                  </a:lnTo>
                  <a:lnTo>
                    <a:pt x="28612" y="58609"/>
                  </a:lnTo>
                  <a:lnTo>
                    <a:pt x="27625" y="57104"/>
                  </a:lnTo>
                  <a:lnTo>
                    <a:pt x="26513" y="56057"/>
                  </a:lnTo>
                  <a:lnTo>
                    <a:pt x="25165" y="55651"/>
                  </a:lnTo>
                  <a:lnTo>
                    <a:pt x="23235" y="54317"/>
                  </a:lnTo>
                  <a:lnTo>
                    <a:pt x="20652" y="51407"/>
                  </a:lnTo>
                  <a:lnTo>
                    <a:pt x="18285" y="49393"/>
                  </a:lnTo>
                  <a:lnTo>
                    <a:pt x="16001" y="49425"/>
                  </a:lnTo>
                  <a:lnTo>
                    <a:pt x="14552" y="48369"/>
                  </a:lnTo>
                  <a:lnTo>
                    <a:pt x="13077" y="46985"/>
                  </a:lnTo>
                  <a:lnTo>
                    <a:pt x="11991" y="45644"/>
                  </a:lnTo>
                  <a:lnTo>
                    <a:pt x="10304" y="42383"/>
                  </a:lnTo>
                  <a:lnTo>
                    <a:pt x="9078" y="40520"/>
                  </a:lnTo>
                  <a:lnTo>
                    <a:pt x="8121" y="39367"/>
                  </a:lnTo>
                  <a:lnTo>
                    <a:pt x="7041" y="38406"/>
                  </a:lnTo>
                  <a:lnTo>
                    <a:pt x="6651" y="37645"/>
                  </a:lnTo>
                  <a:lnTo>
                    <a:pt x="7970" y="35903"/>
                  </a:lnTo>
                  <a:lnTo>
                    <a:pt x="8449" y="35041"/>
                  </a:lnTo>
                  <a:lnTo>
                    <a:pt x="9017" y="34379"/>
                  </a:lnTo>
                  <a:lnTo>
                    <a:pt x="9348" y="33676"/>
                  </a:lnTo>
                  <a:lnTo>
                    <a:pt x="9337" y="33147"/>
                  </a:lnTo>
                  <a:lnTo>
                    <a:pt x="8134" y="31425"/>
                  </a:lnTo>
                  <a:lnTo>
                    <a:pt x="6510" y="30182"/>
                  </a:lnTo>
                  <a:lnTo>
                    <a:pt x="4128" y="28919"/>
                  </a:lnTo>
                  <a:lnTo>
                    <a:pt x="2610" y="27325"/>
                  </a:lnTo>
                  <a:lnTo>
                    <a:pt x="2051" y="25864"/>
                  </a:lnTo>
                  <a:lnTo>
                    <a:pt x="1885" y="25061"/>
                  </a:lnTo>
                  <a:lnTo>
                    <a:pt x="842" y="23973"/>
                  </a:lnTo>
                  <a:lnTo>
                    <a:pt x="0" y="22377"/>
                  </a:lnTo>
                  <a:lnTo>
                    <a:pt x="2" y="21416"/>
                  </a:lnTo>
                  <a:lnTo>
                    <a:pt x="209" y="21148"/>
                  </a:lnTo>
                  <a:lnTo>
                    <a:pt x="998" y="21149"/>
                  </a:lnTo>
                  <a:lnTo>
                    <a:pt x="1880" y="21803"/>
                  </a:lnTo>
                  <a:lnTo>
                    <a:pt x="3127" y="23063"/>
                  </a:lnTo>
                  <a:lnTo>
                    <a:pt x="4148" y="24898"/>
                  </a:lnTo>
                  <a:lnTo>
                    <a:pt x="4774" y="24196"/>
                  </a:lnTo>
                  <a:lnTo>
                    <a:pt x="5945" y="22241"/>
                  </a:lnTo>
                  <a:lnTo>
                    <a:pt x="8024" y="20023"/>
                  </a:lnTo>
                  <a:lnTo>
                    <a:pt x="10156" y="18759"/>
                  </a:lnTo>
                  <a:lnTo>
                    <a:pt x="12069" y="18653"/>
                  </a:lnTo>
                  <a:lnTo>
                    <a:pt x="13636" y="18303"/>
                  </a:lnTo>
                  <a:lnTo>
                    <a:pt x="14941" y="17670"/>
                  </a:lnTo>
                  <a:lnTo>
                    <a:pt x="17214" y="17923"/>
                  </a:lnTo>
                  <a:lnTo>
                    <a:pt x="18860" y="18381"/>
                  </a:lnTo>
                  <a:lnTo>
                    <a:pt x="19393" y="18098"/>
                  </a:lnTo>
                  <a:lnTo>
                    <a:pt x="20063" y="16942"/>
                  </a:lnTo>
                  <a:lnTo>
                    <a:pt x="20490" y="15945"/>
                  </a:lnTo>
                  <a:lnTo>
                    <a:pt x="24133" y="15361"/>
                  </a:lnTo>
                  <a:lnTo>
                    <a:pt x="25383" y="13436"/>
                  </a:lnTo>
                  <a:lnTo>
                    <a:pt x="26087" y="13446"/>
                  </a:lnTo>
                  <a:lnTo>
                    <a:pt x="26895" y="13158"/>
                  </a:lnTo>
                  <a:lnTo>
                    <a:pt x="27668" y="12428"/>
                  </a:lnTo>
                  <a:lnTo>
                    <a:pt x="28411" y="12129"/>
                  </a:lnTo>
                  <a:lnTo>
                    <a:pt x="28998" y="12490"/>
                  </a:lnTo>
                  <a:lnTo>
                    <a:pt x="29771" y="12729"/>
                  </a:lnTo>
                  <a:lnTo>
                    <a:pt x="30577" y="12268"/>
                  </a:lnTo>
                  <a:lnTo>
                    <a:pt x="31771" y="10061"/>
                  </a:lnTo>
                  <a:lnTo>
                    <a:pt x="32438" y="9717"/>
                  </a:lnTo>
                  <a:lnTo>
                    <a:pt x="35636" y="9371"/>
                  </a:lnTo>
                  <a:lnTo>
                    <a:pt x="39996" y="8068"/>
                  </a:lnTo>
                  <a:lnTo>
                    <a:pt x="42205" y="6907"/>
                  </a:lnTo>
                  <a:lnTo>
                    <a:pt x="44373" y="6277"/>
                  </a:lnTo>
                  <a:lnTo>
                    <a:pt x="46701" y="5155"/>
                  </a:lnTo>
                  <a:lnTo>
                    <a:pt x="50400" y="4061"/>
                  </a:lnTo>
                  <a:lnTo>
                    <a:pt x="50577" y="3614"/>
                  </a:lnTo>
                  <a:lnTo>
                    <a:pt x="48860" y="2489"/>
                  </a:lnTo>
                  <a:lnTo>
                    <a:pt x="48283" y="1779"/>
                  </a:lnTo>
                  <a:lnTo>
                    <a:pt x="47897" y="1050"/>
                  </a:lnTo>
                  <a:lnTo>
                    <a:pt x="48502" y="243"/>
                  </a:lnTo>
                  <a:lnTo>
                    <a:pt x="49309" y="0"/>
                  </a:lnTo>
                  <a:lnTo>
                    <a:pt x="50361" y="337"/>
                  </a:lnTo>
                  <a:lnTo>
                    <a:pt x="53458" y="816"/>
                  </a:lnTo>
                  <a:lnTo>
                    <a:pt x="54306" y="1281"/>
                  </a:lnTo>
                  <a:lnTo>
                    <a:pt x="54615" y="2421"/>
                  </a:lnTo>
                  <a:lnTo>
                    <a:pt x="55401" y="3481"/>
                  </a:lnTo>
                  <a:lnTo>
                    <a:pt x="56034" y="3594"/>
                  </a:lnTo>
                  <a:lnTo>
                    <a:pt x="55807" y="5320"/>
                  </a:lnTo>
                  <a:lnTo>
                    <a:pt x="56794" y="5989"/>
                  </a:lnTo>
                  <a:lnTo>
                    <a:pt x="58234" y="6511"/>
                  </a:lnTo>
                  <a:lnTo>
                    <a:pt x="59189" y="6406"/>
                  </a:lnTo>
                  <a:lnTo>
                    <a:pt x="59873" y="570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1" name="ee4p_DE_1_15912">
              <a:extLst>
                <a:ext uri="{FF2B5EF4-FFF2-40B4-BE49-F238E27FC236}">
                  <a16:creationId xmlns:a16="http://schemas.microsoft.com/office/drawing/2014/main" id="{46548EA5-3348-9202-9C33-E6E52C1C4E92}"/>
                </a:ext>
              </a:extLst>
            </p:cNvPr>
            <p:cNvSpPr>
              <a:spLocks noChangeAspect="1"/>
            </p:cNvSpPr>
            <p:nvPr>
              <p:custDataLst>
                <p:tags r:id="rId23"/>
              </p:custDataLst>
            </p:nvPr>
          </p:nvSpPr>
          <p:spPr>
            <a:xfrm>
              <a:off x="4285170" y="3934358"/>
              <a:ext cx="802864" cy="903840"/>
            </a:xfrm>
            <a:custGeom>
              <a:avLst/>
              <a:gdLst>
                <a:gd name="connsiteX0" fmla="*/ 176238 w 202527"/>
                <a:gd name="connsiteY0" fmla="*/ 28478 h 227999"/>
                <a:gd name="connsiteX1" fmla="*/ 180907 w 202527"/>
                <a:gd name="connsiteY1" fmla="*/ 31292 h 227999"/>
                <a:gd name="connsiteX2" fmla="*/ 184723 w 202527"/>
                <a:gd name="connsiteY2" fmla="*/ 33847 h 227999"/>
                <a:gd name="connsiteX3" fmla="*/ 184431 w 202527"/>
                <a:gd name="connsiteY3" fmla="*/ 34795 h 227999"/>
                <a:gd name="connsiteX4" fmla="*/ 184772 w 202527"/>
                <a:gd name="connsiteY4" fmla="*/ 36258 h 227999"/>
                <a:gd name="connsiteX5" fmla="*/ 183854 w 202527"/>
                <a:gd name="connsiteY5" fmla="*/ 36149 h 227999"/>
                <a:gd name="connsiteX6" fmla="*/ 181117 w 202527"/>
                <a:gd name="connsiteY6" fmla="*/ 36490 h 227999"/>
                <a:gd name="connsiteX7" fmla="*/ 178406 w 202527"/>
                <a:gd name="connsiteY7" fmla="*/ 36007 h 227999"/>
                <a:gd name="connsiteX8" fmla="*/ 177884 w 202527"/>
                <a:gd name="connsiteY8" fmla="*/ 34192 h 227999"/>
                <a:gd name="connsiteX9" fmla="*/ 178316 w 202527"/>
                <a:gd name="connsiteY9" fmla="*/ 32443 h 227999"/>
                <a:gd name="connsiteX10" fmla="*/ 177227 w 202527"/>
                <a:gd name="connsiteY10" fmla="*/ 31240 h 227999"/>
                <a:gd name="connsiteX11" fmla="*/ 176225 w 202527"/>
                <a:gd name="connsiteY11" fmla="*/ 30534 h 227999"/>
                <a:gd name="connsiteX12" fmla="*/ 176077 w 202527"/>
                <a:gd name="connsiteY12" fmla="*/ 29524 h 227999"/>
                <a:gd name="connsiteX13" fmla="*/ 115590 w 202527"/>
                <a:gd name="connsiteY13" fmla="*/ 16104 h 227999"/>
                <a:gd name="connsiteX14" fmla="*/ 118877 w 202527"/>
                <a:gd name="connsiteY14" fmla="*/ 17086 h 227999"/>
                <a:gd name="connsiteX15" fmla="*/ 119909 w 202527"/>
                <a:gd name="connsiteY15" fmla="*/ 19005 h 227999"/>
                <a:gd name="connsiteX16" fmla="*/ 119965 w 202527"/>
                <a:gd name="connsiteY16" fmla="*/ 19628 h 227999"/>
                <a:gd name="connsiteX17" fmla="*/ 116570 w 202527"/>
                <a:gd name="connsiteY17" fmla="*/ 19687 h 227999"/>
                <a:gd name="connsiteX18" fmla="*/ 115274 w 202527"/>
                <a:gd name="connsiteY18" fmla="*/ 18467 h 227999"/>
                <a:gd name="connsiteX19" fmla="*/ 113970 w 202527"/>
                <a:gd name="connsiteY19" fmla="*/ 18157 h 227999"/>
                <a:gd name="connsiteX20" fmla="*/ 114672 w 202527"/>
                <a:gd name="connsiteY20" fmla="*/ 16652 h 227999"/>
                <a:gd name="connsiteX21" fmla="*/ 167283 w 202527"/>
                <a:gd name="connsiteY21" fmla="*/ 11030 h 227999"/>
                <a:gd name="connsiteX22" fmla="*/ 167888 w 202527"/>
                <a:gd name="connsiteY22" fmla="*/ 12552 h 227999"/>
                <a:gd name="connsiteX23" fmla="*/ 168797 w 202527"/>
                <a:gd name="connsiteY23" fmla="*/ 13599 h 227999"/>
                <a:gd name="connsiteX24" fmla="*/ 171999 w 202527"/>
                <a:gd name="connsiteY24" fmla="*/ 14772 h 227999"/>
                <a:gd name="connsiteX25" fmla="*/ 172477 w 202527"/>
                <a:gd name="connsiteY25" fmla="*/ 15305 h 227999"/>
                <a:gd name="connsiteX26" fmla="*/ 172766 w 202527"/>
                <a:gd name="connsiteY26" fmla="*/ 16042 h 227999"/>
                <a:gd name="connsiteX27" fmla="*/ 171276 w 202527"/>
                <a:gd name="connsiteY27" fmla="*/ 17485 h 227999"/>
                <a:gd name="connsiteX28" fmla="*/ 170771 w 202527"/>
                <a:gd name="connsiteY28" fmla="*/ 18224 h 227999"/>
                <a:gd name="connsiteX29" fmla="*/ 171244 w 202527"/>
                <a:gd name="connsiteY29" fmla="*/ 19409 h 227999"/>
                <a:gd name="connsiteX30" fmla="*/ 173617 w 202527"/>
                <a:gd name="connsiteY30" fmla="*/ 20703 h 227999"/>
                <a:gd name="connsiteX31" fmla="*/ 174170 w 202527"/>
                <a:gd name="connsiteY31" fmla="*/ 22753 h 227999"/>
                <a:gd name="connsiteX32" fmla="*/ 173576 w 202527"/>
                <a:gd name="connsiteY32" fmla="*/ 23797 h 227999"/>
                <a:gd name="connsiteX33" fmla="*/ 171090 w 202527"/>
                <a:gd name="connsiteY33" fmla="*/ 22060 h 227999"/>
                <a:gd name="connsiteX34" fmla="*/ 168594 w 202527"/>
                <a:gd name="connsiteY34" fmla="*/ 22084 h 227999"/>
                <a:gd name="connsiteX35" fmla="*/ 167102 w 202527"/>
                <a:gd name="connsiteY35" fmla="*/ 24759 h 227999"/>
                <a:gd name="connsiteX36" fmla="*/ 165992 w 202527"/>
                <a:gd name="connsiteY36" fmla="*/ 24872 h 227999"/>
                <a:gd name="connsiteX37" fmla="*/ 162138 w 202527"/>
                <a:gd name="connsiteY37" fmla="*/ 22442 h 227999"/>
                <a:gd name="connsiteX38" fmla="*/ 161520 w 202527"/>
                <a:gd name="connsiteY38" fmla="*/ 21256 h 227999"/>
                <a:gd name="connsiteX39" fmla="*/ 161393 w 202527"/>
                <a:gd name="connsiteY39" fmla="*/ 20270 h 227999"/>
                <a:gd name="connsiteX40" fmla="*/ 161943 w 202527"/>
                <a:gd name="connsiteY40" fmla="*/ 16850 h 227999"/>
                <a:gd name="connsiteX41" fmla="*/ 161842 w 202527"/>
                <a:gd name="connsiteY41" fmla="*/ 15773 h 227999"/>
                <a:gd name="connsiteX42" fmla="*/ 163053 w 202527"/>
                <a:gd name="connsiteY42" fmla="*/ 14596 h 227999"/>
                <a:gd name="connsiteX43" fmla="*/ 163241 w 202527"/>
                <a:gd name="connsiteY43" fmla="*/ 12894 h 227999"/>
                <a:gd name="connsiteX44" fmla="*/ 165383 w 202527"/>
                <a:gd name="connsiteY44" fmla="*/ 11098 h 227999"/>
                <a:gd name="connsiteX45" fmla="*/ 58651 w 202527"/>
                <a:gd name="connsiteY45" fmla="*/ 9162 h 227999"/>
                <a:gd name="connsiteX46" fmla="*/ 60055 w 202527"/>
                <a:gd name="connsiteY46" fmla="*/ 9517 h 227999"/>
                <a:gd name="connsiteX47" fmla="*/ 60374 w 202527"/>
                <a:gd name="connsiteY47" fmla="*/ 10621 h 227999"/>
                <a:gd name="connsiteX48" fmla="*/ 59513 w 202527"/>
                <a:gd name="connsiteY48" fmla="*/ 11371 h 227999"/>
                <a:gd name="connsiteX49" fmla="*/ 57409 w 202527"/>
                <a:gd name="connsiteY49" fmla="*/ 11283 h 227999"/>
                <a:gd name="connsiteX50" fmla="*/ 56228 w 202527"/>
                <a:gd name="connsiteY50" fmla="*/ 10577 h 227999"/>
                <a:gd name="connsiteX51" fmla="*/ 56611 w 202527"/>
                <a:gd name="connsiteY51" fmla="*/ 9825 h 227999"/>
                <a:gd name="connsiteX52" fmla="*/ 57727 w 202527"/>
                <a:gd name="connsiteY52" fmla="*/ 9251 h 227999"/>
                <a:gd name="connsiteX53" fmla="*/ 62197 w 202527"/>
                <a:gd name="connsiteY53" fmla="*/ 4773 h 227999"/>
                <a:gd name="connsiteX54" fmla="*/ 62206 w 202527"/>
                <a:gd name="connsiteY54" fmla="*/ 4776 h 227999"/>
                <a:gd name="connsiteX55" fmla="*/ 66330 w 202527"/>
                <a:gd name="connsiteY55" fmla="*/ 4843 h 227999"/>
                <a:gd name="connsiteX56" fmla="*/ 67341 w 202527"/>
                <a:gd name="connsiteY56" fmla="*/ 4973 h 227999"/>
                <a:gd name="connsiteX57" fmla="*/ 73596 w 202527"/>
                <a:gd name="connsiteY57" fmla="*/ 6576 h 227999"/>
                <a:gd name="connsiteX58" fmla="*/ 75125 w 202527"/>
                <a:gd name="connsiteY58" fmla="*/ 7700 h 227999"/>
                <a:gd name="connsiteX59" fmla="*/ 77049 w 202527"/>
                <a:gd name="connsiteY59" fmla="*/ 7753 h 227999"/>
                <a:gd name="connsiteX60" fmla="*/ 80515 w 202527"/>
                <a:gd name="connsiteY60" fmla="*/ 6706 h 227999"/>
                <a:gd name="connsiteX61" fmla="*/ 83104 w 202527"/>
                <a:gd name="connsiteY61" fmla="*/ 6246 h 227999"/>
                <a:gd name="connsiteX62" fmla="*/ 84108 w 202527"/>
                <a:gd name="connsiteY62" fmla="*/ 6892 h 227999"/>
                <a:gd name="connsiteX63" fmla="*/ 85518 w 202527"/>
                <a:gd name="connsiteY63" fmla="*/ 7163 h 227999"/>
                <a:gd name="connsiteX64" fmla="*/ 85844 w 202527"/>
                <a:gd name="connsiteY64" fmla="*/ 7163 h 227999"/>
                <a:gd name="connsiteX65" fmla="*/ 85981 w 202527"/>
                <a:gd name="connsiteY65" fmla="*/ 7726 h 227999"/>
                <a:gd name="connsiteX66" fmla="*/ 89217 w 202527"/>
                <a:gd name="connsiteY66" fmla="*/ 8540 h 227999"/>
                <a:gd name="connsiteX67" fmla="*/ 90578 w 202527"/>
                <a:gd name="connsiteY67" fmla="*/ 9837 h 227999"/>
                <a:gd name="connsiteX68" fmla="*/ 92089 w 202527"/>
                <a:gd name="connsiteY68" fmla="*/ 11807 h 227999"/>
                <a:gd name="connsiteX69" fmla="*/ 92236 w 202527"/>
                <a:gd name="connsiteY69" fmla="*/ 14641 h 227999"/>
                <a:gd name="connsiteX70" fmla="*/ 90301 w 202527"/>
                <a:gd name="connsiteY70" fmla="*/ 16677 h 227999"/>
                <a:gd name="connsiteX71" fmla="*/ 88695 w 202527"/>
                <a:gd name="connsiteY71" fmla="*/ 17965 h 227999"/>
                <a:gd name="connsiteX72" fmla="*/ 94771 w 202527"/>
                <a:gd name="connsiteY72" fmla="*/ 17478 h 227999"/>
                <a:gd name="connsiteX73" fmla="*/ 95376 w 202527"/>
                <a:gd name="connsiteY73" fmla="*/ 18645 h 227999"/>
                <a:gd name="connsiteX74" fmla="*/ 96296 w 202527"/>
                <a:gd name="connsiteY74" fmla="*/ 19903 h 227999"/>
                <a:gd name="connsiteX75" fmla="*/ 99569 w 202527"/>
                <a:gd name="connsiteY75" fmla="*/ 19007 h 227999"/>
                <a:gd name="connsiteX76" fmla="*/ 107775 w 202527"/>
                <a:gd name="connsiteY76" fmla="*/ 22728 h 227999"/>
                <a:gd name="connsiteX77" fmla="*/ 112737 w 202527"/>
                <a:gd name="connsiteY77" fmla="*/ 20917 h 227999"/>
                <a:gd name="connsiteX78" fmla="*/ 114007 w 202527"/>
                <a:gd name="connsiteY78" fmla="*/ 20811 h 227999"/>
                <a:gd name="connsiteX79" fmla="*/ 115134 w 202527"/>
                <a:gd name="connsiteY79" fmla="*/ 23817 h 227999"/>
                <a:gd name="connsiteX80" fmla="*/ 113901 w 202527"/>
                <a:gd name="connsiteY80" fmla="*/ 26840 h 227999"/>
                <a:gd name="connsiteX81" fmla="*/ 109526 w 202527"/>
                <a:gd name="connsiteY81" fmla="*/ 30061 h 227999"/>
                <a:gd name="connsiteX82" fmla="*/ 110496 w 202527"/>
                <a:gd name="connsiteY82" fmla="*/ 32043 h 227999"/>
                <a:gd name="connsiteX83" fmla="*/ 111893 w 202527"/>
                <a:gd name="connsiteY83" fmla="*/ 32483 h 227999"/>
                <a:gd name="connsiteX84" fmla="*/ 116017 w 202527"/>
                <a:gd name="connsiteY84" fmla="*/ 32063 h 227999"/>
                <a:gd name="connsiteX85" fmla="*/ 122547 w 202527"/>
                <a:gd name="connsiteY85" fmla="*/ 34020 h 227999"/>
                <a:gd name="connsiteX86" fmla="*/ 123908 w 202527"/>
                <a:gd name="connsiteY86" fmla="*/ 33410 h 227999"/>
                <a:gd name="connsiteX87" fmla="*/ 129203 w 202527"/>
                <a:gd name="connsiteY87" fmla="*/ 28895 h 227999"/>
                <a:gd name="connsiteX88" fmla="*/ 131319 w 202527"/>
                <a:gd name="connsiteY88" fmla="*/ 27925 h 227999"/>
                <a:gd name="connsiteX89" fmla="*/ 138285 w 202527"/>
                <a:gd name="connsiteY89" fmla="*/ 27230 h 227999"/>
                <a:gd name="connsiteX90" fmla="*/ 139552 w 202527"/>
                <a:gd name="connsiteY90" fmla="*/ 25479 h 227999"/>
                <a:gd name="connsiteX91" fmla="*/ 142375 w 202527"/>
                <a:gd name="connsiteY91" fmla="*/ 23717 h 227999"/>
                <a:gd name="connsiteX92" fmla="*/ 144193 w 202527"/>
                <a:gd name="connsiteY92" fmla="*/ 21791 h 227999"/>
                <a:gd name="connsiteX93" fmla="*/ 148546 w 202527"/>
                <a:gd name="connsiteY93" fmla="*/ 18120 h 227999"/>
                <a:gd name="connsiteX94" fmla="*/ 153051 w 202527"/>
                <a:gd name="connsiteY94" fmla="*/ 18782 h 227999"/>
                <a:gd name="connsiteX95" fmla="*/ 155681 w 202527"/>
                <a:gd name="connsiteY95" fmla="*/ 19485 h 227999"/>
                <a:gd name="connsiteX96" fmla="*/ 158568 w 202527"/>
                <a:gd name="connsiteY96" fmla="*/ 19839 h 227999"/>
                <a:gd name="connsiteX97" fmla="*/ 161196 w 202527"/>
                <a:gd name="connsiteY97" fmla="*/ 23749 h 227999"/>
                <a:gd name="connsiteX98" fmla="*/ 167843 w 202527"/>
                <a:gd name="connsiteY98" fmla="*/ 28064 h 227999"/>
                <a:gd name="connsiteX99" fmla="*/ 173950 w 202527"/>
                <a:gd name="connsiteY99" fmla="*/ 27689 h 227999"/>
                <a:gd name="connsiteX100" fmla="*/ 176117 w 202527"/>
                <a:gd name="connsiteY100" fmla="*/ 31764 h 227999"/>
                <a:gd name="connsiteX101" fmla="*/ 177074 w 202527"/>
                <a:gd name="connsiteY101" fmla="*/ 36785 h 227999"/>
                <a:gd name="connsiteX102" fmla="*/ 178950 w 202527"/>
                <a:gd name="connsiteY102" fmla="*/ 38358 h 227999"/>
                <a:gd name="connsiteX103" fmla="*/ 180600 w 202527"/>
                <a:gd name="connsiteY103" fmla="*/ 39385 h 227999"/>
                <a:gd name="connsiteX104" fmla="*/ 185576 w 202527"/>
                <a:gd name="connsiteY104" fmla="*/ 40460 h 227999"/>
                <a:gd name="connsiteX105" fmla="*/ 185772 w 202527"/>
                <a:gd name="connsiteY105" fmla="*/ 40528 h 227999"/>
                <a:gd name="connsiteX106" fmla="*/ 185932 w 202527"/>
                <a:gd name="connsiteY106" fmla="*/ 41208 h 227999"/>
                <a:gd name="connsiteX107" fmla="*/ 186236 w 202527"/>
                <a:gd name="connsiteY107" fmla="*/ 43696 h 227999"/>
                <a:gd name="connsiteX108" fmla="*/ 186653 w 202527"/>
                <a:gd name="connsiteY108" fmla="*/ 45757 h 227999"/>
                <a:gd name="connsiteX109" fmla="*/ 189214 w 202527"/>
                <a:gd name="connsiteY109" fmla="*/ 53974 h 227999"/>
                <a:gd name="connsiteX110" fmla="*/ 189165 w 202527"/>
                <a:gd name="connsiteY110" fmla="*/ 55979 h 227999"/>
                <a:gd name="connsiteX111" fmla="*/ 189134 w 202527"/>
                <a:gd name="connsiteY111" fmla="*/ 56511 h 227999"/>
                <a:gd name="connsiteX112" fmla="*/ 188197 w 202527"/>
                <a:gd name="connsiteY112" fmla="*/ 59315 h 227999"/>
                <a:gd name="connsiteX113" fmla="*/ 186530 w 202527"/>
                <a:gd name="connsiteY113" fmla="*/ 61677 h 227999"/>
                <a:gd name="connsiteX114" fmla="*/ 184330 w 202527"/>
                <a:gd name="connsiteY114" fmla="*/ 63008 h 227999"/>
                <a:gd name="connsiteX115" fmla="*/ 183118 w 202527"/>
                <a:gd name="connsiteY115" fmla="*/ 64488 h 227999"/>
                <a:gd name="connsiteX116" fmla="*/ 182891 w 202527"/>
                <a:gd name="connsiteY116" fmla="*/ 66122 h 227999"/>
                <a:gd name="connsiteX117" fmla="*/ 185658 w 202527"/>
                <a:gd name="connsiteY117" fmla="*/ 68981 h 227999"/>
                <a:gd name="connsiteX118" fmla="*/ 191414 w 202527"/>
                <a:gd name="connsiteY118" fmla="*/ 73066 h 227999"/>
                <a:gd name="connsiteX119" fmla="*/ 193744 w 202527"/>
                <a:gd name="connsiteY119" fmla="*/ 76554 h 227999"/>
                <a:gd name="connsiteX120" fmla="*/ 192645 w 202527"/>
                <a:gd name="connsiteY120" fmla="*/ 79452 h 227999"/>
                <a:gd name="connsiteX121" fmla="*/ 192311 w 202527"/>
                <a:gd name="connsiteY121" fmla="*/ 81575 h 227999"/>
                <a:gd name="connsiteX122" fmla="*/ 192738 w 202527"/>
                <a:gd name="connsiteY122" fmla="*/ 82926 h 227999"/>
                <a:gd name="connsiteX123" fmla="*/ 193660 w 202527"/>
                <a:gd name="connsiteY123" fmla="*/ 84010 h 227999"/>
                <a:gd name="connsiteX124" fmla="*/ 195081 w 202527"/>
                <a:gd name="connsiteY124" fmla="*/ 84830 h 227999"/>
                <a:gd name="connsiteX125" fmla="*/ 195645 w 202527"/>
                <a:gd name="connsiteY125" fmla="*/ 86091 h 227999"/>
                <a:gd name="connsiteX126" fmla="*/ 195358 w 202527"/>
                <a:gd name="connsiteY126" fmla="*/ 87793 h 227999"/>
                <a:gd name="connsiteX127" fmla="*/ 195627 w 202527"/>
                <a:gd name="connsiteY127" fmla="*/ 88973 h 227999"/>
                <a:gd name="connsiteX128" fmla="*/ 196688 w 202527"/>
                <a:gd name="connsiteY128" fmla="*/ 89813 h 227999"/>
                <a:gd name="connsiteX129" fmla="*/ 196590 w 202527"/>
                <a:gd name="connsiteY129" fmla="*/ 90139 h 227999"/>
                <a:gd name="connsiteX130" fmla="*/ 196075 w 202527"/>
                <a:gd name="connsiteY130" fmla="*/ 91321 h 227999"/>
                <a:gd name="connsiteX131" fmla="*/ 195370 w 202527"/>
                <a:gd name="connsiteY131" fmla="*/ 93475 h 227999"/>
                <a:gd name="connsiteX132" fmla="*/ 194971 w 202527"/>
                <a:gd name="connsiteY132" fmla="*/ 95046 h 227999"/>
                <a:gd name="connsiteX133" fmla="*/ 193351 w 202527"/>
                <a:gd name="connsiteY133" fmla="*/ 97185 h 227999"/>
                <a:gd name="connsiteX134" fmla="*/ 193844 w 202527"/>
                <a:gd name="connsiteY134" fmla="*/ 99001 h 227999"/>
                <a:gd name="connsiteX135" fmla="*/ 195113 w 202527"/>
                <a:gd name="connsiteY135" fmla="*/ 101141 h 227999"/>
                <a:gd name="connsiteX136" fmla="*/ 196077 w 202527"/>
                <a:gd name="connsiteY136" fmla="*/ 102216 h 227999"/>
                <a:gd name="connsiteX137" fmla="*/ 196381 w 202527"/>
                <a:gd name="connsiteY137" fmla="*/ 103234 h 227999"/>
                <a:gd name="connsiteX138" fmla="*/ 195768 w 202527"/>
                <a:gd name="connsiteY138" fmla="*/ 105653 h 227999"/>
                <a:gd name="connsiteX139" fmla="*/ 196072 w 202527"/>
                <a:gd name="connsiteY139" fmla="*/ 106271 h 227999"/>
                <a:gd name="connsiteX140" fmla="*/ 200080 w 202527"/>
                <a:gd name="connsiteY140" fmla="*/ 108051 h 227999"/>
                <a:gd name="connsiteX141" fmla="*/ 200734 w 202527"/>
                <a:gd name="connsiteY141" fmla="*/ 108872 h 227999"/>
                <a:gd name="connsiteX142" fmla="*/ 201123 w 202527"/>
                <a:gd name="connsiteY142" fmla="*/ 110581 h 227999"/>
                <a:gd name="connsiteX143" fmla="*/ 202527 w 202527"/>
                <a:gd name="connsiteY143" fmla="*/ 114229 h 227999"/>
                <a:gd name="connsiteX144" fmla="*/ 201361 w 202527"/>
                <a:gd name="connsiteY144" fmla="*/ 118843 h 227999"/>
                <a:gd name="connsiteX145" fmla="*/ 200335 w 202527"/>
                <a:gd name="connsiteY145" fmla="*/ 121367 h 227999"/>
                <a:gd name="connsiteX146" fmla="*/ 198052 w 202527"/>
                <a:gd name="connsiteY146" fmla="*/ 125369 h 227999"/>
                <a:gd name="connsiteX147" fmla="*/ 197945 w 202527"/>
                <a:gd name="connsiteY147" fmla="*/ 125738 h 227999"/>
                <a:gd name="connsiteX148" fmla="*/ 197681 w 202527"/>
                <a:gd name="connsiteY148" fmla="*/ 126224 h 227999"/>
                <a:gd name="connsiteX149" fmla="*/ 196997 w 202527"/>
                <a:gd name="connsiteY149" fmla="*/ 126924 h 227999"/>
                <a:gd name="connsiteX150" fmla="*/ 196042 w 202527"/>
                <a:gd name="connsiteY150" fmla="*/ 127029 h 227999"/>
                <a:gd name="connsiteX151" fmla="*/ 194602 w 202527"/>
                <a:gd name="connsiteY151" fmla="*/ 126507 h 227999"/>
                <a:gd name="connsiteX152" fmla="*/ 193615 w 202527"/>
                <a:gd name="connsiteY152" fmla="*/ 125838 h 227999"/>
                <a:gd name="connsiteX153" fmla="*/ 193842 w 202527"/>
                <a:gd name="connsiteY153" fmla="*/ 124112 h 227999"/>
                <a:gd name="connsiteX154" fmla="*/ 193209 w 202527"/>
                <a:gd name="connsiteY154" fmla="*/ 123999 h 227999"/>
                <a:gd name="connsiteX155" fmla="*/ 192423 w 202527"/>
                <a:gd name="connsiteY155" fmla="*/ 122939 h 227999"/>
                <a:gd name="connsiteX156" fmla="*/ 192114 w 202527"/>
                <a:gd name="connsiteY156" fmla="*/ 121799 h 227999"/>
                <a:gd name="connsiteX157" fmla="*/ 191266 w 202527"/>
                <a:gd name="connsiteY157" fmla="*/ 121334 h 227999"/>
                <a:gd name="connsiteX158" fmla="*/ 188169 w 202527"/>
                <a:gd name="connsiteY158" fmla="*/ 120855 h 227999"/>
                <a:gd name="connsiteX159" fmla="*/ 187117 w 202527"/>
                <a:gd name="connsiteY159" fmla="*/ 120518 h 227999"/>
                <a:gd name="connsiteX160" fmla="*/ 186310 w 202527"/>
                <a:gd name="connsiteY160" fmla="*/ 120761 h 227999"/>
                <a:gd name="connsiteX161" fmla="*/ 185705 w 202527"/>
                <a:gd name="connsiteY161" fmla="*/ 121568 h 227999"/>
                <a:gd name="connsiteX162" fmla="*/ 186091 w 202527"/>
                <a:gd name="connsiteY162" fmla="*/ 122297 h 227999"/>
                <a:gd name="connsiteX163" fmla="*/ 186668 w 202527"/>
                <a:gd name="connsiteY163" fmla="*/ 123007 h 227999"/>
                <a:gd name="connsiteX164" fmla="*/ 188385 w 202527"/>
                <a:gd name="connsiteY164" fmla="*/ 124132 h 227999"/>
                <a:gd name="connsiteX165" fmla="*/ 188208 w 202527"/>
                <a:gd name="connsiteY165" fmla="*/ 124579 h 227999"/>
                <a:gd name="connsiteX166" fmla="*/ 184509 w 202527"/>
                <a:gd name="connsiteY166" fmla="*/ 125673 h 227999"/>
                <a:gd name="connsiteX167" fmla="*/ 182181 w 202527"/>
                <a:gd name="connsiteY167" fmla="*/ 126795 h 227999"/>
                <a:gd name="connsiteX168" fmla="*/ 180013 w 202527"/>
                <a:gd name="connsiteY168" fmla="*/ 127425 h 227999"/>
                <a:gd name="connsiteX169" fmla="*/ 177804 w 202527"/>
                <a:gd name="connsiteY169" fmla="*/ 128586 h 227999"/>
                <a:gd name="connsiteX170" fmla="*/ 173444 w 202527"/>
                <a:gd name="connsiteY170" fmla="*/ 129889 h 227999"/>
                <a:gd name="connsiteX171" fmla="*/ 170246 w 202527"/>
                <a:gd name="connsiteY171" fmla="*/ 130235 h 227999"/>
                <a:gd name="connsiteX172" fmla="*/ 169579 w 202527"/>
                <a:gd name="connsiteY172" fmla="*/ 130579 h 227999"/>
                <a:gd name="connsiteX173" fmla="*/ 168385 w 202527"/>
                <a:gd name="connsiteY173" fmla="*/ 132786 h 227999"/>
                <a:gd name="connsiteX174" fmla="*/ 167579 w 202527"/>
                <a:gd name="connsiteY174" fmla="*/ 133247 h 227999"/>
                <a:gd name="connsiteX175" fmla="*/ 166806 w 202527"/>
                <a:gd name="connsiteY175" fmla="*/ 133008 h 227999"/>
                <a:gd name="connsiteX176" fmla="*/ 166219 w 202527"/>
                <a:gd name="connsiteY176" fmla="*/ 132647 h 227999"/>
                <a:gd name="connsiteX177" fmla="*/ 165476 w 202527"/>
                <a:gd name="connsiteY177" fmla="*/ 132946 h 227999"/>
                <a:gd name="connsiteX178" fmla="*/ 164703 w 202527"/>
                <a:gd name="connsiteY178" fmla="*/ 133676 h 227999"/>
                <a:gd name="connsiteX179" fmla="*/ 163895 w 202527"/>
                <a:gd name="connsiteY179" fmla="*/ 133964 h 227999"/>
                <a:gd name="connsiteX180" fmla="*/ 163191 w 202527"/>
                <a:gd name="connsiteY180" fmla="*/ 133954 h 227999"/>
                <a:gd name="connsiteX181" fmla="*/ 161941 w 202527"/>
                <a:gd name="connsiteY181" fmla="*/ 135879 h 227999"/>
                <a:gd name="connsiteX182" fmla="*/ 158298 w 202527"/>
                <a:gd name="connsiteY182" fmla="*/ 136463 h 227999"/>
                <a:gd name="connsiteX183" fmla="*/ 157871 w 202527"/>
                <a:gd name="connsiteY183" fmla="*/ 137460 h 227999"/>
                <a:gd name="connsiteX184" fmla="*/ 157201 w 202527"/>
                <a:gd name="connsiteY184" fmla="*/ 138616 h 227999"/>
                <a:gd name="connsiteX185" fmla="*/ 156668 w 202527"/>
                <a:gd name="connsiteY185" fmla="*/ 138899 h 227999"/>
                <a:gd name="connsiteX186" fmla="*/ 155022 w 202527"/>
                <a:gd name="connsiteY186" fmla="*/ 138441 h 227999"/>
                <a:gd name="connsiteX187" fmla="*/ 152749 w 202527"/>
                <a:gd name="connsiteY187" fmla="*/ 138188 h 227999"/>
                <a:gd name="connsiteX188" fmla="*/ 151444 w 202527"/>
                <a:gd name="connsiteY188" fmla="*/ 138821 h 227999"/>
                <a:gd name="connsiteX189" fmla="*/ 149877 w 202527"/>
                <a:gd name="connsiteY189" fmla="*/ 139171 h 227999"/>
                <a:gd name="connsiteX190" fmla="*/ 147964 w 202527"/>
                <a:gd name="connsiteY190" fmla="*/ 139277 h 227999"/>
                <a:gd name="connsiteX191" fmla="*/ 145832 w 202527"/>
                <a:gd name="connsiteY191" fmla="*/ 140541 h 227999"/>
                <a:gd name="connsiteX192" fmla="*/ 143753 w 202527"/>
                <a:gd name="connsiteY192" fmla="*/ 142759 h 227999"/>
                <a:gd name="connsiteX193" fmla="*/ 142582 w 202527"/>
                <a:gd name="connsiteY193" fmla="*/ 144714 h 227999"/>
                <a:gd name="connsiteX194" fmla="*/ 141956 w 202527"/>
                <a:gd name="connsiteY194" fmla="*/ 145416 h 227999"/>
                <a:gd name="connsiteX195" fmla="*/ 140935 w 202527"/>
                <a:gd name="connsiteY195" fmla="*/ 143581 h 227999"/>
                <a:gd name="connsiteX196" fmla="*/ 139688 w 202527"/>
                <a:gd name="connsiteY196" fmla="*/ 142321 h 227999"/>
                <a:gd name="connsiteX197" fmla="*/ 138806 w 202527"/>
                <a:gd name="connsiteY197" fmla="*/ 141667 h 227999"/>
                <a:gd name="connsiteX198" fmla="*/ 138017 w 202527"/>
                <a:gd name="connsiteY198" fmla="*/ 141666 h 227999"/>
                <a:gd name="connsiteX199" fmla="*/ 137810 w 202527"/>
                <a:gd name="connsiteY199" fmla="*/ 141934 h 227999"/>
                <a:gd name="connsiteX200" fmla="*/ 137808 w 202527"/>
                <a:gd name="connsiteY200" fmla="*/ 142895 h 227999"/>
                <a:gd name="connsiteX201" fmla="*/ 138650 w 202527"/>
                <a:gd name="connsiteY201" fmla="*/ 144491 h 227999"/>
                <a:gd name="connsiteX202" fmla="*/ 139693 w 202527"/>
                <a:gd name="connsiteY202" fmla="*/ 145579 h 227999"/>
                <a:gd name="connsiteX203" fmla="*/ 139859 w 202527"/>
                <a:gd name="connsiteY203" fmla="*/ 146382 h 227999"/>
                <a:gd name="connsiteX204" fmla="*/ 140418 w 202527"/>
                <a:gd name="connsiteY204" fmla="*/ 147843 h 227999"/>
                <a:gd name="connsiteX205" fmla="*/ 141936 w 202527"/>
                <a:gd name="connsiteY205" fmla="*/ 149437 h 227999"/>
                <a:gd name="connsiteX206" fmla="*/ 144318 w 202527"/>
                <a:gd name="connsiteY206" fmla="*/ 150700 h 227999"/>
                <a:gd name="connsiteX207" fmla="*/ 145942 w 202527"/>
                <a:gd name="connsiteY207" fmla="*/ 151943 h 227999"/>
                <a:gd name="connsiteX208" fmla="*/ 147145 w 202527"/>
                <a:gd name="connsiteY208" fmla="*/ 153665 h 227999"/>
                <a:gd name="connsiteX209" fmla="*/ 147156 w 202527"/>
                <a:gd name="connsiteY209" fmla="*/ 154194 h 227999"/>
                <a:gd name="connsiteX210" fmla="*/ 146825 w 202527"/>
                <a:gd name="connsiteY210" fmla="*/ 154897 h 227999"/>
                <a:gd name="connsiteX211" fmla="*/ 146257 w 202527"/>
                <a:gd name="connsiteY211" fmla="*/ 155559 h 227999"/>
                <a:gd name="connsiteX212" fmla="*/ 145778 w 202527"/>
                <a:gd name="connsiteY212" fmla="*/ 156421 h 227999"/>
                <a:gd name="connsiteX213" fmla="*/ 144459 w 202527"/>
                <a:gd name="connsiteY213" fmla="*/ 158163 h 227999"/>
                <a:gd name="connsiteX214" fmla="*/ 144849 w 202527"/>
                <a:gd name="connsiteY214" fmla="*/ 158924 h 227999"/>
                <a:gd name="connsiteX215" fmla="*/ 145929 w 202527"/>
                <a:gd name="connsiteY215" fmla="*/ 159885 h 227999"/>
                <a:gd name="connsiteX216" fmla="*/ 146886 w 202527"/>
                <a:gd name="connsiteY216" fmla="*/ 161038 h 227999"/>
                <a:gd name="connsiteX217" fmla="*/ 148112 w 202527"/>
                <a:gd name="connsiteY217" fmla="*/ 162901 h 227999"/>
                <a:gd name="connsiteX218" fmla="*/ 149799 w 202527"/>
                <a:gd name="connsiteY218" fmla="*/ 166162 h 227999"/>
                <a:gd name="connsiteX219" fmla="*/ 150885 w 202527"/>
                <a:gd name="connsiteY219" fmla="*/ 167503 h 227999"/>
                <a:gd name="connsiteX220" fmla="*/ 152360 w 202527"/>
                <a:gd name="connsiteY220" fmla="*/ 168887 h 227999"/>
                <a:gd name="connsiteX221" fmla="*/ 153809 w 202527"/>
                <a:gd name="connsiteY221" fmla="*/ 169943 h 227999"/>
                <a:gd name="connsiteX222" fmla="*/ 156093 w 202527"/>
                <a:gd name="connsiteY222" fmla="*/ 169911 h 227999"/>
                <a:gd name="connsiteX223" fmla="*/ 158460 w 202527"/>
                <a:gd name="connsiteY223" fmla="*/ 171925 h 227999"/>
                <a:gd name="connsiteX224" fmla="*/ 161043 w 202527"/>
                <a:gd name="connsiteY224" fmla="*/ 174835 h 227999"/>
                <a:gd name="connsiteX225" fmla="*/ 162973 w 202527"/>
                <a:gd name="connsiteY225" fmla="*/ 176169 h 227999"/>
                <a:gd name="connsiteX226" fmla="*/ 164321 w 202527"/>
                <a:gd name="connsiteY226" fmla="*/ 176575 h 227999"/>
                <a:gd name="connsiteX227" fmla="*/ 165433 w 202527"/>
                <a:gd name="connsiteY227" fmla="*/ 177622 h 227999"/>
                <a:gd name="connsiteX228" fmla="*/ 166420 w 202527"/>
                <a:gd name="connsiteY228" fmla="*/ 179127 h 227999"/>
                <a:gd name="connsiteX229" fmla="*/ 166806 w 202527"/>
                <a:gd name="connsiteY229" fmla="*/ 179997 h 227999"/>
                <a:gd name="connsiteX230" fmla="*/ 167681 w 202527"/>
                <a:gd name="connsiteY230" fmla="*/ 180625 h 227999"/>
                <a:gd name="connsiteX231" fmla="*/ 170045 w 202527"/>
                <a:gd name="connsiteY231" fmla="*/ 180508 h 227999"/>
                <a:gd name="connsiteX232" fmla="*/ 173081 w 202527"/>
                <a:gd name="connsiteY232" fmla="*/ 182873 h 227999"/>
                <a:gd name="connsiteX233" fmla="*/ 174960 w 202527"/>
                <a:gd name="connsiteY233" fmla="*/ 184603 h 227999"/>
                <a:gd name="connsiteX234" fmla="*/ 175951 w 202527"/>
                <a:gd name="connsiteY234" fmla="*/ 185999 h 227999"/>
                <a:gd name="connsiteX235" fmla="*/ 175690 w 202527"/>
                <a:gd name="connsiteY235" fmla="*/ 186552 h 227999"/>
                <a:gd name="connsiteX236" fmla="*/ 175569 w 202527"/>
                <a:gd name="connsiteY236" fmla="*/ 188289 h 227999"/>
                <a:gd name="connsiteX237" fmla="*/ 175599 w 202527"/>
                <a:gd name="connsiteY237" fmla="*/ 190129 h 227999"/>
                <a:gd name="connsiteX238" fmla="*/ 175301 w 202527"/>
                <a:gd name="connsiteY238" fmla="*/ 191102 h 227999"/>
                <a:gd name="connsiteX239" fmla="*/ 173943 w 202527"/>
                <a:gd name="connsiteY239" fmla="*/ 192382 h 227999"/>
                <a:gd name="connsiteX240" fmla="*/ 173241 w 202527"/>
                <a:gd name="connsiteY240" fmla="*/ 192654 h 227999"/>
                <a:gd name="connsiteX241" fmla="*/ 172866 w 202527"/>
                <a:gd name="connsiteY241" fmla="*/ 192930 h 227999"/>
                <a:gd name="connsiteX242" fmla="*/ 168696 w 202527"/>
                <a:gd name="connsiteY242" fmla="*/ 191261 h 227999"/>
                <a:gd name="connsiteX243" fmla="*/ 168365 w 202527"/>
                <a:gd name="connsiteY243" fmla="*/ 191546 h 227999"/>
                <a:gd name="connsiteX244" fmla="*/ 168104 w 202527"/>
                <a:gd name="connsiteY244" fmla="*/ 191752 h 227999"/>
                <a:gd name="connsiteX245" fmla="*/ 166988 w 202527"/>
                <a:gd name="connsiteY245" fmla="*/ 196586 h 227999"/>
                <a:gd name="connsiteX246" fmla="*/ 166219 w 202527"/>
                <a:gd name="connsiteY246" fmla="*/ 197514 h 227999"/>
                <a:gd name="connsiteX247" fmla="*/ 165074 w 202527"/>
                <a:gd name="connsiteY247" fmla="*/ 198368 h 227999"/>
                <a:gd name="connsiteX248" fmla="*/ 162695 w 202527"/>
                <a:gd name="connsiteY248" fmla="*/ 199199 h 227999"/>
                <a:gd name="connsiteX249" fmla="*/ 161041 w 202527"/>
                <a:gd name="connsiteY249" fmla="*/ 199537 h 227999"/>
                <a:gd name="connsiteX250" fmla="*/ 159752 w 202527"/>
                <a:gd name="connsiteY250" fmla="*/ 199958 h 227999"/>
                <a:gd name="connsiteX251" fmla="*/ 155668 w 202527"/>
                <a:gd name="connsiteY251" fmla="*/ 201977 h 227999"/>
                <a:gd name="connsiteX252" fmla="*/ 153828 w 202527"/>
                <a:gd name="connsiteY252" fmla="*/ 203189 h 227999"/>
                <a:gd name="connsiteX253" fmla="*/ 152636 w 202527"/>
                <a:gd name="connsiteY253" fmla="*/ 204711 h 227999"/>
                <a:gd name="connsiteX254" fmla="*/ 152630 w 202527"/>
                <a:gd name="connsiteY254" fmla="*/ 205587 h 227999"/>
                <a:gd name="connsiteX255" fmla="*/ 154616 w 202527"/>
                <a:gd name="connsiteY255" fmla="*/ 208160 h 227999"/>
                <a:gd name="connsiteX256" fmla="*/ 156908 w 202527"/>
                <a:gd name="connsiteY256" fmla="*/ 210815 h 227999"/>
                <a:gd name="connsiteX257" fmla="*/ 156923 w 202527"/>
                <a:gd name="connsiteY257" fmla="*/ 213149 h 227999"/>
                <a:gd name="connsiteX258" fmla="*/ 155908 w 202527"/>
                <a:gd name="connsiteY258" fmla="*/ 214893 h 227999"/>
                <a:gd name="connsiteX259" fmla="*/ 155672 w 202527"/>
                <a:gd name="connsiteY259" fmla="*/ 215567 h 227999"/>
                <a:gd name="connsiteX260" fmla="*/ 156346 w 202527"/>
                <a:gd name="connsiteY260" fmla="*/ 215820 h 227999"/>
                <a:gd name="connsiteX261" fmla="*/ 157616 w 202527"/>
                <a:gd name="connsiteY261" fmla="*/ 215917 h 227999"/>
                <a:gd name="connsiteX262" fmla="*/ 158678 w 202527"/>
                <a:gd name="connsiteY262" fmla="*/ 216217 h 227999"/>
                <a:gd name="connsiteX263" fmla="*/ 159132 w 202527"/>
                <a:gd name="connsiteY263" fmla="*/ 217443 h 227999"/>
                <a:gd name="connsiteX264" fmla="*/ 158996 w 202527"/>
                <a:gd name="connsiteY264" fmla="*/ 219578 h 227999"/>
                <a:gd name="connsiteX265" fmla="*/ 158633 w 202527"/>
                <a:gd name="connsiteY265" fmla="*/ 221575 h 227999"/>
                <a:gd name="connsiteX266" fmla="*/ 158253 w 202527"/>
                <a:gd name="connsiteY266" fmla="*/ 222415 h 227999"/>
                <a:gd name="connsiteX267" fmla="*/ 157229 w 202527"/>
                <a:gd name="connsiteY267" fmla="*/ 222482 h 227999"/>
                <a:gd name="connsiteX268" fmla="*/ 155258 w 202527"/>
                <a:gd name="connsiteY268" fmla="*/ 221619 h 227999"/>
                <a:gd name="connsiteX269" fmla="*/ 153720 w 202527"/>
                <a:gd name="connsiteY269" fmla="*/ 220616 h 227999"/>
                <a:gd name="connsiteX270" fmla="*/ 153133 w 202527"/>
                <a:gd name="connsiteY270" fmla="*/ 219999 h 227999"/>
                <a:gd name="connsiteX271" fmla="*/ 153096 w 202527"/>
                <a:gd name="connsiteY271" fmla="*/ 219261 h 227999"/>
                <a:gd name="connsiteX272" fmla="*/ 153429 w 202527"/>
                <a:gd name="connsiteY272" fmla="*/ 218795 h 227999"/>
                <a:gd name="connsiteX273" fmla="*/ 152880 w 202527"/>
                <a:gd name="connsiteY273" fmla="*/ 217885 h 227999"/>
                <a:gd name="connsiteX274" fmla="*/ 150989 w 202527"/>
                <a:gd name="connsiteY274" fmla="*/ 217044 h 227999"/>
                <a:gd name="connsiteX275" fmla="*/ 148963 w 202527"/>
                <a:gd name="connsiteY275" fmla="*/ 217410 h 227999"/>
                <a:gd name="connsiteX276" fmla="*/ 147467 w 202527"/>
                <a:gd name="connsiteY276" fmla="*/ 217977 h 227999"/>
                <a:gd name="connsiteX277" fmla="*/ 146502 w 202527"/>
                <a:gd name="connsiteY277" fmla="*/ 217944 h 227999"/>
                <a:gd name="connsiteX278" fmla="*/ 145459 w 202527"/>
                <a:gd name="connsiteY278" fmla="*/ 217134 h 227999"/>
                <a:gd name="connsiteX279" fmla="*/ 143854 w 202527"/>
                <a:gd name="connsiteY279" fmla="*/ 216514 h 227999"/>
                <a:gd name="connsiteX280" fmla="*/ 141757 w 202527"/>
                <a:gd name="connsiteY280" fmla="*/ 216105 h 227999"/>
                <a:gd name="connsiteX281" fmla="*/ 140451 w 202527"/>
                <a:gd name="connsiteY281" fmla="*/ 215668 h 227999"/>
                <a:gd name="connsiteX282" fmla="*/ 140176 w 202527"/>
                <a:gd name="connsiteY282" fmla="*/ 215926 h 227999"/>
                <a:gd name="connsiteX283" fmla="*/ 140330 w 202527"/>
                <a:gd name="connsiteY283" fmla="*/ 217679 h 227999"/>
                <a:gd name="connsiteX284" fmla="*/ 139928 w 202527"/>
                <a:gd name="connsiteY284" fmla="*/ 218444 h 227999"/>
                <a:gd name="connsiteX285" fmla="*/ 129561 w 202527"/>
                <a:gd name="connsiteY285" fmla="*/ 219456 h 227999"/>
                <a:gd name="connsiteX286" fmla="*/ 126402 w 202527"/>
                <a:gd name="connsiteY286" fmla="*/ 220404 h 227999"/>
                <a:gd name="connsiteX287" fmla="*/ 124102 w 202527"/>
                <a:gd name="connsiteY287" fmla="*/ 221629 h 227999"/>
                <a:gd name="connsiteX288" fmla="*/ 122400 w 202527"/>
                <a:gd name="connsiteY288" fmla="*/ 222160 h 227999"/>
                <a:gd name="connsiteX289" fmla="*/ 121984 w 202527"/>
                <a:gd name="connsiteY289" fmla="*/ 222915 h 227999"/>
                <a:gd name="connsiteX290" fmla="*/ 120299 w 202527"/>
                <a:gd name="connsiteY290" fmla="*/ 223906 h 227999"/>
                <a:gd name="connsiteX291" fmla="*/ 118397 w 202527"/>
                <a:gd name="connsiteY291" fmla="*/ 224223 h 227999"/>
                <a:gd name="connsiteX292" fmla="*/ 117939 w 202527"/>
                <a:gd name="connsiteY292" fmla="*/ 223898 h 227999"/>
                <a:gd name="connsiteX293" fmla="*/ 116719 w 202527"/>
                <a:gd name="connsiteY293" fmla="*/ 224356 h 227999"/>
                <a:gd name="connsiteX294" fmla="*/ 114640 w 202527"/>
                <a:gd name="connsiteY294" fmla="*/ 224797 h 227999"/>
                <a:gd name="connsiteX295" fmla="*/ 113288 w 202527"/>
                <a:gd name="connsiteY295" fmla="*/ 224657 h 227999"/>
                <a:gd name="connsiteX296" fmla="*/ 112653 w 202527"/>
                <a:gd name="connsiteY296" fmla="*/ 223856 h 227999"/>
                <a:gd name="connsiteX297" fmla="*/ 111366 w 202527"/>
                <a:gd name="connsiteY297" fmla="*/ 222629 h 227999"/>
                <a:gd name="connsiteX298" fmla="*/ 110850 w 202527"/>
                <a:gd name="connsiteY298" fmla="*/ 221778 h 227999"/>
                <a:gd name="connsiteX299" fmla="*/ 110904 w 202527"/>
                <a:gd name="connsiteY299" fmla="*/ 221233 h 227999"/>
                <a:gd name="connsiteX300" fmla="*/ 107997 w 202527"/>
                <a:gd name="connsiteY300" fmla="*/ 221123 h 227999"/>
                <a:gd name="connsiteX301" fmla="*/ 106164 w 202527"/>
                <a:gd name="connsiteY301" fmla="*/ 220475 h 227999"/>
                <a:gd name="connsiteX302" fmla="*/ 102275 w 202527"/>
                <a:gd name="connsiteY302" fmla="*/ 220627 h 227999"/>
                <a:gd name="connsiteX303" fmla="*/ 101316 w 202527"/>
                <a:gd name="connsiteY303" fmla="*/ 220353 h 227999"/>
                <a:gd name="connsiteX304" fmla="*/ 101116 w 202527"/>
                <a:gd name="connsiteY304" fmla="*/ 220647 h 227999"/>
                <a:gd name="connsiteX305" fmla="*/ 100530 w 202527"/>
                <a:gd name="connsiteY305" fmla="*/ 224128 h 227999"/>
                <a:gd name="connsiteX306" fmla="*/ 99761 w 202527"/>
                <a:gd name="connsiteY306" fmla="*/ 225556 h 227999"/>
                <a:gd name="connsiteX307" fmla="*/ 98515 w 202527"/>
                <a:gd name="connsiteY307" fmla="*/ 227030 h 227999"/>
                <a:gd name="connsiteX308" fmla="*/ 96920 w 202527"/>
                <a:gd name="connsiteY308" fmla="*/ 227850 h 227999"/>
                <a:gd name="connsiteX309" fmla="*/ 95646 w 202527"/>
                <a:gd name="connsiteY309" fmla="*/ 227999 h 227999"/>
                <a:gd name="connsiteX310" fmla="*/ 95706 w 202527"/>
                <a:gd name="connsiteY310" fmla="*/ 226925 h 227999"/>
                <a:gd name="connsiteX311" fmla="*/ 96028 w 202527"/>
                <a:gd name="connsiteY311" fmla="*/ 225630 h 227999"/>
                <a:gd name="connsiteX312" fmla="*/ 95110 w 202527"/>
                <a:gd name="connsiteY312" fmla="*/ 225326 h 227999"/>
                <a:gd name="connsiteX313" fmla="*/ 93732 w 202527"/>
                <a:gd name="connsiteY313" fmla="*/ 225177 h 227999"/>
                <a:gd name="connsiteX314" fmla="*/ 93065 w 202527"/>
                <a:gd name="connsiteY314" fmla="*/ 224791 h 227999"/>
                <a:gd name="connsiteX315" fmla="*/ 93240 w 202527"/>
                <a:gd name="connsiteY315" fmla="*/ 223805 h 227999"/>
                <a:gd name="connsiteX316" fmla="*/ 92923 w 202527"/>
                <a:gd name="connsiteY316" fmla="*/ 223229 h 227999"/>
                <a:gd name="connsiteX317" fmla="*/ 92353 w 202527"/>
                <a:gd name="connsiteY317" fmla="*/ 222541 h 227999"/>
                <a:gd name="connsiteX318" fmla="*/ 90971 w 202527"/>
                <a:gd name="connsiteY318" fmla="*/ 221651 h 227999"/>
                <a:gd name="connsiteX319" fmla="*/ 88042 w 202527"/>
                <a:gd name="connsiteY319" fmla="*/ 220332 h 227999"/>
                <a:gd name="connsiteX320" fmla="*/ 86047 w 202527"/>
                <a:gd name="connsiteY320" fmla="*/ 219680 h 227999"/>
                <a:gd name="connsiteX321" fmla="*/ 85300 w 202527"/>
                <a:gd name="connsiteY321" fmla="*/ 220374 h 227999"/>
                <a:gd name="connsiteX322" fmla="*/ 83873 w 202527"/>
                <a:gd name="connsiteY322" fmla="*/ 221074 h 227999"/>
                <a:gd name="connsiteX323" fmla="*/ 81625 w 202527"/>
                <a:gd name="connsiteY323" fmla="*/ 220845 h 227999"/>
                <a:gd name="connsiteX324" fmla="*/ 81074 w 202527"/>
                <a:gd name="connsiteY324" fmla="*/ 221120 h 227999"/>
                <a:gd name="connsiteX325" fmla="*/ 77226 w 202527"/>
                <a:gd name="connsiteY325" fmla="*/ 219023 h 227999"/>
                <a:gd name="connsiteX326" fmla="*/ 73529 w 202527"/>
                <a:gd name="connsiteY326" fmla="*/ 217005 h 227999"/>
                <a:gd name="connsiteX327" fmla="*/ 72307 w 202527"/>
                <a:gd name="connsiteY327" fmla="*/ 217005 h 227999"/>
                <a:gd name="connsiteX328" fmla="*/ 66859 w 202527"/>
                <a:gd name="connsiteY328" fmla="*/ 217408 h 227999"/>
                <a:gd name="connsiteX329" fmla="*/ 66701 w 202527"/>
                <a:gd name="connsiteY329" fmla="*/ 217230 h 227999"/>
                <a:gd name="connsiteX330" fmla="*/ 65753 w 202527"/>
                <a:gd name="connsiteY330" fmla="*/ 216080 h 227999"/>
                <a:gd name="connsiteX331" fmla="*/ 64911 w 202527"/>
                <a:gd name="connsiteY331" fmla="*/ 215716 h 227999"/>
                <a:gd name="connsiteX332" fmla="*/ 64404 w 202527"/>
                <a:gd name="connsiteY332" fmla="*/ 215903 h 227999"/>
                <a:gd name="connsiteX333" fmla="*/ 64065 w 202527"/>
                <a:gd name="connsiteY333" fmla="*/ 216237 h 227999"/>
                <a:gd name="connsiteX334" fmla="*/ 63480 w 202527"/>
                <a:gd name="connsiteY334" fmla="*/ 216180 h 227999"/>
                <a:gd name="connsiteX335" fmla="*/ 61037 w 202527"/>
                <a:gd name="connsiteY335" fmla="*/ 214322 h 227999"/>
                <a:gd name="connsiteX336" fmla="*/ 60038 w 202527"/>
                <a:gd name="connsiteY336" fmla="*/ 214054 h 227999"/>
                <a:gd name="connsiteX337" fmla="*/ 58649 w 202527"/>
                <a:gd name="connsiteY337" fmla="*/ 214300 h 227999"/>
                <a:gd name="connsiteX338" fmla="*/ 57010 w 202527"/>
                <a:gd name="connsiteY338" fmla="*/ 215300 h 227999"/>
                <a:gd name="connsiteX339" fmla="*/ 56295 w 202527"/>
                <a:gd name="connsiteY339" fmla="*/ 216525 h 227999"/>
                <a:gd name="connsiteX340" fmla="*/ 56513 w 202527"/>
                <a:gd name="connsiteY340" fmla="*/ 217230 h 227999"/>
                <a:gd name="connsiteX341" fmla="*/ 57364 w 202527"/>
                <a:gd name="connsiteY341" fmla="*/ 217537 h 227999"/>
                <a:gd name="connsiteX342" fmla="*/ 59588 w 202527"/>
                <a:gd name="connsiteY342" fmla="*/ 217331 h 227999"/>
                <a:gd name="connsiteX343" fmla="*/ 59914 w 202527"/>
                <a:gd name="connsiteY343" fmla="*/ 217534 h 227999"/>
                <a:gd name="connsiteX344" fmla="*/ 59990 w 202527"/>
                <a:gd name="connsiteY344" fmla="*/ 217930 h 227999"/>
                <a:gd name="connsiteX345" fmla="*/ 59746 w 202527"/>
                <a:gd name="connsiteY345" fmla="*/ 218318 h 227999"/>
                <a:gd name="connsiteX346" fmla="*/ 57937 w 202527"/>
                <a:gd name="connsiteY346" fmla="*/ 218636 h 227999"/>
                <a:gd name="connsiteX347" fmla="*/ 57414 w 202527"/>
                <a:gd name="connsiteY347" fmla="*/ 219099 h 227999"/>
                <a:gd name="connsiteX348" fmla="*/ 56885 w 202527"/>
                <a:gd name="connsiteY348" fmla="*/ 219213 h 227999"/>
                <a:gd name="connsiteX349" fmla="*/ 56546 w 202527"/>
                <a:gd name="connsiteY349" fmla="*/ 219285 h 227999"/>
                <a:gd name="connsiteX350" fmla="*/ 54624 w 202527"/>
                <a:gd name="connsiteY350" fmla="*/ 218798 h 227999"/>
                <a:gd name="connsiteX351" fmla="*/ 51759 w 202527"/>
                <a:gd name="connsiteY351" fmla="*/ 218798 h 227999"/>
                <a:gd name="connsiteX352" fmla="*/ 49448 w 202527"/>
                <a:gd name="connsiteY352" fmla="*/ 219662 h 227999"/>
                <a:gd name="connsiteX353" fmla="*/ 45762 w 202527"/>
                <a:gd name="connsiteY353" fmla="*/ 220007 h 227999"/>
                <a:gd name="connsiteX354" fmla="*/ 40698 w 202527"/>
                <a:gd name="connsiteY354" fmla="*/ 219838 h 227999"/>
                <a:gd name="connsiteX355" fmla="*/ 38876 w 202527"/>
                <a:gd name="connsiteY355" fmla="*/ 219197 h 227999"/>
                <a:gd name="connsiteX356" fmla="*/ 37766 w 202527"/>
                <a:gd name="connsiteY356" fmla="*/ 218809 h 227999"/>
                <a:gd name="connsiteX357" fmla="*/ 36969 w 202527"/>
                <a:gd name="connsiteY357" fmla="*/ 216916 h 227999"/>
                <a:gd name="connsiteX358" fmla="*/ 37172 w 202527"/>
                <a:gd name="connsiteY358" fmla="*/ 214110 h 227999"/>
                <a:gd name="connsiteX359" fmla="*/ 38381 w 202527"/>
                <a:gd name="connsiteY359" fmla="*/ 210391 h 227999"/>
                <a:gd name="connsiteX360" fmla="*/ 38718 w 202527"/>
                <a:gd name="connsiteY360" fmla="*/ 207658 h 227999"/>
                <a:gd name="connsiteX361" fmla="*/ 38180 w 202527"/>
                <a:gd name="connsiteY361" fmla="*/ 205916 h 227999"/>
                <a:gd name="connsiteX362" fmla="*/ 38897 w 202527"/>
                <a:gd name="connsiteY362" fmla="*/ 203303 h 227999"/>
                <a:gd name="connsiteX363" fmla="*/ 40867 w 202527"/>
                <a:gd name="connsiteY363" fmla="*/ 199818 h 227999"/>
                <a:gd name="connsiteX364" fmla="*/ 42182 w 202527"/>
                <a:gd name="connsiteY364" fmla="*/ 196136 h 227999"/>
                <a:gd name="connsiteX365" fmla="*/ 42838 w 202527"/>
                <a:gd name="connsiteY365" fmla="*/ 192255 h 227999"/>
                <a:gd name="connsiteX366" fmla="*/ 43792 w 202527"/>
                <a:gd name="connsiteY366" fmla="*/ 189722 h 227999"/>
                <a:gd name="connsiteX367" fmla="*/ 45667 w 202527"/>
                <a:gd name="connsiteY367" fmla="*/ 187945 h 227999"/>
                <a:gd name="connsiteX368" fmla="*/ 50117 w 202527"/>
                <a:gd name="connsiteY368" fmla="*/ 182971 h 227999"/>
                <a:gd name="connsiteX369" fmla="*/ 50478 w 202527"/>
                <a:gd name="connsiteY369" fmla="*/ 182596 h 227999"/>
                <a:gd name="connsiteX370" fmla="*/ 50357 w 202527"/>
                <a:gd name="connsiteY370" fmla="*/ 180111 h 227999"/>
                <a:gd name="connsiteX371" fmla="*/ 49158 w 202527"/>
                <a:gd name="connsiteY371" fmla="*/ 179760 h 227999"/>
                <a:gd name="connsiteX372" fmla="*/ 47403 w 202527"/>
                <a:gd name="connsiteY372" fmla="*/ 179046 h 227999"/>
                <a:gd name="connsiteX373" fmla="*/ 42935 w 202527"/>
                <a:gd name="connsiteY373" fmla="*/ 178162 h 227999"/>
                <a:gd name="connsiteX374" fmla="*/ 38772 w 202527"/>
                <a:gd name="connsiteY374" fmla="*/ 177595 h 227999"/>
                <a:gd name="connsiteX375" fmla="*/ 36882 w 202527"/>
                <a:gd name="connsiteY375" fmla="*/ 176892 h 227999"/>
                <a:gd name="connsiteX376" fmla="*/ 35226 w 202527"/>
                <a:gd name="connsiteY376" fmla="*/ 175011 h 227999"/>
                <a:gd name="connsiteX377" fmla="*/ 34200 w 202527"/>
                <a:gd name="connsiteY377" fmla="*/ 174986 h 227999"/>
                <a:gd name="connsiteX378" fmla="*/ 32192 w 202527"/>
                <a:gd name="connsiteY378" fmla="*/ 175659 h 227999"/>
                <a:gd name="connsiteX379" fmla="*/ 29683 w 202527"/>
                <a:gd name="connsiteY379" fmla="*/ 176114 h 227999"/>
                <a:gd name="connsiteX380" fmla="*/ 27859 w 202527"/>
                <a:gd name="connsiteY380" fmla="*/ 175716 h 227999"/>
                <a:gd name="connsiteX381" fmla="*/ 26716 w 202527"/>
                <a:gd name="connsiteY381" fmla="*/ 175793 h 227999"/>
                <a:gd name="connsiteX382" fmla="*/ 26075 w 202527"/>
                <a:gd name="connsiteY382" fmla="*/ 176140 h 227999"/>
                <a:gd name="connsiteX383" fmla="*/ 25753 w 202527"/>
                <a:gd name="connsiteY383" fmla="*/ 175833 h 227999"/>
                <a:gd name="connsiteX384" fmla="*/ 25295 w 202527"/>
                <a:gd name="connsiteY384" fmla="*/ 174220 h 227999"/>
                <a:gd name="connsiteX385" fmla="*/ 24341 w 202527"/>
                <a:gd name="connsiteY385" fmla="*/ 173798 h 227999"/>
                <a:gd name="connsiteX386" fmla="*/ 22857 w 202527"/>
                <a:gd name="connsiteY386" fmla="*/ 173429 h 227999"/>
                <a:gd name="connsiteX387" fmla="*/ 21935 w 202527"/>
                <a:gd name="connsiteY387" fmla="*/ 173589 h 227999"/>
                <a:gd name="connsiteX388" fmla="*/ 21298 w 202527"/>
                <a:gd name="connsiteY388" fmla="*/ 174390 h 227999"/>
                <a:gd name="connsiteX389" fmla="*/ 20316 w 202527"/>
                <a:gd name="connsiteY389" fmla="*/ 174955 h 227999"/>
                <a:gd name="connsiteX390" fmla="*/ 19413 w 202527"/>
                <a:gd name="connsiteY390" fmla="*/ 174771 h 227999"/>
                <a:gd name="connsiteX391" fmla="*/ 16586 w 202527"/>
                <a:gd name="connsiteY391" fmla="*/ 171044 h 227999"/>
                <a:gd name="connsiteX392" fmla="*/ 15858 w 202527"/>
                <a:gd name="connsiteY392" fmla="*/ 170219 h 227999"/>
                <a:gd name="connsiteX393" fmla="*/ 15673 w 202527"/>
                <a:gd name="connsiteY393" fmla="*/ 169460 h 227999"/>
                <a:gd name="connsiteX394" fmla="*/ 14965 w 202527"/>
                <a:gd name="connsiteY394" fmla="*/ 168071 h 227999"/>
                <a:gd name="connsiteX395" fmla="*/ 13280 w 202527"/>
                <a:gd name="connsiteY395" fmla="*/ 166689 h 227999"/>
                <a:gd name="connsiteX396" fmla="*/ 11603 w 202527"/>
                <a:gd name="connsiteY396" fmla="*/ 166251 h 227999"/>
                <a:gd name="connsiteX397" fmla="*/ 10765 w 202527"/>
                <a:gd name="connsiteY397" fmla="*/ 166406 h 227999"/>
                <a:gd name="connsiteX398" fmla="*/ 10855 w 202527"/>
                <a:gd name="connsiteY398" fmla="*/ 164686 h 227999"/>
                <a:gd name="connsiteX399" fmla="*/ 11516 w 202527"/>
                <a:gd name="connsiteY399" fmla="*/ 162190 h 227999"/>
                <a:gd name="connsiteX400" fmla="*/ 12144 w 202527"/>
                <a:gd name="connsiteY400" fmla="*/ 160886 h 227999"/>
                <a:gd name="connsiteX401" fmla="*/ 12982 w 202527"/>
                <a:gd name="connsiteY401" fmla="*/ 159820 h 227999"/>
                <a:gd name="connsiteX402" fmla="*/ 13870 w 202527"/>
                <a:gd name="connsiteY402" fmla="*/ 159079 h 227999"/>
                <a:gd name="connsiteX403" fmla="*/ 14069 w 202527"/>
                <a:gd name="connsiteY403" fmla="*/ 157738 h 227999"/>
                <a:gd name="connsiteX404" fmla="*/ 13926 w 202527"/>
                <a:gd name="connsiteY404" fmla="*/ 156469 h 227999"/>
                <a:gd name="connsiteX405" fmla="*/ 12900 w 202527"/>
                <a:gd name="connsiteY405" fmla="*/ 156272 h 227999"/>
                <a:gd name="connsiteX406" fmla="*/ 10329 w 202527"/>
                <a:gd name="connsiteY406" fmla="*/ 155334 h 227999"/>
                <a:gd name="connsiteX407" fmla="*/ 8813 w 202527"/>
                <a:gd name="connsiteY407" fmla="*/ 154346 h 227999"/>
                <a:gd name="connsiteX408" fmla="*/ 7681 w 202527"/>
                <a:gd name="connsiteY408" fmla="*/ 153108 h 227999"/>
                <a:gd name="connsiteX409" fmla="*/ 6206 w 202527"/>
                <a:gd name="connsiteY409" fmla="*/ 151401 h 227999"/>
                <a:gd name="connsiteX410" fmla="*/ 5578 w 202527"/>
                <a:gd name="connsiteY410" fmla="*/ 149667 h 227999"/>
                <a:gd name="connsiteX411" fmla="*/ 5546 w 202527"/>
                <a:gd name="connsiteY411" fmla="*/ 147938 h 227999"/>
                <a:gd name="connsiteX412" fmla="*/ 5727 w 202527"/>
                <a:gd name="connsiteY412" fmla="*/ 147164 h 227999"/>
                <a:gd name="connsiteX413" fmla="*/ 5833 w 202527"/>
                <a:gd name="connsiteY413" fmla="*/ 146633 h 227999"/>
                <a:gd name="connsiteX414" fmla="*/ 7023 w 202527"/>
                <a:gd name="connsiteY414" fmla="*/ 143934 h 227999"/>
                <a:gd name="connsiteX415" fmla="*/ 11210 w 202527"/>
                <a:gd name="connsiteY415" fmla="*/ 141516 h 227999"/>
                <a:gd name="connsiteX416" fmla="*/ 10749 w 202527"/>
                <a:gd name="connsiteY416" fmla="*/ 139079 h 227999"/>
                <a:gd name="connsiteX417" fmla="*/ 10689 w 202527"/>
                <a:gd name="connsiteY417" fmla="*/ 137584 h 227999"/>
                <a:gd name="connsiteX418" fmla="*/ 9672 w 202527"/>
                <a:gd name="connsiteY418" fmla="*/ 136605 h 227999"/>
                <a:gd name="connsiteX419" fmla="*/ 7640 w 202527"/>
                <a:gd name="connsiteY419" fmla="*/ 136209 h 227999"/>
                <a:gd name="connsiteX420" fmla="*/ 7102 w 202527"/>
                <a:gd name="connsiteY420" fmla="*/ 135530 h 227999"/>
                <a:gd name="connsiteX421" fmla="*/ 6876 w 202527"/>
                <a:gd name="connsiteY421" fmla="*/ 134867 h 227999"/>
                <a:gd name="connsiteX422" fmla="*/ 8368 w 202527"/>
                <a:gd name="connsiteY422" fmla="*/ 133375 h 227999"/>
                <a:gd name="connsiteX423" fmla="*/ 6567 w 202527"/>
                <a:gd name="connsiteY423" fmla="*/ 132195 h 227999"/>
                <a:gd name="connsiteX424" fmla="*/ 5792 w 202527"/>
                <a:gd name="connsiteY424" fmla="*/ 130974 h 227999"/>
                <a:gd name="connsiteX425" fmla="*/ 3282 w 202527"/>
                <a:gd name="connsiteY425" fmla="*/ 129432 h 227999"/>
                <a:gd name="connsiteX426" fmla="*/ 3017 w 202527"/>
                <a:gd name="connsiteY426" fmla="*/ 128901 h 227999"/>
                <a:gd name="connsiteX427" fmla="*/ 4222 w 202527"/>
                <a:gd name="connsiteY427" fmla="*/ 124399 h 227999"/>
                <a:gd name="connsiteX428" fmla="*/ 3302 w 202527"/>
                <a:gd name="connsiteY428" fmla="*/ 123084 h 227999"/>
                <a:gd name="connsiteX429" fmla="*/ 2157 w 202527"/>
                <a:gd name="connsiteY429" fmla="*/ 122413 h 227999"/>
                <a:gd name="connsiteX430" fmla="*/ 823 w 202527"/>
                <a:gd name="connsiteY430" fmla="*/ 122083 h 227999"/>
                <a:gd name="connsiteX431" fmla="*/ 214 w 202527"/>
                <a:gd name="connsiteY431" fmla="*/ 121457 h 227999"/>
                <a:gd name="connsiteX432" fmla="*/ 0 w 202527"/>
                <a:gd name="connsiteY432" fmla="*/ 120742 h 227999"/>
                <a:gd name="connsiteX433" fmla="*/ 240 w 202527"/>
                <a:gd name="connsiteY433" fmla="*/ 120299 h 227999"/>
                <a:gd name="connsiteX434" fmla="*/ 1807 w 202527"/>
                <a:gd name="connsiteY434" fmla="*/ 120430 h 227999"/>
                <a:gd name="connsiteX435" fmla="*/ 2289 w 202527"/>
                <a:gd name="connsiteY435" fmla="*/ 119966 h 227999"/>
                <a:gd name="connsiteX436" fmla="*/ 6025 w 202527"/>
                <a:gd name="connsiteY436" fmla="*/ 117313 h 227999"/>
                <a:gd name="connsiteX437" fmla="*/ 6178 w 202527"/>
                <a:gd name="connsiteY437" fmla="*/ 116803 h 227999"/>
                <a:gd name="connsiteX438" fmla="*/ 5658 w 202527"/>
                <a:gd name="connsiteY438" fmla="*/ 116514 h 227999"/>
                <a:gd name="connsiteX439" fmla="*/ 4973 w 202527"/>
                <a:gd name="connsiteY439" fmla="*/ 116360 h 227999"/>
                <a:gd name="connsiteX440" fmla="*/ 4805 w 202527"/>
                <a:gd name="connsiteY440" fmla="*/ 115802 h 227999"/>
                <a:gd name="connsiteX441" fmla="*/ 4829 w 202527"/>
                <a:gd name="connsiteY441" fmla="*/ 115067 h 227999"/>
                <a:gd name="connsiteX442" fmla="*/ 6826 w 202527"/>
                <a:gd name="connsiteY442" fmla="*/ 111235 h 227999"/>
                <a:gd name="connsiteX443" fmla="*/ 7416 w 202527"/>
                <a:gd name="connsiteY443" fmla="*/ 109599 h 227999"/>
                <a:gd name="connsiteX444" fmla="*/ 7547 w 202527"/>
                <a:gd name="connsiteY444" fmla="*/ 108442 h 227999"/>
                <a:gd name="connsiteX445" fmla="*/ 7424 w 202527"/>
                <a:gd name="connsiteY445" fmla="*/ 107299 h 227999"/>
                <a:gd name="connsiteX446" fmla="*/ 6282 w 202527"/>
                <a:gd name="connsiteY446" fmla="*/ 105500 h 227999"/>
                <a:gd name="connsiteX447" fmla="*/ 5165 w 202527"/>
                <a:gd name="connsiteY447" fmla="*/ 104064 h 227999"/>
                <a:gd name="connsiteX448" fmla="*/ 5127 w 202527"/>
                <a:gd name="connsiteY448" fmla="*/ 102920 h 227999"/>
                <a:gd name="connsiteX449" fmla="*/ 4317 w 202527"/>
                <a:gd name="connsiteY449" fmla="*/ 102318 h 227999"/>
                <a:gd name="connsiteX450" fmla="*/ 2013 w 202527"/>
                <a:gd name="connsiteY450" fmla="*/ 99249 h 227999"/>
                <a:gd name="connsiteX451" fmla="*/ 2017 w 202527"/>
                <a:gd name="connsiteY451" fmla="*/ 98061 h 227999"/>
                <a:gd name="connsiteX452" fmla="*/ 3319 w 202527"/>
                <a:gd name="connsiteY452" fmla="*/ 97138 h 227999"/>
                <a:gd name="connsiteX453" fmla="*/ 5137 w 202527"/>
                <a:gd name="connsiteY453" fmla="*/ 96549 h 227999"/>
                <a:gd name="connsiteX454" fmla="*/ 5742 w 202527"/>
                <a:gd name="connsiteY454" fmla="*/ 96063 h 227999"/>
                <a:gd name="connsiteX455" fmla="*/ 6832 w 202527"/>
                <a:gd name="connsiteY455" fmla="*/ 95757 h 227999"/>
                <a:gd name="connsiteX456" fmla="*/ 9720 w 202527"/>
                <a:gd name="connsiteY456" fmla="*/ 96644 h 227999"/>
                <a:gd name="connsiteX457" fmla="*/ 11015 w 202527"/>
                <a:gd name="connsiteY457" fmla="*/ 97413 h 227999"/>
                <a:gd name="connsiteX458" fmla="*/ 11380 w 202527"/>
                <a:gd name="connsiteY458" fmla="*/ 97254 h 227999"/>
                <a:gd name="connsiteX459" fmla="*/ 12548 w 202527"/>
                <a:gd name="connsiteY459" fmla="*/ 96417 h 227999"/>
                <a:gd name="connsiteX460" fmla="*/ 14595 w 202527"/>
                <a:gd name="connsiteY460" fmla="*/ 96549 h 227999"/>
                <a:gd name="connsiteX461" fmla="*/ 19553 w 202527"/>
                <a:gd name="connsiteY461" fmla="*/ 94867 h 227999"/>
                <a:gd name="connsiteX462" fmla="*/ 20292 w 202527"/>
                <a:gd name="connsiteY462" fmla="*/ 94058 h 227999"/>
                <a:gd name="connsiteX463" fmla="*/ 20849 w 202527"/>
                <a:gd name="connsiteY463" fmla="*/ 93198 h 227999"/>
                <a:gd name="connsiteX464" fmla="*/ 20894 w 202527"/>
                <a:gd name="connsiteY464" fmla="*/ 92820 h 227999"/>
                <a:gd name="connsiteX465" fmla="*/ 18975 w 202527"/>
                <a:gd name="connsiteY465" fmla="*/ 91164 h 227999"/>
                <a:gd name="connsiteX466" fmla="*/ 18916 w 202527"/>
                <a:gd name="connsiteY466" fmla="*/ 90551 h 227999"/>
                <a:gd name="connsiteX467" fmla="*/ 19171 w 202527"/>
                <a:gd name="connsiteY467" fmla="*/ 89860 h 227999"/>
                <a:gd name="connsiteX468" fmla="*/ 19713 w 202527"/>
                <a:gd name="connsiteY468" fmla="*/ 89314 h 227999"/>
                <a:gd name="connsiteX469" fmla="*/ 20849 w 202527"/>
                <a:gd name="connsiteY469" fmla="*/ 88943 h 227999"/>
                <a:gd name="connsiteX470" fmla="*/ 22058 w 202527"/>
                <a:gd name="connsiteY470" fmla="*/ 88215 h 227999"/>
                <a:gd name="connsiteX471" fmla="*/ 24759 w 202527"/>
                <a:gd name="connsiteY471" fmla="*/ 86149 h 227999"/>
                <a:gd name="connsiteX472" fmla="*/ 25697 w 202527"/>
                <a:gd name="connsiteY472" fmla="*/ 84355 h 227999"/>
                <a:gd name="connsiteX473" fmla="*/ 25984 w 202527"/>
                <a:gd name="connsiteY473" fmla="*/ 82411 h 227999"/>
                <a:gd name="connsiteX474" fmla="*/ 26040 w 202527"/>
                <a:gd name="connsiteY474" fmla="*/ 80964 h 227999"/>
                <a:gd name="connsiteX475" fmla="*/ 25304 w 202527"/>
                <a:gd name="connsiteY475" fmla="*/ 79812 h 227999"/>
                <a:gd name="connsiteX476" fmla="*/ 24559 w 202527"/>
                <a:gd name="connsiteY476" fmla="*/ 79066 h 227999"/>
                <a:gd name="connsiteX477" fmla="*/ 23540 w 202527"/>
                <a:gd name="connsiteY477" fmla="*/ 79179 h 227999"/>
                <a:gd name="connsiteX478" fmla="*/ 21559 w 202527"/>
                <a:gd name="connsiteY478" fmla="*/ 79120 h 227999"/>
                <a:gd name="connsiteX479" fmla="*/ 19709 w 202527"/>
                <a:gd name="connsiteY479" fmla="*/ 78473 h 227999"/>
                <a:gd name="connsiteX480" fmla="*/ 18694 w 202527"/>
                <a:gd name="connsiteY480" fmla="*/ 77426 h 227999"/>
                <a:gd name="connsiteX481" fmla="*/ 18444 w 202527"/>
                <a:gd name="connsiteY481" fmla="*/ 76505 h 227999"/>
                <a:gd name="connsiteX482" fmla="*/ 18903 w 202527"/>
                <a:gd name="connsiteY482" fmla="*/ 75925 h 227999"/>
                <a:gd name="connsiteX483" fmla="*/ 19044 w 202527"/>
                <a:gd name="connsiteY483" fmla="*/ 75212 h 227999"/>
                <a:gd name="connsiteX484" fmla="*/ 18748 w 202527"/>
                <a:gd name="connsiteY484" fmla="*/ 74495 h 227999"/>
                <a:gd name="connsiteX485" fmla="*/ 18867 w 202527"/>
                <a:gd name="connsiteY485" fmla="*/ 73893 h 227999"/>
                <a:gd name="connsiteX486" fmla="*/ 19700 w 202527"/>
                <a:gd name="connsiteY486" fmla="*/ 73410 h 227999"/>
                <a:gd name="connsiteX487" fmla="*/ 25554 w 202527"/>
                <a:gd name="connsiteY487" fmla="*/ 73426 h 227999"/>
                <a:gd name="connsiteX488" fmla="*/ 25993 w 202527"/>
                <a:gd name="connsiteY488" fmla="*/ 72895 h 227999"/>
                <a:gd name="connsiteX489" fmla="*/ 26388 w 202527"/>
                <a:gd name="connsiteY489" fmla="*/ 70108 h 227999"/>
                <a:gd name="connsiteX490" fmla="*/ 27852 w 202527"/>
                <a:gd name="connsiteY490" fmla="*/ 65859 h 227999"/>
                <a:gd name="connsiteX491" fmla="*/ 29232 w 202527"/>
                <a:gd name="connsiteY491" fmla="*/ 63490 h 227999"/>
                <a:gd name="connsiteX492" fmla="*/ 29463 w 202527"/>
                <a:gd name="connsiteY492" fmla="*/ 62493 h 227999"/>
                <a:gd name="connsiteX493" fmla="*/ 29441 w 202527"/>
                <a:gd name="connsiteY493" fmla="*/ 56866 h 227999"/>
                <a:gd name="connsiteX494" fmla="*/ 29625 w 202527"/>
                <a:gd name="connsiteY494" fmla="*/ 54011 h 227999"/>
                <a:gd name="connsiteX495" fmla="*/ 28625 w 202527"/>
                <a:gd name="connsiteY495" fmla="*/ 52668 h 227999"/>
                <a:gd name="connsiteX496" fmla="*/ 26442 w 202527"/>
                <a:gd name="connsiteY496" fmla="*/ 51197 h 227999"/>
                <a:gd name="connsiteX497" fmla="*/ 26906 w 202527"/>
                <a:gd name="connsiteY497" fmla="*/ 48132 h 227999"/>
                <a:gd name="connsiteX498" fmla="*/ 27632 w 202527"/>
                <a:gd name="connsiteY498" fmla="*/ 45741 h 227999"/>
                <a:gd name="connsiteX499" fmla="*/ 29828 w 202527"/>
                <a:gd name="connsiteY499" fmla="*/ 42797 h 227999"/>
                <a:gd name="connsiteX500" fmla="*/ 31570 w 202527"/>
                <a:gd name="connsiteY500" fmla="*/ 41987 h 227999"/>
                <a:gd name="connsiteX501" fmla="*/ 39176 w 202527"/>
                <a:gd name="connsiteY501" fmla="*/ 41506 h 227999"/>
                <a:gd name="connsiteX502" fmla="*/ 47580 w 202527"/>
                <a:gd name="connsiteY502" fmla="*/ 41704 h 227999"/>
                <a:gd name="connsiteX503" fmla="*/ 51069 w 202527"/>
                <a:gd name="connsiteY503" fmla="*/ 46150 h 227999"/>
                <a:gd name="connsiteX504" fmla="*/ 49774 w 202527"/>
                <a:gd name="connsiteY504" fmla="*/ 48432 h 227999"/>
                <a:gd name="connsiteX505" fmla="*/ 51814 w 202527"/>
                <a:gd name="connsiteY505" fmla="*/ 49494 h 227999"/>
                <a:gd name="connsiteX506" fmla="*/ 52797 w 202527"/>
                <a:gd name="connsiteY506" fmla="*/ 49106 h 227999"/>
                <a:gd name="connsiteX507" fmla="*/ 53544 w 202527"/>
                <a:gd name="connsiteY507" fmla="*/ 47121 h 227999"/>
                <a:gd name="connsiteX508" fmla="*/ 54043 w 202527"/>
                <a:gd name="connsiteY508" fmla="*/ 44922 h 227999"/>
                <a:gd name="connsiteX509" fmla="*/ 54758 w 202527"/>
                <a:gd name="connsiteY509" fmla="*/ 44256 h 227999"/>
                <a:gd name="connsiteX510" fmla="*/ 57356 w 202527"/>
                <a:gd name="connsiteY510" fmla="*/ 45900 h 227999"/>
                <a:gd name="connsiteX511" fmla="*/ 58269 w 202527"/>
                <a:gd name="connsiteY511" fmla="*/ 47026 h 227999"/>
                <a:gd name="connsiteX512" fmla="*/ 58325 w 202527"/>
                <a:gd name="connsiteY512" fmla="*/ 50644 h 227999"/>
                <a:gd name="connsiteX513" fmla="*/ 59282 w 202527"/>
                <a:gd name="connsiteY513" fmla="*/ 45743 h 227999"/>
                <a:gd name="connsiteX514" fmla="*/ 58569 w 202527"/>
                <a:gd name="connsiteY514" fmla="*/ 42307 h 227999"/>
                <a:gd name="connsiteX515" fmla="*/ 59059 w 202527"/>
                <a:gd name="connsiteY515" fmla="*/ 38972 h 227999"/>
                <a:gd name="connsiteX516" fmla="*/ 60102 w 202527"/>
                <a:gd name="connsiteY516" fmla="*/ 37235 h 227999"/>
                <a:gd name="connsiteX517" fmla="*/ 61061 w 202527"/>
                <a:gd name="connsiteY517" fmla="*/ 36130 h 227999"/>
                <a:gd name="connsiteX518" fmla="*/ 67226 w 202527"/>
                <a:gd name="connsiteY518" fmla="*/ 37320 h 227999"/>
                <a:gd name="connsiteX519" fmla="*/ 74032 w 202527"/>
                <a:gd name="connsiteY519" fmla="*/ 36706 h 227999"/>
                <a:gd name="connsiteX520" fmla="*/ 76606 w 202527"/>
                <a:gd name="connsiteY520" fmla="*/ 37992 h 227999"/>
                <a:gd name="connsiteX521" fmla="*/ 82430 w 202527"/>
                <a:gd name="connsiteY521" fmla="*/ 44428 h 227999"/>
                <a:gd name="connsiteX522" fmla="*/ 84372 w 202527"/>
                <a:gd name="connsiteY522" fmla="*/ 45480 h 227999"/>
                <a:gd name="connsiteX523" fmla="*/ 86822 w 202527"/>
                <a:gd name="connsiteY523" fmla="*/ 45811 h 227999"/>
                <a:gd name="connsiteX524" fmla="*/ 83445 w 202527"/>
                <a:gd name="connsiteY524" fmla="*/ 44437 h 227999"/>
                <a:gd name="connsiteX525" fmla="*/ 76386 w 202527"/>
                <a:gd name="connsiteY525" fmla="*/ 36610 h 227999"/>
                <a:gd name="connsiteX526" fmla="*/ 74272 w 202527"/>
                <a:gd name="connsiteY526" fmla="*/ 35639 h 227999"/>
                <a:gd name="connsiteX527" fmla="*/ 71027 w 202527"/>
                <a:gd name="connsiteY527" fmla="*/ 35344 h 227999"/>
                <a:gd name="connsiteX528" fmla="*/ 69003 w 202527"/>
                <a:gd name="connsiteY528" fmla="*/ 34578 h 227999"/>
                <a:gd name="connsiteX529" fmla="*/ 67727 w 202527"/>
                <a:gd name="connsiteY529" fmla="*/ 33392 h 227999"/>
                <a:gd name="connsiteX530" fmla="*/ 67353 w 202527"/>
                <a:gd name="connsiteY530" fmla="*/ 32332 h 227999"/>
                <a:gd name="connsiteX531" fmla="*/ 67423 w 202527"/>
                <a:gd name="connsiteY531" fmla="*/ 24417 h 227999"/>
                <a:gd name="connsiteX532" fmla="*/ 66205 w 202527"/>
                <a:gd name="connsiteY532" fmla="*/ 23237 h 227999"/>
                <a:gd name="connsiteX533" fmla="*/ 64631 w 202527"/>
                <a:gd name="connsiteY533" fmla="*/ 22826 h 227999"/>
                <a:gd name="connsiteX534" fmla="*/ 63650 w 202527"/>
                <a:gd name="connsiteY534" fmla="*/ 23369 h 227999"/>
                <a:gd name="connsiteX535" fmla="*/ 61636 w 202527"/>
                <a:gd name="connsiteY535" fmla="*/ 23376 h 227999"/>
                <a:gd name="connsiteX536" fmla="*/ 61212 w 202527"/>
                <a:gd name="connsiteY536" fmla="*/ 21579 h 227999"/>
                <a:gd name="connsiteX537" fmla="*/ 61704 w 202527"/>
                <a:gd name="connsiteY537" fmla="*/ 20247 h 227999"/>
                <a:gd name="connsiteX538" fmla="*/ 65753 w 202527"/>
                <a:gd name="connsiteY538" fmla="*/ 19336 h 227999"/>
                <a:gd name="connsiteX539" fmla="*/ 68422 w 202527"/>
                <a:gd name="connsiteY539" fmla="*/ 18114 h 227999"/>
                <a:gd name="connsiteX540" fmla="*/ 68541 w 202527"/>
                <a:gd name="connsiteY540" fmla="*/ 15954 h 227999"/>
                <a:gd name="connsiteX541" fmla="*/ 66855 w 202527"/>
                <a:gd name="connsiteY541" fmla="*/ 14254 h 227999"/>
                <a:gd name="connsiteX542" fmla="*/ 64836 w 202527"/>
                <a:gd name="connsiteY542" fmla="*/ 11133 h 227999"/>
                <a:gd name="connsiteX543" fmla="*/ 62463 w 202527"/>
                <a:gd name="connsiteY543" fmla="*/ 8196 h 227999"/>
                <a:gd name="connsiteX544" fmla="*/ 56334 w 202527"/>
                <a:gd name="connsiteY544" fmla="*/ 0 h 227999"/>
                <a:gd name="connsiteX545" fmla="*/ 57358 w 202527"/>
                <a:gd name="connsiteY545" fmla="*/ 103 h 227999"/>
                <a:gd name="connsiteX546" fmla="*/ 56310 w 202527"/>
                <a:gd name="connsiteY546" fmla="*/ 1353 h 227999"/>
                <a:gd name="connsiteX547" fmla="*/ 56008 w 202527"/>
                <a:gd name="connsiteY547" fmla="*/ 2228 h 227999"/>
                <a:gd name="connsiteX548" fmla="*/ 55583 w 202527"/>
                <a:gd name="connsiteY548" fmla="*/ 3975 h 227999"/>
                <a:gd name="connsiteX549" fmla="*/ 55775 w 202527"/>
                <a:gd name="connsiteY549" fmla="*/ 4882 h 227999"/>
                <a:gd name="connsiteX550" fmla="*/ 61296 w 202527"/>
                <a:gd name="connsiteY550" fmla="*/ 5131 h 227999"/>
                <a:gd name="connsiteX551" fmla="*/ 60655 w 202527"/>
                <a:gd name="connsiteY551" fmla="*/ 5940 h 227999"/>
                <a:gd name="connsiteX552" fmla="*/ 55056 w 202527"/>
                <a:gd name="connsiteY552" fmla="*/ 6486 h 227999"/>
                <a:gd name="connsiteX553" fmla="*/ 54179 w 202527"/>
                <a:gd name="connsiteY553" fmla="*/ 8345 h 227999"/>
                <a:gd name="connsiteX554" fmla="*/ 53669 w 202527"/>
                <a:gd name="connsiteY554" fmla="*/ 8954 h 227999"/>
                <a:gd name="connsiteX555" fmla="*/ 53913 w 202527"/>
                <a:gd name="connsiteY555" fmla="*/ 4623 h 22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Lst>
              <a:rect l="l" t="t" r="r" b="b"/>
              <a:pathLst>
                <a:path w="202527" h="227999">
                  <a:moveTo>
                    <a:pt x="176238" y="28478"/>
                  </a:moveTo>
                  <a:lnTo>
                    <a:pt x="180907" y="31292"/>
                  </a:lnTo>
                  <a:lnTo>
                    <a:pt x="184723" y="33847"/>
                  </a:lnTo>
                  <a:lnTo>
                    <a:pt x="184431" y="34795"/>
                  </a:lnTo>
                  <a:lnTo>
                    <a:pt x="184772" y="36258"/>
                  </a:lnTo>
                  <a:lnTo>
                    <a:pt x="183854" y="36149"/>
                  </a:lnTo>
                  <a:lnTo>
                    <a:pt x="181117" y="36490"/>
                  </a:lnTo>
                  <a:lnTo>
                    <a:pt x="178406" y="36007"/>
                  </a:lnTo>
                  <a:lnTo>
                    <a:pt x="177884" y="34192"/>
                  </a:lnTo>
                  <a:lnTo>
                    <a:pt x="178316" y="32443"/>
                  </a:lnTo>
                  <a:lnTo>
                    <a:pt x="177227" y="31240"/>
                  </a:lnTo>
                  <a:lnTo>
                    <a:pt x="176225" y="30534"/>
                  </a:lnTo>
                  <a:lnTo>
                    <a:pt x="176077" y="29524"/>
                  </a:lnTo>
                  <a:close/>
                  <a:moveTo>
                    <a:pt x="115590" y="16104"/>
                  </a:moveTo>
                  <a:lnTo>
                    <a:pt x="118877" y="17086"/>
                  </a:lnTo>
                  <a:lnTo>
                    <a:pt x="119909" y="19005"/>
                  </a:lnTo>
                  <a:lnTo>
                    <a:pt x="119965" y="19628"/>
                  </a:lnTo>
                  <a:lnTo>
                    <a:pt x="116570" y="19687"/>
                  </a:lnTo>
                  <a:lnTo>
                    <a:pt x="115274" y="18467"/>
                  </a:lnTo>
                  <a:lnTo>
                    <a:pt x="113970" y="18157"/>
                  </a:lnTo>
                  <a:lnTo>
                    <a:pt x="114672" y="16652"/>
                  </a:lnTo>
                  <a:close/>
                  <a:moveTo>
                    <a:pt x="167283" y="11030"/>
                  </a:moveTo>
                  <a:lnTo>
                    <a:pt x="167888" y="12552"/>
                  </a:lnTo>
                  <a:lnTo>
                    <a:pt x="168797" y="13599"/>
                  </a:lnTo>
                  <a:lnTo>
                    <a:pt x="171999" y="14772"/>
                  </a:lnTo>
                  <a:lnTo>
                    <a:pt x="172477" y="15305"/>
                  </a:lnTo>
                  <a:lnTo>
                    <a:pt x="172766" y="16042"/>
                  </a:lnTo>
                  <a:lnTo>
                    <a:pt x="171276" y="17485"/>
                  </a:lnTo>
                  <a:lnTo>
                    <a:pt x="170771" y="18224"/>
                  </a:lnTo>
                  <a:lnTo>
                    <a:pt x="171244" y="19409"/>
                  </a:lnTo>
                  <a:lnTo>
                    <a:pt x="173617" y="20703"/>
                  </a:lnTo>
                  <a:lnTo>
                    <a:pt x="174170" y="22753"/>
                  </a:lnTo>
                  <a:lnTo>
                    <a:pt x="173576" y="23797"/>
                  </a:lnTo>
                  <a:lnTo>
                    <a:pt x="171090" y="22060"/>
                  </a:lnTo>
                  <a:lnTo>
                    <a:pt x="168594" y="22084"/>
                  </a:lnTo>
                  <a:lnTo>
                    <a:pt x="167102" y="24759"/>
                  </a:lnTo>
                  <a:lnTo>
                    <a:pt x="165992" y="24872"/>
                  </a:lnTo>
                  <a:lnTo>
                    <a:pt x="162138" y="22442"/>
                  </a:lnTo>
                  <a:lnTo>
                    <a:pt x="161520" y="21256"/>
                  </a:lnTo>
                  <a:lnTo>
                    <a:pt x="161393" y="20270"/>
                  </a:lnTo>
                  <a:lnTo>
                    <a:pt x="161943" y="16850"/>
                  </a:lnTo>
                  <a:lnTo>
                    <a:pt x="161842" y="15773"/>
                  </a:lnTo>
                  <a:lnTo>
                    <a:pt x="163053" y="14596"/>
                  </a:lnTo>
                  <a:lnTo>
                    <a:pt x="163241" y="12894"/>
                  </a:lnTo>
                  <a:lnTo>
                    <a:pt x="165383" y="11098"/>
                  </a:lnTo>
                  <a:close/>
                  <a:moveTo>
                    <a:pt x="58651" y="9162"/>
                  </a:moveTo>
                  <a:lnTo>
                    <a:pt x="60055" y="9517"/>
                  </a:lnTo>
                  <a:lnTo>
                    <a:pt x="60374" y="10621"/>
                  </a:lnTo>
                  <a:lnTo>
                    <a:pt x="59513" y="11371"/>
                  </a:lnTo>
                  <a:lnTo>
                    <a:pt x="57409" y="11283"/>
                  </a:lnTo>
                  <a:lnTo>
                    <a:pt x="56228" y="10577"/>
                  </a:lnTo>
                  <a:lnTo>
                    <a:pt x="56611" y="9825"/>
                  </a:lnTo>
                  <a:lnTo>
                    <a:pt x="57727" y="9251"/>
                  </a:lnTo>
                  <a:close/>
                  <a:moveTo>
                    <a:pt x="62197" y="4773"/>
                  </a:moveTo>
                  <a:lnTo>
                    <a:pt x="62206" y="4776"/>
                  </a:lnTo>
                  <a:lnTo>
                    <a:pt x="66330" y="4843"/>
                  </a:lnTo>
                  <a:lnTo>
                    <a:pt x="67341" y="4973"/>
                  </a:lnTo>
                  <a:lnTo>
                    <a:pt x="73596" y="6576"/>
                  </a:lnTo>
                  <a:lnTo>
                    <a:pt x="75125" y="7700"/>
                  </a:lnTo>
                  <a:lnTo>
                    <a:pt x="77049" y="7753"/>
                  </a:lnTo>
                  <a:lnTo>
                    <a:pt x="80515" y="6706"/>
                  </a:lnTo>
                  <a:lnTo>
                    <a:pt x="83104" y="6246"/>
                  </a:lnTo>
                  <a:lnTo>
                    <a:pt x="84108" y="6892"/>
                  </a:lnTo>
                  <a:lnTo>
                    <a:pt x="85518" y="7163"/>
                  </a:lnTo>
                  <a:lnTo>
                    <a:pt x="85844" y="7163"/>
                  </a:lnTo>
                  <a:lnTo>
                    <a:pt x="85981" y="7726"/>
                  </a:lnTo>
                  <a:lnTo>
                    <a:pt x="89217" y="8540"/>
                  </a:lnTo>
                  <a:lnTo>
                    <a:pt x="90578" y="9837"/>
                  </a:lnTo>
                  <a:lnTo>
                    <a:pt x="92089" y="11807"/>
                  </a:lnTo>
                  <a:lnTo>
                    <a:pt x="92236" y="14641"/>
                  </a:lnTo>
                  <a:lnTo>
                    <a:pt x="90301" y="16677"/>
                  </a:lnTo>
                  <a:lnTo>
                    <a:pt x="88695" y="17965"/>
                  </a:lnTo>
                  <a:lnTo>
                    <a:pt x="94771" y="17478"/>
                  </a:lnTo>
                  <a:lnTo>
                    <a:pt x="95376" y="18645"/>
                  </a:lnTo>
                  <a:lnTo>
                    <a:pt x="96296" y="19903"/>
                  </a:lnTo>
                  <a:lnTo>
                    <a:pt x="99569" y="19007"/>
                  </a:lnTo>
                  <a:lnTo>
                    <a:pt x="107775" y="22728"/>
                  </a:lnTo>
                  <a:lnTo>
                    <a:pt x="112737" y="20917"/>
                  </a:lnTo>
                  <a:lnTo>
                    <a:pt x="114007" y="20811"/>
                  </a:lnTo>
                  <a:lnTo>
                    <a:pt x="115134" y="23817"/>
                  </a:lnTo>
                  <a:lnTo>
                    <a:pt x="113901" y="26840"/>
                  </a:lnTo>
                  <a:lnTo>
                    <a:pt x="109526" y="30061"/>
                  </a:lnTo>
                  <a:lnTo>
                    <a:pt x="110496" y="32043"/>
                  </a:lnTo>
                  <a:lnTo>
                    <a:pt x="111893" y="32483"/>
                  </a:lnTo>
                  <a:lnTo>
                    <a:pt x="116017" y="32063"/>
                  </a:lnTo>
                  <a:lnTo>
                    <a:pt x="122547" y="34020"/>
                  </a:lnTo>
                  <a:lnTo>
                    <a:pt x="123908" y="33410"/>
                  </a:lnTo>
                  <a:lnTo>
                    <a:pt x="129203" y="28895"/>
                  </a:lnTo>
                  <a:lnTo>
                    <a:pt x="131319" y="27925"/>
                  </a:lnTo>
                  <a:lnTo>
                    <a:pt x="138285" y="27230"/>
                  </a:lnTo>
                  <a:lnTo>
                    <a:pt x="139552" y="25479"/>
                  </a:lnTo>
                  <a:lnTo>
                    <a:pt x="142375" y="23717"/>
                  </a:lnTo>
                  <a:lnTo>
                    <a:pt x="144193" y="21791"/>
                  </a:lnTo>
                  <a:lnTo>
                    <a:pt x="148546" y="18120"/>
                  </a:lnTo>
                  <a:lnTo>
                    <a:pt x="153051" y="18782"/>
                  </a:lnTo>
                  <a:lnTo>
                    <a:pt x="155681" y="19485"/>
                  </a:lnTo>
                  <a:lnTo>
                    <a:pt x="158568" y="19839"/>
                  </a:lnTo>
                  <a:lnTo>
                    <a:pt x="161196" y="23749"/>
                  </a:lnTo>
                  <a:lnTo>
                    <a:pt x="167843" y="28064"/>
                  </a:lnTo>
                  <a:lnTo>
                    <a:pt x="173950" y="27689"/>
                  </a:lnTo>
                  <a:lnTo>
                    <a:pt x="176117" y="31764"/>
                  </a:lnTo>
                  <a:lnTo>
                    <a:pt x="177074" y="36785"/>
                  </a:lnTo>
                  <a:lnTo>
                    <a:pt x="178950" y="38358"/>
                  </a:lnTo>
                  <a:lnTo>
                    <a:pt x="180600" y="39385"/>
                  </a:lnTo>
                  <a:lnTo>
                    <a:pt x="185576" y="40460"/>
                  </a:lnTo>
                  <a:lnTo>
                    <a:pt x="185772" y="40528"/>
                  </a:lnTo>
                  <a:lnTo>
                    <a:pt x="185932" y="41208"/>
                  </a:lnTo>
                  <a:lnTo>
                    <a:pt x="186236" y="43696"/>
                  </a:lnTo>
                  <a:lnTo>
                    <a:pt x="186653" y="45757"/>
                  </a:lnTo>
                  <a:lnTo>
                    <a:pt x="189214" y="53974"/>
                  </a:lnTo>
                  <a:lnTo>
                    <a:pt x="189165" y="55979"/>
                  </a:lnTo>
                  <a:lnTo>
                    <a:pt x="189134" y="56511"/>
                  </a:lnTo>
                  <a:lnTo>
                    <a:pt x="188197" y="59315"/>
                  </a:lnTo>
                  <a:lnTo>
                    <a:pt x="186530" y="61677"/>
                  </a:lnTo>
                  <a:lnTo>
                    <a:pt x="184330" y="63008"/>
                  </a:lnTo>
                  <a:lnTo>
                    <a:pt x="183118" y="64488"/>
                  </a:lnTo>
                  <a:lnTo>
                    <a:pt x="182891" y="66122"/>
                  </a:lnTo>
                  <a:lnTo>
                    <a:pt x="185658" y="68981"/>
                  </a:lnTo>
                  <a:lnTo>
                    <a:pt x="191414" y="73066"/>
                  </a:lnTo>
                  <a:lnTo>
                    <a:pt x="193744" y="76554"/>
                  </a:lnTo>
                  <a:lnTo>
                    <a:pt x="192645" y="79452"/>
                  </a:lnTo>
                  <a:lnTo>
                    <a:pt x="192311" y="81575"/>
                  </a:lnTo>
                  <a:lnTo>
                    <a:pt x="192738" y="82926"/>
                  </a:lnTo>
                  <a:lnTo>
                    <a:pt x="193660" y="84010"/>
                  </a:lnTo>
                  <a:lnTo>
                    <a:pt x="195081" y="84830"/>
                  </a:lnTo>
                  <a:lnTo>
                    <a:pt x="195645" y="86091"/>
                  </a:lnTo>
                  <a:lnTo>
                    <a:pt x="195358" y="87793"/>
                  </a:lnTo>
                  <a:lnTo>
                    <a:pt x="195627" y="88973"/>
                  </a:lnTo>
                  <a:lnTo>
                    <a:pt x="196688" y="89813"/>
                  </a:lnTo>
                  <a:lnTo>
                    <a:pt x="196590" y="90139"/>
                  </a:lnTo>
                  <a:lnTo>
                    <a:pt x="196075" y="91321"/>
                  </a:lnTo>
                  <a:lnTo>
                    <a:pt x="195370" y="93475"/>
                  </a:lnTo>
                  <a:lnTo>
                    <a:pt x="194971" y="95046"/>
                  </a:lnTo>
                  <a:lnTo>
                    <a:pt x="193351" y="97185"/>
                  </a:lnTo>
                  <a:lnTo>
                    <a:pt x="193844" y="99001"/>
                  </a:lnTo>
                  <a:lnTo>
                    <a:pt x="195113" y="101141"/>
                  </a:lnTo>
                  <a:lnTo>
                    <a:pt x="196077" y="102216"/>
                  </a:lnTo>
                  <a:lnTo>
                    <a:pt x="196381" y="103234"/>
                  </a:lnTo>
                  <a:lnTo>
                    <a:pt x="195768" y="105653"/>
                  </a:lnTo>
                  <a:lnTo>
                    <a:pt x="196072" y="106271"/>
                  </a:lnTo>
                  <a:lnTo>
                    <a:pt x="200080" y="108051"/>
                  </a:lnTo>
                  <a:lnTo>
                    <a:pt x="200734" y="108872"/>
                  </a:lnTo>
                  <a:lnTo>
                    <a:pt x="201123" y="110581"/>
                  </a:lnTo>
                  <a:lnTo>
                    <a:pt x="202527" y="114229"/>
                  </a:lnTo>
                  <a:lnTo>
                    <a:pt x="201361" y="118843"/>
                  </a:lnTo>
                  <a:lnTo>
                    <a:pt x="200335" y="121367"/>
                  </a:lnTo>
                  <a:lnTo>
                    <a:pt x="198052" y="125369"/>
                  </a:lnTo>
                  <a:lnTo>
                    <a:pt x="197945" y="125738"/>
                  </a:lnTo>
                  <a:lnTo>
                    <a:pt x="197681" y="126224"/>
                  </a:lnTo>
                  <a:lnTo>
                    <a:pt x="196997" y="126924"/>
                  </a:lnTo>
                  <a:lnTo>
                    <a:pt x="196042" y="127029"/>
                  </a:lnTo>
                  <a:lnTo>
                    <a:pt x="194602" y="126507"/>
                  </a:lnTo>
                  <a:lnTo>
                    <a:pt x="193615" y="125838"/>
                  </a:lnTo>
                  <a:lnTo>
                    <a:pt x="193842" y="124112"/>
                  </a:lnTo>
                  <a:lnTo>
                    <a:pt x="193209" y="123999"/>
                  </a:lnTo>
                  <a:lnTo>
                    <a:pt x="192423" y="122939"/>
                  </a:lnTo>
                  <a:lnTo>
                    <a:pt x="192114" y="121799"/>
                  </a:lnTo>
                  <a:lnTo>
                    <a:pt x="191266" y="121334"/>
                  </a:lnTo>
                  <a:lnTo>
                    <a:pt x="188169" y="120855"/>
                  </a:lnTo>
                  <a:lnTo>
                    <a:pt x="187117" y="120518"/>
                  </a:lnTo>
                  <a:lnTo>
                    <a:pt x="186310" y="120761"/>
                  </a:lnTo>
                  <a:lnTo>
                    <a:pt x="185705" y="121568"/>
                  </a:lnTo>
                  <a:lnTo>
                    <a:pt x="186091" y="122297"/>
                  </a:lnTo>
                  <a:lnTo>
                    <a:pt x="186668" y="123007"/>
                  </a:lnTo>
                  <a:lnTo>
                    <a:pt x="188385" y="124132"/>
                  </a:lnTo>
                  <a:lnTo>
                    <a:pt x="188208" y="124579"/>
                  </a:lnTo>
                  <a:lnTo>
                    <a:pt x="184509" y="125673"/>
                  </a:lnTo>
                  <a:lnTo>
                    <a:pt x="182181" y="126795"/>
                  </a:lnTo>
                  <a:lnTo>
                    <a:pt x="180013" y="127425"/>
                  </a:lnTo>
                  <a:lnTo>
                    <a:pt x="177804" y="128586"/>
                  </a:lnTo>
                  <a:lnTo>
                    <a:pt x="173444" y="129889"/>
                  </a:lnTo>
                  <a:lnTo>
                    <a:pt x="170246" y="130235"/>
                  </a:lnTo>
                  <a:lnTo>
                    <a:pt x="169579" y="130579"/>
                  </a:lnTo>
                  <a:lnTo>
                    <a:pt x="168385" y="132786"/>
                  </a:lnTo>
                  <a:lnTo>
                    <a:pt x="167579" y="133247"/>
                  </a:lnTo>
                  <a:lnTo>
                    <a:pt x="166806" y="133008"/>
                  </a:lnTo>
                  <a:lnTo>
                    <a:pt x="166219" y="132647"/>
                  </a:lnTo>
                  <a:lnTo>
                    <a:pt x="165476" y="132946"/>
                  </a:lnTo>
                  <a:lnTo>
                    <a:pt x="164703" y="133676"/>
                  </a:lnTo>
                  <a:lnTo>
                    <a:pt x="163895" y="133964"/>
                  </a:lnTo>
                  <a:lnTo>
                    <a:pt x="163191" y="133954"/>
                  </a:lnTo>
                  <a:lnTo>
                    <a:pt x="161941" y="135879"/>
                  </a:lnTo>
                  <a:lnTo>
                    <a:pt x="158298" y="136463"/>
                  </a:lnTo>
                  <a:lnTo>
                    <a:pt x="157871" y="137460"/>
                  </a:lnTo>
                  <a:lnTo>
                    <a:pt x="157201" y="138616"/>
                  </a:lnTo>
                  <a:lnTo>
                    <a:pt x="156668" y="138899"/>
                  </a:lnTo>
                  <a:lnTo>
                    <a:pt x="155022" y="138441"/>
                  </a:lnTo>
                  <a:lnTo>
                    <a:pt x="152749" y="138188"/>
                  </a:lnTo>
                  <a:lnTo>
                    <a:pt x="151444" y="138821"/>
                  </a:lnTo>
                  <a:lnTo>
                    <a:pt x="149877" y="139171"/>
                  </a:lnTo>
                  <a:lnTo>
                    <a:pt x="147964" y="139277"/>
                  </a:lnTo>
                  <a:lnTo>
                    <a:pt x="145832" y="140541"/>
                  </a:lnTo>
                  <a:lnTo>
                    <a:pt x="143753" y="142759"/>
                  </a:lnTo>
                  <a:lnTo>
                    <a:pt x="142582" y="144714"/>
                  </a:lnTo>
                  <a:lnTo>
                    <a:pt x="141956" y="145416"/>
                  </a:lnTo>
                  <a:lnTo>
                    <a:pt x="140935" y="143581"/>
                  </a:lnTo>
                  <a:lnTo>
                    <a:pt x="139688" y="142321"/>
                  </a:lnTo>
                  <a:lnTo>
                    <a:pt x="138806" y="141667"/>
                  </a:lnTo>
                  <a:lnTo>
                    <a:pt x="138017" y="141666"/>
                  </a:lnTo>
                  <a:lnTo>
                    <a:pt x="137810" y="141934"/>
                  </a:lnTo>
                  <a:lnTo>
                    <a:pt x="137808" y="142895"/>
                  </a:lnTo>
                  <a:lnTo>
                    <a:pt x="138650" y="144491"/>
                  </a:lnTo>
                  <a:lnTo>
                    <a:pt x="139693" y="145579"/>
                  </a:lnTo>
                  <a:lnTo>
                    <a:pt x="139859" y="146382"/>
                  </a:lnTo>
                  <a:lnTo>
                    <a:pt x="140418" y="147843"/>
                  </a:lnTo>
                  <a:lnTo>
                    <a:pt x="141936" y="149437"/>
                  </a:lnTo>
                  <a:lnTo>
                    <a:pt x="144318" y="150700"/>
                  </a:lnTo>
                  <a:lnTo>
                    <a:pt x="145942" y="151943"/>
                  </a:lnTo>
                  <a:lnTo>
                    <a:pt x="147145" y="153665"/>
                  </a:lnTo>
                  <a:lnTo>
                    <a:pt x="147156" y="154194"/>
                  </a:lnTo>
                  <a:lnTo>
                    <a:pt x="146825" y="154897"/>
                  </a:lnTo>
                  <a:lnTo>
                    <a:pt x="146257" y="155559"/>
                  </a:lnTo>
                  <a:lnTo>
                    <a:pt x="145778" y="156421"/>
                  </a:lnTo>
                  <a:lnTo>
                    <a:pt x="144459" y="158163"/>
                  </a:lnTo>
                  <a:lnTo>
                    <a:pt x="144849" y="158924"/>
                  </a:lnTo>
                  <a:lnTo>
                    <a:pt x="145929" y="159885"/>
                  </a:lnTo>
                  <a:lnTo>
                    <a:pt x="146886" y="161038"/>
                  </a:lnTo>
                  <a:lnTo>
                    <a:pt x="148112" y="162901"/>
                  </a:lnTo>
                  <a:lnTo>
                    <a:pt x="149799" y="166162"/>
                  </a:lnTo>
                  <a:lnTo>
                    <a:pt x="150885" y="167503"/>
                  </a:lnTo>
                  <a:lnTo>
                    <a:pt x="152360" y="168887"/>
                  </a:lnTo>
                  <a:lnTo>
                    <a:pt x="153809" y="169943"/>
                  </a:lnTo>
                  <a:lnTo>
                    <a:pt x="156093" y="169911"/>
                  </a:lnTo>
                  <a:lnTo>
                    <a:pt x="158460" y="171925"/>
                  </a:lnTo>
                  <a:lnTo>
                    <a:pt x="161043" y="174835"/>
                  </a:lnTo>
                  <a:lnTo>
                    <a:pt x="162973" y="176169"/>
                  </a:lnTo>
                  <a:lnTo>
                    <a:pt x="164321" y="176575"/>
                  </a:lnTo>
                  <a:lnTo>
                    <a:pt x="165433" y="177622"/>
                  </a:lnTo>
                  <a:lnTo>
                    <a:pt x="166420" y="179127"/>
                  </a:lnTo>
                  <a:lnTo>
                    <a:pt x="166806" y="179997"/>
                  </a:lnTo>
                  <a:lnTo>
                    <a:pt x="167681" y="180625"/>
                  </a:lnTo>
                  <a:lnTo>
                    <a:pt x="170045" y="180508"/>
                  </a:lnTo>
                  <a:lnTo>
                    <a:pt x="173081" y="182873"/>
                  </a:lnTo>
                  <a:lnTo>
                    <a:pt x="174960" y="184603"/>
                  </a:lnTo>
                  <a:lnTo>
                    <a:pt x="175951" y="185999"/>
                  </a:lnTo>
                  <a:lnTo>
                    <a:pt x="175690" y="186552"/>
                  </a:lnTo>
                  <a:lnTo>
                    <a:pt x="175569" y="188289"/>
                  </a:lnTo>
                  <a:lnTo>
                    <a:pt x="175599" y="190129"/>
                  </a:lnTo>
                  <a:lnTo>
                    <a:pt x="175301" y="191102"/>
                  </a:lnTo>
                  <a:lnTo>
                    <a:pt x="173943" y="192382"/>
                  </a:lnTo>
                  <a:lnTo>
                    <a:pt x="173241" y="192654"/>
                  </a:lnTo>
                  <a:lnTo>
                    <a:pt x="172866" y="192930"/>
                  </a:lnTo>
                  <a:lnTo>
                    <a:pt x="168696" y="191261"/>
                  </a:lnTo>
                  <a:lnTo>
                    <a:pt x="168365" y="191546"/>
                  </a:lnTo>
                  <a:lnTo>
                    <a:pt x="168104" y="191752"/>
                  </a:lnTo>
                  <a:lnTo>
                    <a:pt x="166988" y="196586"/>
                  </a:lnTo>
                  <a:lnTo>
                    <a:pt x="166219" y="197514"/>
                  </a:lnTo>
                  <a:lnTo>
                    <a:pt x="165074" y="198368"/>
                  </a:lnTo>
                  <a:lnTo>
                    <a:pt x="162695" y="199199"/>
                  </a:lnTo>
                  <a:lnTo>
                    <a:pt x="161041" y="199537"/>
                  </a:lnTo>
                  <a:lnTo>
                    <a:pt x="159752" y="199958"/>
                  </a:lnTo>
                  <a:lnTo>
                    <a:pt x="155668" y="201977"/>
                  </a:lnTo>
                  <a:lnTo>
                    <a:pt x="153828" y="203189"/>
                  </a:lnTo>
                  <a:lnTo>
                    <a:pt x="152636" y="204711"/>
                  </a:lnTo>
                  <a:lnTo>
                    <a:pt x="152630" y="205587"/>
                  </a:lnTo>
                  <a:lnTo>
                    <a:pt x="154616" y="208160"/>
                  </a:lnTo>
                  <a:lnTo>
                    <a:pt x="156908" y="210815"/>
                  </a:lnTo>
                  <a:lnTo>
                    <a:pt x="156923" y="213149"/>
                  </a:lnTo>
                  <a:lnTo>
                    <a:pt x="155908" y="214893"/>
                  </a:lnTo>
                  <a:lnTo>
                    <a:pt x="155672" y="215567"/>
                  </a:lnTo>
                  <a:lnTo>
                    <a:pt x="156346" y="215820"/>
                  </a:lnTo>
                  <a:lnTo>
                    <a:pt x="157616" y="215917"/>
                  </a:lnTo>
                  <a:lnTo>
                    <a:pt x="158678" y="216217"/>
                  </a:lnTo>
                  <a:lnTo>
                    <a:pt x="159132" y="217443"/>
                  </a:lnTo>
                  <a:lnTo>
                    <a:pt x="158996" y="219578"/>
                  </a:lnTo>
                  <a:lnTo>
                    <a:pt x="158633" y="221575"/>
                  </a:lnTo>
                  <a:lnTo>
                    <a:pt x="158253" y="222415"/>
                  </a:lnTo>
                  <a:lnTo>
                    <a:pt x="157229" y="222482"/>
                  </a:lnTo>
                  <a:lnTo>
                    <a:pt x="155258" y="221619"/>
                  </a:lnTo>
                  <a:lnTo>
                    <a:pt x="153720" y="220616"/>
                  </a:lnTo>
                  <a:lnTo>
                    <a:pt x="153133" y="219999"/>
                  </a:lnTo>
                  <a:lnTo>
                    <a:pt x="153096" y="219261"/>
                  </a:lnTo>
                  <a:lnTo>
                    <a:pt x="153429" y="218795"/>
                  </a:lnTo>
                  <a:lnTo>
                    <a:pt x="152880" y="217885"/>
                  </a:lnTo>
                  <a:lnTo>
                    <a:pt x="150989" y="217044"/>
                  </a:lnTo>
                  <a:lnTo>
                    <a:pt x="148963" y="217410"/>
                  </a:lnTo>
                  <a:lnTo>
                    <a:pt x="147467" y="217977"/>
                  </a:lnTo>
                  <a:lnTo>
                    <a:pt x="146502" y="217944"/>
                  </a:lnTo>
                  <a:lnTo>
                    <a:pt x="145459" y="217134"/>
                  </a:lnTo>
                  <a:lnTo>
                    <a:pt x="143854" y="216514"/>
                  </a:lnTo>
                  <a:lnTo>
                    <a:pt x="141757" y="216105"/>
                  </a:lnTo>
                  <a:lnTo>
                    <a:pt x="140451" y="215668"/>
                  </a:lnTo>
                  <a:lnTo>
                    <a:pt x="140176" y="215926"/>
                  </a:lnTo>
                  <a:lnTo>
                    <a:pt x="140330" y="217679"/>
                  </a:lnTo>
                  <a:lnTo>
                    <a:pt x="139928" y="218444"/>
                  </a:lnTo>
                  <a:lnTo>
                    <a:pt x="129561" y="219456"/>
                  </a:lnTo>
                  <a:lnTo>
                    <a:pt x="126402" y="220404"/>
                  </a:lnTo>
                  <a:lnTo>
                    <a:pt x="124102" y="221629"/>
                  </a:lnTo>
                  <a:lnTo>
                    <a:pt x="122400" y="222160"/>
                  </a:lnTo>
                  <a:lnTo>
                    <a:pt x="121984" y="222915"/>
                  </a:lnTo>
                  <a:lnTo>
                    <a:pt x="120299" y="223906"/>
                  </a:lnTo>
                  <a:lnTo>
                    <a:pt x="118397" y="224223"/>
                  </a:lnTo>
                  <a:lnTo>
                    <a:pt x="117939" y="223898"/>
                  </a:lnTo>
                  <a:lnTo>
                    <a:pt x="116719" y="224356"/>
                  </a:lnTo>
                  <a:lnTo>
                    <a:pt x="114640" y="224797"/>
                  </a:lnTo>
                  <a:lnTo>
                    <a:pt x="113288" y="224657"/>
                  </a:lnTo>
                  <a:lnTo>
                    <a:pt x="112653" y="223856"/>
                  </a:lnTo>
                  <a:lnTo>
                    <a:pt x="111366" y="222629"/>
                  </a:lnTo>
                  <a:lnTo>
                    <a:pt x="110850" y="221778"/>
                  </a:lnTo>
                  <a:lnTo>
                    <a:pt x="110904" y="221233"/>
                  </a:lnTo>
                  <a:lnTo>
                    <a:pt x="107997" y="221123"/>
                  </a:lnTo>
                  <a:lnTo>
                    <a:pt x="106164" y="220475"/>
                  </a:lnTo>
                  <a:lnTo>
                    <a:pt x="102275" y="220627"/>
                  </a:lnTo>
                  <a:lnTo>
                    <a:pt x="101316" y="220353"/>
                  </a:lnTo>
                  <a:lnTo>
                    <a:pt x="101116" y="220647"/>
                  </a:lnTo>
                  <a:lnTo>
                    <a:pt x="100530" y="224128"/>
                  </a:lnTo>
                  <a:lnTo>
                    <a:pt x="99761" y="225556"/>
                  </a:lnTo>
                  <a:lnTo>
                    <a:pt x="98515" y="227030"/>
                  </a:lnTo>
                  <a:lnTo>
                    <a:pt x="96920" y="227850"/>
                  </a:lnTo>
                  <a:lnTo>
                    <a:pt x="95646" y="227999"/>
                  </a:lnTo>
                  <a:lnTo>
                    <a:pt x="95706" y="226925"/>
                  </a:lnTo>
                  <a:lnTo>
                    <a:pt x="96028" y="225630"/>
                  </a:lnTo>
                  <a:lnTo>
                    <a:pt x="95110" y="225326"/>
                  </a:lnTo>
                  <a:lnTo>
                    <a:pt x="93732" y="225177"/>
                  </a:lnTo>
                  <a:lnTo>
                    <a:pt x="93065" y="224791"/>
                  </a:lnTo>
                  <a:lnTo>
                    <a:pt x="93240" y="223805"/>
                  </a:lnTo>
                  <a:lnTo>
                    <a:pt x="92923" y="223229"/>
                  </a:lnTo>
                  <a:lnTo>
                    <a:pt x="92353" y="222541"/>
                  </a:lnTo>
                  <a:lnTo>
                    <a:pt x="90971" y="221651"/>
                  </a:lnTo>
                  <a:lnTo>
                    <a:pt x="88042" y="220332"/>
                  </a:lnTo>
                  <a:lnTo>
                    <a:pt x="86047" y="219680"/>
                  </a:lnTo>
                  <a:lnTo>
                    <a:pt x="85300" y="220374"/>
                  </a:lnTo>
                  <a:lnTo>
                    <a:pt x="83873" y="221074"/>
                  </a:lnTo>
                  <a:lnTo>
                    <a:pt x="81625" y="220845"/>
                  </a:lnTo>
                  <a:lnTo>
                    <a:pt x="81074" y="221120"/>
                  </a:lnTo>
                  <a:lnTo>
                    <a:pt x="77226" y="219023"/>
                  </a:lnTo>
                  <a:lnTo>
                    <a:pt x="73529" y="217005"/>
                  </a:lnTo>
                  <a:lnTo>
                    <a:pt x="72307" y="217005"/>
                  </a:lnTo>
                  <a:lnTo>
                    <a:pt x="66859" y="217408"/>
                  </a:lnTo>
                  <a:lnTo>
                    <a:pt x="66701" y="217230"/>
                  </a:lnTo>
                  <a:lnTo>
                    <a:pt x="65753" y="216080"/>
                  </a:lnTo>
                  <a:lnTo>
                    <a:pt x="64911" y="215716"/>
                  </a:lnTo>
                  <a:lnTo>
                    <a:pt x="64404" y="215903"/>
                  </a:lnTo>
                  <a:lnTo>
                    <a:pt x="64065" y="216237"/>
                  </a:lnTo>
                  <a:lnTo>
                    <a:pt x="63480" y="216180"/>
                  </a:lnTo>
                  <a:lnTo>
                    <a:pt x="61037" y="214322"/>
                  </a:lnTo>
                  <a:lnTo>
                    <a:pt x="60038" y="214054"/>
                  </a:lnTo>
                  <a:lnTo>
                    <a:pt x="58649" y="214300"/>
                  </a:lnTo>
                  <a:lnTo>
                    <a:pt x="57010" y="215300"/>
                  </a:lnTo>
                  <a:lnTo>
                    <a:pt x="56295" y="216525"/>
                  </a:lnTo>
                  <a:lnTo>
                    <a:pt x="56513" y="217230"/>
                  </a:lnTo>
                  <a:lnTo>
                    <a:pt x="57364" y="217537"/>
                  </a:lnTo>
                  <a:lnTo>
                    <a:pt x="59588" y="217331"/>
                  </a:lnTo>
                  <a:lnTo>
                    <a:pt x="59914" y="217534"/>
                  </a:lnTo>
                  <a:lnTo>
                    <a:pt x="59990" y="217930"/>
                  </a:lnTo>
                  <a:lnTo>
                    <a:pt x="59746" y="218318"/>
                  </a:lnTo>
                  <a:lnTo>
                    <a:pt x="57937" y="218636"/>
                  </a:lnTo>
                  <a:lnTo>
                    <a:pt x="57414" y="219099"/>
                  </a:lnTo>
                  <a:lnTo>
                    <a:pt x="56885" y="219213"/>
                  </a:lnTo>
                  <a:lnTo>
                    <a:pt x="56546" y="219285"/>
                  </a:lnTo>
                  <a:lnTo>
                    <a:pt x="54624" y="218798"/>
                  </a:lnTo>
                  <a:lnTo>
                    <a:pt x="51759" y="218798"/>
                  </a:lnTo>
                  <a:lnTo>
                    <a:pt x="49448" y="219662"/>
                  </a:lnTo>
                  <a:lnTo>
                    <a:pt x="45762" y="220007"/>
                  </a:lnTo>
                  <a:lnTo>
                    <a:pt x="40698" y="219838"/>
                  </a:lnTo>
                  <a:lnTo>
                    <a:pt x="38876" y="219197"/>
                  </a:lnTo>
                  <a:lnTo>
                    <a:pt x="37766" y="218809"/>
                  </a:lnTo>
                  <a:lnTo>
                    <a:pt x="36969" y="216916"/>
                  </a:lnTo>
                  <a:lnTo>
                    <a:pt x="37172" y="214110"/>
                  </a:lnTo>
                  <a:lnTo>
                    <a:pt x="38381" y="210391"/>
                  </a:lnTo>
                  <a:lnTo>
                    <a:pt x="38718" y="207658"/>
                  </a:lnTo>
                  <a:lnTo>
                    <a:pt x="38180" y="205916"/>
                  </a:lnTo>
                  <a:lnTo>
                    <a:pt x="38897" y="203303"/>
                  </a:lnTo>
                  <a:lnTo>
                    <a:pt x="40867" y="199818"/>
                  </a:lnTo>
                  <a:lnTo>
                    <a:pt x="42182" y="196136"/>
                  </a:lnTo>
                  <a:lnTo>
                    <a:pt x="42838" y="192255"/>
                  </a:lnTo>
                  <a:lnTo>
                    <a:pt x="43792" y="189722"/>
                  </a:lnTo>
                  <a:lnTo>
                    <a:pt x="45667" y="187945"/>
                  </a:lnTo>
                  <a:lnTo>
                    <a:pt x="50117" y="182971"/>
                  </a:lnTo>
                  <a:lnTo>
                    <a:pt x="50478" y="182596"/>
                  </a:lnTo>
                  <a:lnTo>
                    <a:pt x="50357" y="180111"/>
                  </a:lnTo>
                  <a:lnTo>
                    <a:pt x="49158" y="179760"/>
                  </a:lnTo>
                  <a:lnTo>
                    <a:pt x="47403" y="179046"/>
                  </a:lnTo>
                  <a:lnTo>
                    <a:pt x="42935" y="178162"/>
                  </a:lnTo>
                  <a:lnTo>
                    <a:pt x="38772" y="177595"/>
                  </a:lnTo>
                  <a:lnTo>
                    <a:pt x="36882" y="176892"/>
                  </a:lnTo>
                  <a:lnTo>
                    <a:pt x="35226" y="175011"/>
                  </a:lnTo>
                  <a:lnTo>
                    <a:pt x="34200" y="174986"/>
                  </a:lnTo>
                  <a:lnTo>
                    <a:pt x="32192" y="175659"/>
                  </a:lnTo>
                  <a:lnTo>
                    <a:pt x="29683" y="176114"/>
                  </a:lnTo>
                  <a:lnTo>
                    <a:pt x="27859" y="175716"/>
                  </a:lnTo>
                  <a:lnTo>
                    <a:pt x="26716" y="175793"/>
                  </a:lnTo>
                  <a:lnTo>
                    <a:pt x="26075" y="176140"/>
                  </a:lnTo>
                  <a:lnTo>
                    <a:pt x="25753" y="175833"/>
                  </a:lnTo>
                  <a:lnTo>
                    <a:pt x="25295" y="174220"/>
                  </a:lnTo>
                  <a:lnTo>
                    <a:pt x="24341" y="173798"/>
                  </a:lnTo>
                  <a:lnTo>
                    <a:pt x="22857" y="173429"/>
                  </a:lnTo>
                  <a:lnTo>
                    <a:pt x="21935" y="173589"/>
                  </a:lnTo>
                  <a:lnTo>
                    <a:pt x="21298" y="174390"/>
                  </a:lnTo>
                  <a:lnTo>
                    <a:pt x="20316" y="174955"/>
                  </a:lnTo>
                  <a:lnTo>
                    <a:pt x="19413" y="174771"/>
                  </a:lnTo>
                  <a:lnTo>
                    <a:pt x="16586" y="171044"/>
                  </a:lnTo>
                  <a:lnTo>
                    <a:pt x="15858" y="170219"/>
                  </a:lnTo>
                  <a:lnTo>
                    <a:pt x="15673" y="169460"/>
                  </a:lnTo>
                  <a:lnTo>
                    <a:pt x="14965" y="168071"/>
                  </a:lnTo>
                  <a:lnTo>
                    <a:pt x="13280" y="166689"/>
                  </a:lnTo>
                  <a:lnTo>
                    <a:pt x="11603" y="166251"/>
                  </a:lnTo>
                  <a:lnTo>
                    <a:pt x="10765" y="166406"/>
                  </a:lnTo>
                  <a:lnTo>
                    <a:pt x="10855" y="164686"/>
                  </a:lnTo>
                  <a:lnTo>
                    <a:pt x="11516" y="162190"/>
                  </a:lnTo>
                  <a:lnTo>
                    <a:pt x="12144" y="160886"/>
                  </a:lnTo>
                  <a:lnTo>
                    <a:pt x="12982" y="159820"/>
                  </a:lnTo>
                  <a:lnTo>
                    <a:pt x="13870" y="159079"/>
                  </a:lnTo>
                  <a:lnTo>
                    <a:pt x="14069" y="157738"/>
                  </a:lnTo>
                  <a:lnTo>
                    <a:pt x="13926" y="156469"/>
                  </a:lnTo>
                  <a:lnTo>
                    <a:pt x="12900" y="156272"/>
                  </a:lnTo>
                  <a:lnTo>
                    <a:pt x="10329" y="155334"/>
                  </a:lnTo>
                  <a:lnTo>
                    <a:pt x="8813" y="154346"/>
                  </a:lnTo>
                  <a:lnTo>
                    <a:pt x="7681" y="153108"/>
                  </a:lnTo>
                  <a:lnTo>
                    <a:pt x="6206" y="151401"/>
                  </a:lnTo>
                  <a:lnTo>
                    <a:pt x="5578" y="149667"/>
                  </a:lnTo>
                  <a:lnTo>
                    <a:pt x="5546" y="147938"/>
                  </a:lnTo>
                  <a:lnTo>
                    <a:pt x="5727" y="147164"/>
                  </a:lnTo>
                  <a:lnTo>
                    <a:pt x="5833" y="146633"/>
                  </a:lnTo>
                  <a:lnTo>
                    <a:pt x="7023" y="143934"/>
                  </a:lnTo>
                  <a:lnTo>
                    <a:pt x="11210" y="141516"/>
                  </a:lnTo>
                  <a:lnTo>
                    <a:pt x="10749" y="139079"/>
                  </a:lnTo>
                  <a:lnTo>
                    <a:pt x="10689" y="137584"/>
                  </a:lnTo>
                  <a:lnTo>
                    <a:pt x="9672" y="136605"/>
                  </a:lnTo>
                  <a:lnTo>
                    <a:pt x="7640" y="136209"/>
                  </a:lnTo>
                  <a:lnTo>
                    <a:pt x="7102" y="135530"/>
                  </a:lnTo>
                  <a:lnTo>
                    <a:pt x="6876" y="134867"/>
                  </a:lnTo>
                  <a:lnTo>
                    <a:pt x="8368" y="133375"/>
                  </a:lnTo>
                  <a:lnTo>
                    <a:pt x="6567" y="132195"/>
                  </a:lnTo>
                  <a:lnTo>
                    <a:pt x="5792" y="130974"/>
                  </a:lnTo>
                  <a:lnTo>
                    <a:pt x="3282" y="129432"/>
                  </a:lnTo>
                  <a:lnTo>
                    <a:pt x="3017" y="128901"/>
                  </a:lnTo>
                  <a:lnTo>
                    <a:pt x="4222" y="124399"/>
                  </a:lnTo>
                  <a:lnTo>
                    <a:pt x="3302" y="123084"/>
                  </a:lnTo>
                  <a:lnTo>
                    <a:pt x="2157" y="122413"/>
                  </a:lnTo>
                  <a:lnTo>
                    <a:pt x="823" y="122083"/>
                  </a:lnTo>
                  <a:lnTo>
                    <a:pt x="214" y="121457"/>
                  </a:lnTo>
                  <a:lnTo>
                    <a:pt x="0" y="120742"/>
                  </a:lnTo>
                  <a:lnTo>
                    <a:pt x="240" y="120299"/>
                  </a:lnTo>
                  <a:lnTo>
                    <a:pt x="1807" y="120430"/>
                  </a:lnTo>
                  <a:lnTo>
                    <a:pt x="2289" y="119966"/>
                  </a:lnTo>
                  <a:lnTo>
                    <a:pt x="6025" y="117313"/>
                  </a:lnTo>
                  <a:lnTo>
                    <a:pt x="6178" y="116803"/>
                  </a:lnTo>
                  <a:lnTo>
                    <a:pt x="5658" y="116514"/>
                  </a:lnTo>
                  <a:lnTo>
                    <a:pt x="4973" y="116360"/>
                  </a:lnTo>
                  <a:lnTo>
                    <a:pt x="4805" y="115802"/>
                  </a:lnTo>
                  <a:lnTo>
                    <a:pt x="4829" y="115067"/>
                  </a:lnTo>
                  <a:lnTo>
                    <a:pt x="6826" y="111235"/>
                  </a:lnTo>
                  <a:lnTo>
                    <a:pt x="7416" y="109599"/>
                  </a:lnTo>
                  <a:lnTo>
                    <a:pt x="7547" y="108442"/>
                  </a:lnTo>
                  <a:lnTo>
                    <a:pt x="7424" y="107299"/>
                  </a:lnTo>
                  <a:lnTo>
                    <a:pt x="6282" y="105500"/>
                  </a:lnTo>
                  <a:lnTo>
                    <a:pt x="5165" y="104064"/>
                  </a:lnTo>
                  <a:lnTo>
                    <a:pt x="5127" y="102920"/>
                  </a:lnTo>
                  <a:lnTo>
                    <a:pt x="4317" y="102318"/>
                  </a:lnTo>
                  <a:lnTo>
                    <a:pt x="2013" y="99249"/>
                  </a:lnTo>
                  <a:lnTo>
                    <a:pt x="2017" y="98061"/>
                  </a:lnTo>
                  <a:lnTo>
                    <a:pt x="3319" y="97138"/>
                  </a:lnTo>
                  <a:lnTo>
                    <a:pt x="5137" y="96549"/>
                  </a:lnTo>
                  <a:lnTo>
                    <a:pt x="5742" y="96063"/>
                  </a:lnTo>
                  <a:lnTo>
                    <a:pt x="6832" y="95757"/>
                  </a:lnTo>
                  <a:lnTo>
                    <a:pt x="9720" y="96644"/>
                  </a:lnTo>
                  <a:lnTo>
                    <a:pt x="11015" y="97413"/>
                  </a:lnTo>
                  <a:lnTo>
                    <a:pt x="11380" y="97254"/>
                  </a:lnTo>
                  <a:lnTo>
                    <a:pt x="12548" y="96417"/>
                  </a:lnTo>
                  <a:lnTo>
                    <a:pt x="14595" y="96549"/>
                  </a:lnTo>
                  <a:lnTo>
                    <a:pt x="19553" y="94867"/>
                  </a:lnTo>
                  <a:lnTo>
                    <a:pt x="20292" y="94058"/>
                  </a:lnTo>
                  <a:lnTo>
                    <a:pt x="20849" y="93198"/>
                  </a:lnTo>
                  <a:lnTo>
                    <a:pt x="20894" y="92820"/>
                  </a:lnTo>
                  <a:lnTo>
                    <a:pt x="18975" y="91164"/>
                  </a:lnTo>
                  <a:lnTo>
                    <a:pt x="18916" y="90551"/>
                  </a:lnTo>
                  <a:lnTo>
                    <a:pt x="19171" y="89860"/>
                  </a:lnTo>
                  <a:lnTo>
                    <a:pt x="19713" y="89314"/>
                  </a:lnTo>
                  <a:lnTo>
                    <a:pt x="20849" y="88943"/>
                  </a:lnTo>
                  <a:lnTo>
                    <a:pt x="22058" y="88215"/>
                  </a:lnTo>
                  <a:lnTo>
                    <a:pt x="24759" y="86149"/>
                  </a:lnTo>
                  <a:lnTo>
                    <a:pt x="25697" y="84355"/>
                  </a:lnTo>
                  <a:lnTo>
                    <a:pt x="25984" y="82411"/>
                  </a:lnTo>
                  <a:lnTo>
                    <a:pt x="26040" y="80964"/>
                  </a:lnTo>
                  <a:lnTo>
                    <a:pt x="25304" y="79812"/>
                  </a:lnTo>
                  <a:lnTo>
                    <a:pt x="24559" y="79066"/>
                  </a:lnTo>
                  <a:lnTo>
                    <a:pt x="23540" y="79179"/>
                  </a:lnTo>
                  <a:lnTo>
                    <a:pt x="21559" y="79120"/>
                  </a:lnTo>
                  <a:lnTo>
                    <a:pt x="19709" y="78473"/>
                  </a:lnTo>
                  <a:lnTo>
                    <a:pt x="18694" y="77426"/>
                  </a:lnTo>
                  <a:lnTo>
                    <a:pt x="18444" y="76505"/>
                  </a:lnTo>
                  <a:lnTo>
                    <a:pt x="18903" y="75925"/>
                  </a:lnTo>
                  <a:lnTo>
                    <a:pt x="19044" y="75212"/>
                  </a:lnTo>
                  <a:lnTo>
                    <a:pt x="18748" y="74495"/>
                  </a:lnTo>
                  <a:lnTo>
                    <a:pt x="18867" y="73893"/>
                  </a:lnTo>
                  <a:lnTo>
                    <a:pt x="19700" y="73410"/>
                  </a:lnTo>
                  <a:lnTo>
                    <a:pt x="25554" y="73426"/>
                  </a:lnTo>
                  <a:lnTo>
                    <a:pt x="25993" y="72895"/>
                  </a:lnTo>
                  <a:lnTo>
                    <a:pt x="26388" y="70108"/>
                  </a:lnTo>
                  <a:lnTo>
                    <a:pt x="27852" y="65859"/>
                  </a:lnTo>
                  <a:lnTo>
                    <a:pt x="29232" y="63490"/>
                  </a:lnTo>
                  <a:lnTo>
                    <a:pt x="29463" y="62493"/>
                  </a:lnTo>
                  <a:lnTo>
                    <a:pt x="29441" y="56866"/>
                  </a:lnTo>
                  <a:lnTo>
                    <a:pt x="29625" y="54011"/>
                  </a:lnTo>
                  <a:lnTo>
                    <a:pt x="28625" y="52668"/>
                  </a:lnTo>
                  <a:lnTo>
                    <a:pt x="26442" y="51197"/>
                  </a:lnTo>
                  <a:lnTo>
                    <a:pt x="26906" y="48132"/>
                  </a:lnTo>
                  <a:lnTo>
                    <a:pt x="27632" y="45741"/>
                  </a:lnTo>
                  <a:lnTo>
                    <a:pt x="29828" y="42797"/>
                  </a:lnTo>
                  <a:lnTo>
                    <a:pt x="31570" y="41987"/>
                  </a:lnTo>
                  <a:lnTo>
                    <a:pt x="39176" y="41506"/>
                  </a:lnTo>
                  <a:lnTo>
                    <a:pt x="47580" y="41704"/>
                  </a:lnTo>
                  <a:lnTo>
                    <a:pt x="51069" y="46150"/>
                  </a:lnTo>
                  <a:lnTo>
                    <a:pt x="49774" y="48432"/>
                  </a:lnTo>
                  <a:lnTo>
                    <a:pt x="51814" y="49494"/>
                  </a:lnTo>
                  <a:lnTo>
                    <a:pt x="52797" y="49106"/>
                  </a:lnTo>
                  <a:lnTo>
                    <a:pt x="53544" y="47121"/>
                  </a:lnTo>
                  <a:lnTo>
                    <a:pt x="54043" y="44922"/>
                  </a:lnTo>
                  <a:lnTo>
                    <a:pt x="54758" y="44256"/>
                  </a:lnTo>
                  <a:lnTo>
                    <a:pt x="57356" y="45900"/>
                  </a:lnTo>
                  <a:lnTo>
                    <a:pt x="58269" y="47026"/>
                  </a:lnTo>
                  <a:lnTo>
                    <a:pt x="58325" y="50644"/>
                  </a:lnTo>
                  <a:lnTo>
                    <a:pt x="59282" y="45743"/>
                  </a:lnTo>
                  <a:lnTo>
                    <a:pt x="58569" y="42307"/>
                  </a:lnTo>
                  <a:lnTo>
                    <a:pt x="59059" y="38972"/>
                  </a:lnTo>
                  <a:lnTo>
                    <a:pt x="60102" y="37235"/>
                  </a:lnTo>
                  <a:lnTo>
                    <a:pt x="61061" y="36130"/>
                  </a:lnTo>
                  <a:lnTo>
                    <a:pt x="67226" y="37320"/>
                  </a:lnTo>
                  <a:lnTo>
                    <a:pt x="74032" y="36706"/>
                  </a:lnTo>
                  <a:lnTo>
                    <a:pt x="76606" y="37992"/>
                  </a:lnTo>
                  <a:lnTo>
                    <a:pt x="82430" y="44428"/>
                  </a:lnTo>
                  <a:lnTo>
                    <a:pt x="84372" y="45480"/>
                  </a:lnTo>
                  <a:lnTo>
                    <a:pt x="86822" y="45811"/>
                  </a:lnTo>
                  <a:lnTo>
                    <a:pt x="83445" y="44437"/>
                  </a:lnTo>
                  <a:lnTo>
                    <a:pt x="76386" y="36610"/>
                  </a:lnTo>
                  <a:lnTo>
                    <a:pt x="74272" y="35639"/>
                  </a:lnTo>
                  <a:lnTo>
                    <a:pt x="71027" y="35344"/>
                  </a:lnTo>
                  <a:lnTo>
                    <a:pt x="69003" y="34578"/>
                  </a:lnTo>
                  <a:lnTo>
                    <a:pt x="67727" y="33392"/>
                  </a:lnTo>
                  <a:lnTo>
                    <a:pt x="67353" y="32332"/>
                  </a:lnTo>
                  <a:lnTo>
                    <a:pt x="67423" y="24417"/>
                  </a:lnTo>
                  <a:lnTo>
                    <a:pt x="66205" y="23237"/>
                  </a:lnTo>
                  <a:lnTo>
                    <a:pt x="64631" y="22826"/>
                  </a:lnTo>
                  <a:lnTo>
                    <a:pt x="63650" y="23369"/>
                  </a:lnTo>
                  <a:lnTo>
                    <a:pt x="61636" y="23376"/>
                  </a:lnTo>
                  <a:lnTo>
                    <a:pt x="61212" y="21579"/>
                  </a:lnTo>
                  <a:lnTo>
                    <a:pt x="61704" y="20247"/>
                  </a:lnTo>
                  <a:lnTo>
                    <a:pt x="65753" y="19336"/>
                  </a:lnTo>
                  <a:lnTo>
                    <a:pt x="68422" y="18114"/>
                  </a:lnTo>
                  <a:lnTo>
                    <a:pt x="68541" y="15954"/>
                  </a:lnTo>
                  <a:lnTo>
                    <a:pt x="66855" y="14254"/>
                  </a:lnTo>
                  <a:lnTo>
                    <a:pt x="64836" y="11133"/>
                  </a:lnTo>
                  <a:lnTo>
                    <a:pt x="62463" y="8196"/>
                  </a:lnTo>
                  <a:close/>
                  <a:moveTo>
                    <a:pt x="56334" y="0"/>
                  </a:moveTo>
                  <a:lnTo>
                    <a:pt x="57358" y="103"/>
                  </a:lnTo>
                  <a:lnTo>
                    <a:pt x="56310" y="1353"/>
                  </a:lnTo>
                  <a:lnTo>
                    <a:pt x="56008" y="2228"/>
                  </a:lnTo>
                  <a:lnTo>
                    <a:pt x="55583" y="3975"/>
                  </a:lnTo>
                  <a:lnTo>
                    <a:pt x="55775" y="4882"/>
                  </a:lnTo>
                  <a:lnTo>
                    <a:pt x="61296" y="5131"/>
                  </a:lnTo>
                  <a:lnTo>
                    <a:pt x="60655" y="5940"/>
                  </a:lnTo>
                  <a:lnTo>
                    <a:pt x="55056" y="6486"/>
                  </a:lnTo>
                  <a:lnTo>
                    <a:pt x="54179" y="8345"/>
                  </a:lnTo>
                  <a:lnTo>
                    <a:pt x="53669" y="8954"/>
                  </a:lnTo>
                  <a:lnTo>
                    <a:pt x="53913" y="4623"/>
                  </a:lnTo>
                  <a:close/>
                </a:path>
              </a:pathLst>
            </a:custGeom>
            <a:solidFill>
              <a:schemeClr val="accent6"/>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2" name="ee4p_DK_1_15912">
              <a:extLst>
                <a:ext uri="{FF2B5EF4-FFF2-40B4-BE49-F238E27FC236}">
                  <a16:creationId xmlns:a16="http://schemas.microsoft.com/office/drawing/2014/main" id="{C04C80AF-0006-B69B-A8FC-A4AB62F82A11}"/>
                </a:ext>
              </a:extLst>
            </p:cNvPr>
            <p:cNvSpPr>
              <a:spLocks noChangeAspect="1"/>
            </p:cNvSpPr>
            <p:nvPr>
              <p:custDataLst>
                <p:tags r:id="rId24"/>
              </p:custDataLst>
            </p:nvPr>
          </p:nvSpPr>
          <p:spPr>
            <a:xfrm>
              <a:off x="4483616" y="3601608"/>
              <a:ext cx="614971" cy="385026"/>
            </a:xfrm>
            <a:custGeom>
              <a:avLst/>
              <a:gdLst>
                <a:gd name="connsiteX0" fmla="*/ 69366 w 155130"/>
                <a:gd name="connsiteY0" fmla="*/ 87225 h 97125"/>
                <a:gd name="connsiteX1" fmla="*/ 71642 w 155130"/>
                <a:gd name="connsiteY1" fmla="*/ 89072 h 97125"/>
                <a:gd name="connsiteX2" fmla="*/ 75555 w 155130"/>
                <a:gd name="connsiteY2" fmla="*/ 90976 h 97125"/>
                <a:gd name="connsiteX3" fmla="*/ 78202 w 155130"/>
                <a:gd name="connsiteY3" fmla="*/ 90867 h 97125"/>
                <a:gd name="connsiteX4" fmla="*/ 80003 w 155130"/>
                <a:gd name="connsiteY4" fmla="*/ 91656 h 97125"/>
                <a:gd name="connsiteX5" fmla="*/ 80433 w 155130"/>
                <a:gd name="connsiteY5" fmla="*/ 92874 h 97125"/>
                <a:gd name="connsiteX6" fmla="*/ 80586 w 155130"/>
                <a:gd name="connsiteY6" fmla="*/ 95577 h 97125"/>
                <a:gd name="connsiteX7" fmla="*/ 78695 w 155130"/>
                <a:gd name="connsiteY7" fmla="*/ 96364 h 97125"/>
                <a:gd name="connsiteX8" fmla="*/ 76607 w 155130"/>
                <a:gd name="connsiteY8" fmla="*/ 96097 h 97125"/>
                <a:gd name="connsiteX9" fmla="*/ 73765 w 155130"/>
                <a:gd name="connsiteY9" fmla="*/ 97125 h 97125"/>
                <a:gd name="connsiteX10" fmla="*/ 64436 w 155130"/>
                <a:gd name="connsiteY10" fmla="*/ 92708 h 97125"/>
                <a:gd name="connsiteX11" fmla="*/ 64572 w 155130"/>
                <a:gd name="connsiteY11" fmla="*/ 89020 h 97125"/>
                <a:gd name="connsiteX12" fmla="*/ 64946 w 155130"/>
                <a:gd name="connsiteY12" fmla="*/ 87570 h 97125"/>
                <a:gd name="connsiteX13" fmla="*/ 45958 w 155130"/>
                <a:gd name="connsiteY13" fmla="*/ 86889 h 97125"/>
                <a:gd name="connsiteX14" fmla="*/ 47410 w 155130"/>
                <a:gd name="connsiteY14" fmla="*/ 87316 h 97125"/>
                <a:gd name="connsiteX15" fmla="*/ 49211 w 155130"/>
                <a:gd name="connsiteY15" fmla="*/ 88633 h 97125"/>
                <a:gd name="connsiteX16" fmla="*/ 50685 w 155130"/>
                <a:gd name="connsiteY16" fmla="*/ 88913 h 97125"/>
                <a:gd name="connsiteX17" fmla="*/ 52702 w 155130"/>
                <a:gd name="connsiteY17" fmla="*/ 90027 h 97125"/>
                <a:gd name="connsiteX18" fmla="*/ 52249 w 155130"/>
                <a:gd name="connsiteY18" fmla="*/ 90425 h 97125"/>
                <a:gd name="connsiteX19" fmla="*/ 50765 w 155130"/>
                <a:gd name="connsiteY19" fmla="*/ 90744 h 97125"/>
                <a:gd name="connsiteX20" fmla="*/ 49068 w 155130"/>
                <a:gd name="connsiteY20" fmla="*/ 90076 h 97125"/>
                <a:gd name="connsiteX21" fmla="*/ 46306 w 155130"/>
                <a:gd name="connsiteY21" fmla="*/ 87558 h 97125"/>
                <a:gd name="connsiteX22" fmla="*/ 91822 w 155130"/>
                <a:gd name="connsiteY22" fmla="*/ 83772 h 97125"/>
                <a:gd name="connsiteX23" fmla="*/ 92618 w 155130"/>
                <a:gd name="connsiteY23" fmla="*/ 84486 h 97125"/>
                <a:gd name="connsiteX24" fmla="*/ 94987 w 155130"/>
                <a:gd name="connsiteY24" fmla="*/ 84785 h 97125"/>
                <a:gd name="connsiteX25" fmla="*/ 96145 w 155130"/>
                <a:gd name="connsiteY25" fmla="*/ 85207 h 97125"/>
                <a:gd name="connsiteX26" fmla="*/ 97112 w 155130"/>
                <a:gd name="connsiteY26" fmla="*/ 85827 h 97125"/>
                <a:gd name="connsiteX27" fmla="*/ 97907 w 155130"/>
                <a:gd name="connsiteY27" fmla="*/ 86796 h 97125"/>
                <a:gd name="connsiteX28" fmla="*/ 97062 w 155130"/>
                <a:gd name="connsiteY28" fmla="*/ 87254 h 97125"/>
                <a:gd name="connsiteX29" fmla="*/ 93668 w 155130"/>
                <a:gd name="connsiteY29" fmla="*/ 86918 h 97125"/>
                <a:gd name="connsiteX30" fmla="*/ 89841 w 155130"/>
                <a:gd name="connsiteY30" fmla="*/ 89047 h 97125"/>
                <a:gd name="connsiteX31" fmla="*/ 88390 w 155130"/>
                <a:gd name="connsiteY31" fmla="*/ 88374 h 97125"/>
                <a:gd name="connsiteX32" fmla="*/ 88939 w 155130"/>
                <a:gd name="connsiteY32" fmla="*/ 87014 h 97125"/>
                <a:gd name="connsiteX33" fmla="*/ 89338 w 155130"/>
                <a:gd name="connsiteY33" fmla="*/ 86518 h 97125"/>
                <a:gd name="connsiteX34" fmla="*/ 90625 w 155130"/>
                <a:gd name="connsiteY34" fmla="*/ 85941 h 97125"/>
                <a:gd name="connsiteX35" fmla="*/ 91485 w 155130"/>
                <a:gd name="connsiteY35" fmla="*/ 85096 h 97125"/>
                <a:gd name="connsiteX36" fmla="*/ 36701 w 155130"/>
                <a:gd name="connsiteY36" fmla="*/ 83621 h 97125"/>
                <a:gd name="connsiteX37" fmla="*/ 37787 w 155130"/>
                <a:gd name="connsiteY37" fmla="*/ 83953 h 97125"/>
                <a:gd name="connsiteX38" fmla="*/ 41512 w 155130"/>
                <a:gd name="connsiteY38" fmla="*/ 86160 h 97125"/>
                <a:gd name="connsiteX39" fmla="*/ 42814 w 155130"/>
                <a:gd name="connsiteY39" fmla="*/ 88573 h 97125"/>
                <a:gd name="connsiteX40" fmla="*/ 42892 w 155130"/>
                <a:gd name="connsiteY40" fmla="*/ 89234 h 97125"/>
                <a:gd name="connsiteX41" fmla="*/ 40590 w 155130"/>
                <a:gd name="connsiteY41" fmla="*/ 89661 h 97125"/>
                <a:gd name="connsiteX42" fmla="*/ 39413 w 155130"/>
                <a:gd name="connsiteY42" fmla="*/ 88919 h 97125"/>
                <a:gd name="connsiteX43" fmla="*/ 37254 w 155130"/>
                <a:gd name="connsiteY43" fmla="*/ 88632 h 97125"/>
                <a:gd name="connsiteX44" fmla="*/ 36479 w 155130"/>
                <a:gd name="connsiteY44" fmla="*/ 83902 h 97125"/>
                <a:gd name="connsiteX45" fmla="*/ 61992 w 155130"/>
                <a:gd name="connsiteY45" fmla="*/ 80886 h 97125"/>
                <a:gd name="connsiteX46" fmla="*/ 62568 w 155130"/>
                <a:gd name="connsiteY46" fmla="*/ 80938 h 97125"/>
                <a:gd name="connsiteX47" fmla="*/ 61899 w 155130"/>
                <a:gd name="connsiteY47" fmla="*/ 83834 h 97125"/>
                <a:gd name="connsiteX48" fmla="*/ 58459 w 155130"/>
                <a:gd name="connsiteY48" fmla="*/ 91894 h 97125"/>
                <a:gd name="connsiteX49" fmla="*/ 57770 w 155130"/>
                <a:gd name="connsiteY49" fmla="*/ 93394 h 97125"/>
                <a:gd name="connsiteX50" fmla="*/ 56790 w 155130"/>
                <a:gd name="connsiteY50" fmla="*/ 93567 h 97125"/>
                <a:gd name="connsiteX51" fmla="*/ 55457 w 155130"/>
                <a:gd name="connsiteY51" fmla="*/ 91084 h 97125"/>
                <a:gd name="connsiteX52" fmla="*/ 55285 w 155130"/>
                <a:gd name="connsiteY52" fmla="*/ 90307 h 97125"/>
                <a:gd name="connsiteX53" fmla="*/ 56850 w 155130"/>
                <a:gd name="connsiteY53" fmla="*/ 88716 h 97125"/>
                <a:gd name="connsiteX54" fmla="*/ 57863 w 155130"/>
                <a:gd name="connsiteY54" fmla="*/ 86912 h 97125"/>
                <a:gd name="connsiteX55" fmla="*/ 60482 w 155130"/>
                <a:gd name="connsiteY55" fmla="*/ 84139 h 97125"/>
                <a:gd name="connsiteX56" fmla="*/ 146910 w 155130"/>
                <a:gd name="connsiteY56" fmla="*/ 76604 h 97125"/>
                <a:gd name="connsiteX57" fmla="*/ 155031 w 155130"/>
                <a:gd name="connsiteY57" fmla="*/ 81297 h 97125"/>
                <a:gd name="connsiteX58" fmla="*/ 155130 w 155130"/>
                <a:gd name="connsiteY58" fmla="*/ 83063 h 97125"/>
                <a:gd name="connsiteX59" fmla="*/ 154038 w 155130"/>
                <a:gd name="connsiteY59" fmla="*/ 85072 h 97125"/>
                <a:gd name="connsiteX60" fmla="*/ 153222 w 155130"/>
                <a:gd name="connsiteY60" fmla="*/ 85592 h 97125"/>
                <a:gd name="connsiteX61" fmla="*/ 149568 w 155130"/>
                <a:gd name="connsiteY61" fmla="*/ 84731 h 97125"/>
                <a:gd name="connsiteX62" fmla="*/ 145115 w 155130"/>
                <a:gd name="connsiteY62" fmla="*/ 82599 h 97125"/>
                <a:gd name="connsiteX63" fmla="*/ 145767 w 155130"/>
                <a:gd name="connsiteY63" fmla="*/ 78415 h 97125"/>
                <a:gd name="connsiteX64" fmla="*/ 55309 w 155130"/>
                <a:gd name="connsiteY64" fmla="*/ 66827 h 97125"/>
                <a:gd name="connsiteX65" fmla="*/ 55803 w 155130"/>
                <a:gd name="connsiteY65" fmla="*/ 66921 h 97125"/>
                <a:gd name="connsiteX66" fmla="*/ 56725 w 155130"/>
                <a:gd name="connsiteY66" fmla="*/ 68538 h 97125"/>
                <a:gd name="connsiteX67" fmla="*/ 57859 w 155130"/>
                <a:gd name="connsiteY67" fmla="*/ 71982 h 97125"/>
                <a:gd name="connsiteX68" fmla="*/ 59653 w 155130"/>
                <a:gd name="connsiteY68" fmla="*/ 75828 h 97125"/>
                <a:gd name="connsiteX69" fmla="*/ 58904 w 155130"/>
                <a:gd name="connsiteY69" fmla="*/ 77436 h 97125"/>
                <a:gd name="connsiteX70" fmla="*/ 59413 w 155130"/>
                <a:gd name="connsiteY70" fmla="*/ 79495 h 97125"/>
                <a:gd name="connsiteX71" fmla="*/ 58902 w 155130"/>
                <a:gd name="connsiteY71" fmla="*/ 81640 h 97125"/>
                <a:gd name="connsiteX72" fmla="*/ 55332 w 155130"/>
                <a:gd name="connsiteY72" fmla="*/ 84132 h 97125"/>
                <a:gd name="connsiteX73" fmla="*/ 51329 w 155130"/>
                <a:gd name="connsiteY73" fmla="*/ 84244 h 97125"/>
                <a:gd name="connsiteX74" fmla="*/ 47168 w 155130"/>
                <a:gd name="connsiteY74" fmla="*/ 83041 h 97125"/>
                <a:gd name="connsiteX75" fmla="*/ 41290 w 155130"/>
                <a:gd name="connsiteY75" fmla="*/ 80722 h 97125"/>
                <a:gd name="connsiteX76" fmla="*/ 40817 w 155130"/>
                <a:gd name="connsiteY76" fmla="*/ 79419 h 97125"/>
                <a:gd name="connsiteX77" fmla="*/ 39992 w 155130"/>
                <a:gd name="connsiteY77" fmla="*/ 78697 h 97125"/>
                <a:gd name="connsiteX78" fmla="*/ 38420 w 155130"/>
                <a:gd name="connsiteY78" fmla="*/ 74737 h 97125"/>
                <a:gd name="connsiteX79" fmla="*/ 38457 w 155130"/>
                <a:gd name="connsiteY79" fmla="*/ 69843 h 97125"/>
                <a:gd name="connsiteX80" fmla="*/ 41411 w 155130"/>
                <a:gd name="connsiteY80" fmla="*/ 69229 h 97125"/>
                <a:gd name="connsiteX81" fmla="*/ 47865 w 155130"/>
                <a:gd name="connsiteY81" fmla="*/ 66889 h 97125"/>
                <a:gd name="connsiteX82" fmla="*/ 49357 w 155130"/>
                <a:gd name="connsiteY82" fmla="*/ 67257 h 97125"/>
                <a:gd name="connsiteX83" fmla="*/ 50914 w 155130"/>
                <a:gd name="connsiteY83" fmla="*/ 68454 h 97125"/>
                <a:gd name="connsiteX84" fmla="*/ 52706 w 155130"/>
                <a:gd name="connsiteY84" fmla="*/ 68525 h 97125"/>
                <a:gd name="connsiteX85" fmla="*/ 99012 w 155130"/>
                <a:gd name="connsiteY85" fmla="*/ 64738 h 97125"/>
                <a:gd name="connsiteX86" fmla="*/ 99472 w 155130"/>
                <a:gd name="connsiteY86" fmla="*/ 64765 h 97125"/>
                <a:gd name="connsiteX87" fmla="*/ 100101 w 155130"/>
                <a:gd name="connsiteY87" fmla="*/ 65775 h 97125"/>
                <a:gd name="connsiteX88" fmla="*/ 100483 w 155130"/>
                <a:gd name="connsiteY88" fmla="*/ 67333 h 97125"/>
                <a:gd name="connsiteX89" fmla="*/ 98401 w 155130"/>
                <a:gd name="connsiteY89" fmla="*/ 68650 h 97125"/>
                <a:gd name="connsiteX90" fmla="*/ 97943 w 155130"/>
                <a:gd name="connsiteY90" fmla="*/ 68581 h 97125"/>
                <a:gd name="connsiteX91" fmla="*/ 97267 w 155130"/>
                <a:gd name="connsiteY91" fmla="*/ 66773 h 97125"/>
                <a:gd name="connsiteX92" fmla="*/ 98365 w 155130"/>
                <a:gd name="connsiteY92" fmla="*/ 65672 h 97125"/>
                <a:gd name="connsiteX93" fmla="*/ 53637 w 155130"/>
                <a:gd name="connsiteY93" fmla="*/ 55046 h 97125"/>
                <a:gd name="connsiteX94" fmla="*/ 55609 w 155130"/>
                <a:gd name="connsiteY94" fmla="*/ 57468 h 97125"/>
                <a:gd name="connsiteX95" fmla="*/ 56170 w 155130"/>
                <a:gd name="connsiteY95" fmla="*/ 58606 h 97125"/>
                <a:gd name="connsiteX96" fmla="*/ 55410 w 155130"/>
                <a:gd name="connsiteY96" fmla="*/ 59965 h 97125"/>
                <a:gd name="connsiteX97" fmla="*/ 54967 w 155130"/>
                <a:gd name="connsiteY97" fmla="*/ 61545 h 97125"/>
                <a:gd name="connsiteX98" fmla="*/ 54592 w 155130"/>
                <a:gd name="connsiteY98" fmla="*/ 62103 h 97125"/>
                <a:gd name="connsiteX99" fmla="*/ 53190 w 155130"/>
                <a:gd name="connsiteY99" fmla="*/ 61522 h 97125"/>
                <a:gd name="connsiteX100" fmla="*/ 53043 w 155130"/>
                <a:gd name="connsiteY100" fmla="*/ 59511 h 97125"/>
                <a:gd name="connsiteX101" fmla="*/ 53575 w 155130"/>
                <a:gd name="connsiteY101" fmla="*/ 57704 h 97125"/>
                <a:gd name="connsiteX102" fmla="*/ 52950 w 155130"/>
                <a:gd name="connsiteY102" fmla="*/ 56086 h 97125"/>
                <a:gd name="connsiteX103" fmla="*/ 92910 w 155130"/>
                <a:gd name="connsiteY103" fmla="*/ 50986 h 97125"/>
                <a:gd name="connsiteX104" fmla="*/ 95231 w 155130"/>
                <a:gd name="connsiteY104" fmla="*/ 51493 h 97125"/>
                <a:gd name="connsiteX105" fmla="*/ 97389 w 155130"/>
                <a:gd name="connsiteY105" fmla="*/ 52194 h 97125"/>
                <a:gd name="connsiteX106" fmla="*/ 98559 w 155130"/>
                <a:gd name="connsiteY106" fmla="*/ 52797 h 97125"/>
                <a:gd name="connsiteX107" fmla="*/ 99215 w 155130"/>
                <a:gd name="connsiteY107" fmla="*/ 53766 h 97125"/>
                <a:gd name="connsiteX108" fmla="*/ 97768 w 155130"/>
                <a:gd name="connsiteY108" fmla="*/ 56072 h 97125"/>
                <a:gd name="connsiteX109" fmla="*/ 97367 w 155130"/>
                <a:gd name="connsiteY109" fmla="*/ 57334 h 97125"/>
                <a:gd name="connsiteX110" fmla="*/ 98339 w 155130"/>
                <a:gd name="connsiteY110" fmla="*/ 61483 h 97125"/>
                <a:gd name="connsiteX111" fmla="*/ 98392 w 155130"/>
                <a:gd name="connsiteY111" fmla="*/ 64591 h 97125"/>
                <a:gd name="connsiteX112" fmla="*/ 97818 w 155130"/>
                <a:gd name="connsiteY112" fmla="*/ 65495 h 97125"/>
                <a:gd name="connsiteX113" fmla="*/ 96974 w 155130"/>
                <a:gd name="connsiteY113" fmla="*/ 66090 h 97125"/>
                <a:gd name="connsiteX114" fmla="*/ 94765 w 155130"/>
                <a:gd name="connsiteY114" fmla="*/ 66721 h 97125"/>
                <a:gd name="connsiteX115" fmla="*/ 92852 w 155130"/>
                <a:gd name="connsiteY115" fmla="*/ 67602 h 97125"/>
                <a:gd name="connsiteX116" fmla="*/ 91146 w 155130"/>
                <a:gd name="connsiteY116" fmla="*/ 69149 h 97125"/>
                <a:gd name="connsiteX117" fmla="*/ 90517 w 155130"/>
                <a:gd name="connsiteY117" fmla="*/ 71359 h 97125"/>
                <a:gd name="connsiteX118" fmla="*/ 91852 w 155130"/>
                <a:gd name="connsiteY118" fmla="*/ 72974 h 97125"/>
                <a:gd name="connsiteX119" fmla="*/ 94279 w 155130"/>
                <a:gd name="connsiteY119" fmla="*/ 73859 h 97125"/>
                <a:gd name="connsiteX120" fmla="*/ 94897 w 155130"/>
                <a:gd name="connsiteY120" fmla="*/ 76930 h 97125"/>
                <a:gd name="connsiteX121" fmla="*/ 92893 w 155130"/>
                <a:gd name="connsiteY121" fmla="*/ 78444 h 97125"/>
                <a:gd name="connsiteX122" fmla="*/ 87751 w 155130"/>
                <a:gd name="connsiteY122" fmla="*/ 79954 h 97125"/>
                <a:gd name="connsiteX123" fmla="*/ 87211 w 155130"/>
                <a:gd name="connsiteY123" fmla="*/ 83594 h 97125"/>
                <a:gd name="connsiteX124" fmla="*/ 87378 w 155130"/>
                <a:gd name="connsiteY124" fmla="*/ 86459 h 97125"/>
                <a:gd name="connsiteX125" fmla="*/ 87285 w 155130"/>
                <a:gd name="connsiteY125" fmla="*/ 88539 h 97125"/>
                <a:gd name="connsiteX126" fmla="*/ 86877 w 155130"/>
                <a:gd name="connsiteY126" fmla="*/ 91414 h 97125"/>
                <a:gd name="connsiteX127" fmla="*/ 82717 w 155130"/>
                <a:gd name="connsiteY127" fmla="*/ 92723 h 97125"/>
                <a:gd name="connsiteX128" fmla="*/ 80034 w 155130"/>
                <a:gd name="connsiteY128" fmla="*/ 88345 h 97125"/>
                <a:gd name="connsiteX129" fmla="*/ 80010 w 155130"/>
                <a:gd name="connsiteY129" fmla="*/ 86590 h 97125"/>
                <a:gd name="connsiteX130" fmla="*/ 79209 w 155130"/>
                <a:gd name="connsiteY130" fmla="*/ 84540 h 97125"/>
                <a:gd name="connsiteX131" fmla="*/ 79058 w 155130"/>
                <a:gd name="connsiteY131" fmla="*/ 82791 h 97125"/>
                <a:gd name="connsiteX132" fmla="*/ 78107 w 155130"/>
                <a:gd name="connsiteY132" fmla="*/ 79991 h 97125"/>
                <a:gd name="connsiteX133" fmla="*/ 74173 w 155130"/>
                <a:gd name="connsiteY133" fmla="*/ 79233 h 97125"/>
                <a:gd name="connsiteX134" fmla="*/ 72646 w 155130"/>
                <a:gd name="connsiteY134" fmla="*/ 79133 h 97125"/>
                <a:gd name="connsiteX135" fmla="*/ 70510 w 155130"/>
                <a:gd name="connsiteY135" fmla="*/ 79654 h 97125"/>
                <a:gd name="connsiteX136" fmla="*/ 69981 w 155130"/>
                <a:gd name="connsiteY136" fmla="*/ 79451 h 97125"/>
                <a:gd name="connsiteX137" fmla="*/ 67425 w 155130"/>
                <a:gd name="connsiteY137" fmla="*/ 75620 h 97125"/>
                <a:gd name="connsiteX138" fmla="*/ 67846 w 155130"/>
                <a:gd name="connsiteY138" fmla="*/ 71386 h 97125"/>
                <a:gd name="connsiteX139" fmla="*/ 66481 w 155130"/>
                <a:gd name="connsiteY139" fmla="*/ 69246 h 97125"/>
                <a:gd name="connsiteX140" fmla="*/ 66293 w 155130"/>
                <a:gd name="connsiteY140" fmla="*/ 68277 h 97125"/>
                <a:gd name="connsiteX141" fmla="*/ 66326 w 155130"/>
                <a:gd name="connsiteY141" fmla="*/ 67203 h 97125"/>
                <a:gd name="connsiteX142" fmla="*/ 65205 w 155130"/>
                <a:gd name="connsiteY142" fmla="*/ 66317 h 97125"/>
                <a:gd name="connsiteX143" fmla="*/ 63845 w 155130"/>
                <a:gd name="connsiteY143" fmla="*/ 65848 h 97125"/>
                <a:gd name="connsiteX144" fmla="*/ 63184 w 155130"/>
                <a:gd name="connsiteY144" fmla="*/ 63455 h 97125"/>
                <a:gd name="connsiteX145" fmla="*/ 64747 w 155130"/>
                <a:gd name="connsiteY145" fmla="*/ 62875 h 97125"/>
                <a:gd name="connsiteX146" fmla="*/ 68612 w 155130"/>
                <a:gd name="connsiteY146" fmla="*/ 63155 h 97125"/>
                <a:gd name="connsiteX147" fmla="*/ 69742 w 155130"/>
                <a:gd name="connsiteY147" fmla="*/ 62992 h 97125"/>
                <a:gd name="connsiteX148" fmla="*/ 70776 w 155130"/>
                <a:gd name="connsiteY148" fmla="*/ 62493 h 97125"/>
                <a:gd name="connsiteX149" fmla="*/ 73903 w 155130"/>
                <a:gd name="connsiteY149" fmla="*/ 58553 h 97125"/>
                <a:gd name="connsiteX150" fmla="*/ 73812 w 155130"/>
                <a:gd name="connsiteY150" fmla="*/ 57684 h 97125"/>
                <a:gd name="connsiteX151" fmla="*/ 74147 w 155130"/>
                <a:gd name="connsiteY151" fmla="*/ 56556 h 97125"/>
                <a:gd name="connsiteX152" fmla="*/ 77531 w 155130"/>
                <a:gd name="connsiteY152" fmla="*/ 56138 h 97125"/>
                <a:gd name="connsiteX153" fmla="*/ 79038 w 155130"/>
                <a:gd name="connsiteY153" fmla="*/ 57662 h 97125"/>
                <a:gd name="connsiteX154" fmla="*/ 78736 w 155130"/>
                <a:gd name="connsiteY154" fmla="*/ 60102 h 97125"/>
                <a:gd name="connsiteX155" fmla="*/ 78928 w 155130"/>
                <a:gd name="connsiteY155" fmla="*/ 63224 h 97125"/>
                <a:gd name="connsiteX156" fmla="*/ 80977 w 155130"/>
                <a:gd name="connsiteY156" fmla="*/ 64072 h 97125"/>
                <a:gd name="connsiteX157" fmla="*/ 81776 w 155130"/>
                <a:gd name="connsiteY157" fmla="*/ 64197 h 97125"/>
                <a:gd name="connsiteX158" fmla="*/ 82629 w 155130"/>
                <a:gd name="connsiteY158" fmla="*/ 61892 h 97125"/>
                <a:gd name="connsiteX159" fmla="*/ 83227 w 155130"/>
                <a:gd name="connsiteY159" fmla="*/ 60771 h 97125"/>
                <a:gd name="connsiteX160" fmla="*/ 84039 w 155130"/>
                <a:gd name="connsiteY160" fmla="*/ 60146 h 97125"/>
                <a:gd name="connsiteX161" fmla="*/ 84315 w 155130"/>
                <a:gd name="connsiteY161" fmla="*/ 58036 h 97125"/>
                <a:gd name="connsiteX162" fmla="*/ 83834 w 155130"/>
                <a:gd name="connsiteY162" fmla="*/ 56747 h 97125"/>
                <a:gd name="connsiteX163" fmla="*/ 82808 w 155130"/>
                <a:gd name="connsiteY163" fmla="*/ 55786 h 97125"/>
                <a:gd name="connsiteX164" fmla="*/ 86639 w 155130"/>
                <a:gd name="connsiteY164" fmla="*/ 53169 h 97125"/>
                <a:gd name="connsiteX165" fmla="*/ 90604 w 155130"/>
                <a:gd name="connsiteY165" fmla="*/ 51094 h 97125"/>
                <a:gd name="connsiteX166" fmla="*/ 65546 w 155130"/>
                <a:gd name="connsiteY166" fmla="*/ 12961 h 97125"/>
                <a:gd name="connsiteX167" fmla="*/ 67509 w 155130"/>
                <a:gd name="connsiteY167" fmla="*/ 13184 h 97125"/>
                <a:gd name="connsiteX168" fmla="*/ 65350 w 155130"/>
                <a:gd name="connsiteY168" fmla="*/ 14644 h 97125"/>
                <a:gd name="connsiteX169" fmla="*/ 64803 w 155130"/>
                <a:gd name="connsiteY169" fmla="*/ 15417 h 97125"/>
                <a:gd name="connsiteX170" fmla="*/ 63903 w 155130"/>
                <a:gd name="connsiteY170" fmla="*/ 16160 h 97125"/>
                <a:gd name="connsiteX171" fmla="*/ 60860 w 155130"/>
                <a:gd name="connsiteY171" fmla="*/ 15109 h 97125"/>
                <a:gd name="connsiteX172" fmla="*/ 62204 w 155130"/>
                <a:gd name="connsiteY172" fmla="*/ 13639 h 97125"/>
                <a:gd name="connsiteX173" fmla="*/ 55026 w 155130"/>
                <a:gd name="connsiteY173" fmla="*/ 0 h 97125"/>
                <a:gd name="connsiteX174" fmla="*/ 52173 w 155130"/>
                <a:gd name="connsiteY174" fmla="*/ 2816 h 97125"/>
                <a:gd name="connsiteX175" fmla="*/ 51715 w 155130"/>
                <a:gd name="connsiteY175" fmla="*/ 3905 h 97125"/>
                <a:gd name="connsiteX176" fmla="*/ 51370 w 155130"/>
                <a:gd name="connsiteY176" fmla="*/ 5573 h 97125"/>
                <a:gd name="connsiteX177" fmla="*/ 53415 w 155130"/>
                <a:gd name="connsiteY177" fmla="*/ 9192 h 97125"/>
                <a:gd name="connsiteX178" fmla="*/ 52983 w 155130"/>
                <a:gd name="connsiteY178" fmla="*/ 11391 h 97125"/>
                <a:gd name="connsiteX179" fmla="*/ 53127 w 155130"/>
                <a:gd name="connsiteY179" fmla="*/ 15713 h 97125"/>
                <a:gd name="connsiteX180" fmla="*/ 51199 w 155130"/>
                <a:gd name="connsiteY180" fmla="*/ 17962 h 97125"/>
                <a:gd name="connsiteX181" fmla="*/ 49023 w 155130"/>
                <a:gd name="connsiteY181" fmla="*/ 22738 h 97125"/>
                <a:gd name="connsiteX182" fmla="*/ 48085 w 155130"/>
                <a:gd name="connsiteY182" fmla="*/ 23440 h 97125"/>
                <a:gd name="connsiteX183" fmla="*/ 47885 w 155130"/>
                <a:gd name="connsiteY183" fmla="*/ 29001 h 97125"/>
                <a:gd name="connsiteX184" fmla="*/ 48098 w 155130"/>
                <a:gd name="connsiteY184" fmla="*/ 30326 h 97125"/>
                <a:gd name="connsiteX185" fmla="*/ 47789 w 155130"/>
                <a:gd name="connsiteY185" fmla="*/ 35374 h 97125"/>
                <a:gd name="connsiteX186" fmla="*/ 50020 w 155130"/>
                <a:gd name="connsiteY186" fmla="*/ 37437 h 97125"/>
                <a:gd name="connsiteX187" fmla="*/ 52378 w 155130"/>
                <a:gd name="connsiteY187" fmla="*/ 38515 h 97125"/>
                <a:gd name="connsiteX188" fmla="*/ 60243 w 155130"/>
                <a:gd name="connsiteY188" fmla="*/ 38477 h 97125"/>
                <a:gd name="connsiteX189" fmla="*/ 61059 w 155130"/>
                <a:gd name="connsiteY189" fmla="*/ 39383 h 97125"/>
                <a:gd name="connsiteX190" fmla="*/ 62018 w 155130"/>
                <a:gd name="connsiteY190" fmla="*/ 40939 h 97125"/>
                <a:gd name="connsiteX191" fmla="*/ 61316 w 155130"/>
                <a:gd name="connsiteY191" fmla="*/ 43578 h 97125"/>
                <a:gd name="connsiteX192" fmla="*/ 60476 w 155130"/>
                <a:gd name="connsiteY192" fmla="*/ 45567 h 97125"/>
                <a:gd name="connsiteX193" fmla="*/ 58198 w 155130"/>
                <a:gd name="connsiteY193" fmla="*/ 47241 h 97125"/>
                <a:gd name="connsiteX194" fmla="*/ 55274 w 155130"/>
                <a:gd name="connsiteY194" fmla="*/ 48488 h 97125"/>
                <a:gd name="connsiteX195" fmla="*/ 53456 w 155130"/>
                <a:gd name="connsiteY195" fmla="*/ 48543 h 97125"/>
                <a:gd name="connsiteX196" fmla="*/ 50979 w 155130"/>
                <a:gd name="connsiteY196" fmla="*/ 46172 h 97125"/>
                <a:gd name="connsiteX197" fmla="*/ 49802 w 155130"/>
                <a:gd name="connsiteY197" fmla="*/ 46941 h 97125"/>
                <a:gd name="connsiteX198" fmla="*/ 48586 w 155130"/>
                <a:gd name="connsiteY198" fmla="*/ 48150 h 97125"/>
                <a:gd name="connsiteX199" fmla="*/ 46550 w 155130"/>
                <a:gd name="connsiteY199" fmla="*/ 54627 h 97125"/>
                <a:gd name="connsiteX200" fmla="*/ 45585 w 155130"/>
                <a:gd name="connsiteY200" fmla="*/ 58992 h 97125"/>
                <a:gd name="connsiteX201" fmla="*/ 45062 w 155130"/>
                <a:gd name="connsiteY201" fmla="*/ 59346 h 97125"/>
                <a:gd name="connsiteX202" fmla="*/ 43911 w 155130"/>
                <a:gd name="connsiteY202" fmla="*/ 58703 h 97125"/>
                <a:gd name="connsiteX203" fmla="*/ 41923 w 155130"/>
                <a:gd name="connsiteY203" fmla="*/ 58653 h 97125"/>
                <a:gd name="connsiteX204" fmla="*/ 39409 w 155130"/>
                <a:gd name="connsiteY204" fmla="*/ 59687 h 97125"/>
                <a:gd name="connsiteX205" fmla="*/ 40698 w 155130"/>
                <a:gd name="connsiteY205" fmla="*/ 60612 h 97125"/>
                <a:gd name="connsiteX206" fmla="*/ 42061 w 155130"/>
                <a:gd name="connsiteY206" fmla="*/ 62217 h 97125"/>
                <a:gd name="connsiteX207" fmla="*/ 41516 w 155130"/>
                <a:gd name="connsiteY207" fmla="*/ 63021 h 97125"/>
                <a:gd name="connsiteX208" fmla="*/ 39305 w 155130"/>
                <a:gd name="connsiteY208" fmla="*/ 63889 h 97125"/>
                <a:gd name="connsiteX209" fmla="*/ 37345 w 155130"/>
                <a:gd name="connsiteY209" fmla="*/ 65645 h 97125"/>
                <a:gd name="connsiteX210" fmla="*/ 36524 w 155130"/>
                <a:gd name="connsiteY210" fmla="*/ 66973 h 97125"/>
                <a:gd name="connsiteX211" fmla="*/ 34051 w 155130"/>
                <a:gd name="connsiteY211" fmla="*/ 68543 h 97125"/>
                <a:gd name="connsiteX212" fmla="*/ 32497 w 155130"/>
                <a:gd name="connsiteY212" fmla="*/ 70532 h 97125"/>
                <a:gd name="connsiteX213" fmla="*/ 33259 w 155130"/>
                <a:gd name="connsiteY213" fmla="*/ 72995 h 97125"/>
                <a:gd name="connsiteX214" fmla="*/ 33583 w 155130"/>
                <a:gd name="connsiteY214" fmla="*/ 75156 h 97125"/>
                <a:gd name="connsiteX215" fmla="*/ 34263 w 155130"/>
                <a:gd name="connsiteY215" fmla="*/ 77540 h 97125"/>
                <a:gd name="connsiteX216" fmla="*/ 33650 w 155130"/>
                <a:gd name="connsiteY216" fmla="*/ 79442 h 97125"/>
                <a:gd name="connsiteX217" fmla="*/ 30588 w 155130"/>
                <a:gd name="connsiteY217" fmla="*/ 82168 h 97125"/>
                <a:gd name="connsiteX218" fmla="*/ 29459 w 155130"/>
                <a:gd name="connsiteY218" fmla="*/ 84528 h 97125"/>
                <a:gd name="connsiteX219" fmla="*/ 32082 w 155130"/>
                <a:gd name="connsiteY219" fmla="*/ 84498 h 97125"/>
                <a:gd name="connsiteX220" fmla="*/ 33697 w 155130"/>
                <a:gd name="connsiteY220" fmla="*/ 85043 h 97125"/>
                <a:gd name="connsiteX221" fmla="*/ 34643 w 155130"/>
                <a:gd name="connsiteY221" fmla="*/ 85740 h 97125"/>
                <a:gd name="connsiteX222" fmla="*/ 35619 w 155130"/>
                <a:gd name="connsiteY222" fmla="*/ 86727 h 97125"/>
                <a:gd name="connsiteX223" fmla="*/ 35021 w 155130"/>
                <a:gd name="connsiteY223" fmla="*/ 87946 h 97125"/>
                <a:gd name="connsiteX224" fmla="*/ 35783 w 155130"/>
                <a:gd name="connsiteY224" fmla="*/ 91101 h 97125"/>
                <a:gd name="connsiteX225" fmla="*/ 35457 w 155130"/>
                <a:gd name="connsiteY225" fmla="*/ 91101 h 97125"/>
                <a:gd name="connsiteX226" fmla="*/ 34047 w 155130"/>
                <a:gd name="connsiteY226" fmla="*/ 90830 h 97125"/>
                <a:gd name="connsiteX227" fmla="*/ 33043 w 155130"/>
                <a:gd name="connsiteY227" fmla="*/ 90184 h 97125"/>
                <a:gd name="connsiteX228" fmla="*/ 30454 w 155130"/>
                <a:gd name="connsiteY228" fmla="*/ 90644 h 97125"/>
                <a:gd name="connsiteX229" fmla="*/ 26988 w 155130"/>
                <a:gd name="connsiteY229" fmla="*/ 91691 h 97125"/>
                <a:gd name="connsiteX230" fmla="*/ 25064 w 155130"/>
                <a:gd name="connsiteY230" fmla="*/ 91638 h 97125"/>
                <a:gd name="connsiteX231" fmla="*/ 23535 w 155130"/>
                <a:gd name="connsiteY231" fmla="*/ 90514 h 97125"/>
                <a:gd name="connsiteX232" fmla="*/ 17280 w 155130"/>
                <a:gd name="connsiteY232" fmla="*/ 88911 h 97125"/>
                <a:gd name="connsiteX233" fmla="*/ 16269 w 155130"/>
                <a:gd name="connsiteY233" fmla="*/ 88781 h 97125"/>
                <a:gd name="connsiteX234" fmla="*/ 12145 w 155130"/>
                <a:gd name="connsiteY234" fmla="*/ 88714 h 97125"/>
                <a:gd name="connsiteX235" fmla="*/ 12136 w 155130"/>
                <a:gd name="connsiteY235" fmla="*/ 88711 h 97125"/>
                <a:gd name="connsiteX236" fmla="*/ 11939 w 155130"/>
                <a:gd name="connsiteY236" fmla="*/ 86176 h 97125"/>
                <a:gd name="connsiteX237" fmla="*/ 11428 w 155130"/>
                <a:gd name="connsiteY237" fmla="*/ 84343 h 97125"/>
                <a:gd name="connsiteX238" fmla="*/ 9983 w 155130"/>
                <a:gd name="connsiteY238" fmla="*/ 81613 h 97125"/>
                <a:gd name="connsiteX239" fmla="*/ 12125 w 155130"/>
                <a:gd name="connsiteY239" fmla="*/ 80954 h 97125"/>
                <a:gd name="connsiteX240" fmla="*/ 11711 w 155130"/>
                <a:gd name="connsiteY240" fmla="*/ 75622 h 97125"/>
                <a:gd name="connsiteX241" fmla="*/ 10933 w 155130"/>
                <a:gd name="connsiteY241" fmla="*/ 72852 h 97125"/>
                <a:gd name="connsiteX242" fmla="*/ 4949 w 155130"/>
                <a:gd name="connsiteY242" fmla="*/ 70003 h 97125"/>
                <a:gd name="connsiteX243" fmla="*/ 236 w 155130"/>
                <a:gd name="connsiteY243" fmla="*/ 67231 h 97125"/>
                <a:gd name="connsiteX244" fmla="*/ 1324 w 155130"/>
                <a:gd name="connsiteY244" fmla="*/ 57872 h 97125"/>
                <a:gd name="connsiteX245" fmla="*/ 1788 w 155130"/>
                <a:gd name="connsiteY245" fmla="*/ 55344 h 97125"/>
                <a:gd name="connsiteX246" fmla="*/ 0 w 155130"/>
                <a:gd name="connsiteY246" fmla="*/ 50431 h 97125"/>
                <a:gd name="connsiteX247" fmla="*/ 186 w 155130"/>
                <a:gd name="connsiteY247" fmla="*/ 44763 h 97125"/>
                <a:gd name="connsiteX248" fmla="*/ 939 w 155130"/>
                <a:gd name="connsiteY248" fmla="*/ 35802 h 97125"/>
                <a:gd name="connsiteX249" fmla="*/ 2438 w 155130"/>
                <a:gd name="connsiteY249" fmla="*/ 35451 h 97125"/>
                <a:gd name="connsiteX250" fmla="*/ 3537 w 155130"/>
                <a:gd name="connsiteY250" fmla="*/ 35494 h 97125"/>
                <a:gd name="connsiteX251" fmla="*/ 7776 w 155130"/>
                <a:gd name="connsiteY251" fmla="*/ 37105 h 97125"/>
                <a:gd name="connsiteX252" fmla="*/ 9541 w 155130"/>
                <a:gd name="connsiteY252" fmla="*/ 37266 h 97125"/>
                <a:gd name="connsiteX253" fmla="*/ 10750 w 155130"/>
                <a:gd name="connsiteY253" fmla="*/ 38703 h 97125"/>
                <a:gd name="connsiteX254" fmla="*/ 12166 w 155130"/>
                <a:gd name="connsiteY254" fmla="*/ 39295 h 97125"/>
                <a:gd name="connsiteX255" fmla="*/ 13192 w 155130"/>
                <a:gd name="connsiteY255" fmla="*/ 37768 h 97125"/>
                <a:gd name="connsiteX256" fmla="*/ 13591 w 155130"/>
                <a:gd name="connsiteY256" fmla="*/ 35156 h 97125"/>
                <a:gd name="connsiteX257" fmla="*/ 16951 w 155130"/>
                <a:gd name="connsiteY257" fmla="*/ 31770 h 97125"/>
                <a:gd name="connsiteX258" fmla="*/ 19305 w 155130"/>
                <a:gd name="connsiteY258" fmla="*/ 30519 h 97125"/>
                <a:gd name="connsiteX259" fmla="*/ 20910 w 155130"/>
                <a:gd name="connsiteY259" fmla="*/ 29918 h 97125"/>
                <a:gd name="connsiteX260" fmla="*/ 22529 w 155130"/>
                <a:gd name="connsiteY260" fmla="*/ 31286 h 97125"/>
                <a:gd name="connsiteX261" fmla="*/ 23768 w 155130"/>
                <a:gd name="connsiteY261" fmla="*/ 32821 h 97125"/>
                <a:gd name="connsiteX262" fmla="*/ 24062 w 155130"/>
                <a:gd name="connsiteY262" fmla="*/ 29460 h 97125"/>
                <a:gd name="connsiteX263" fmla="*/ 25062 w 155130"/>
                <a:gd name="connsiteY263" fmla="*/ 23042 h 97125"/>
                <a:gd name="connsiteX264" fmla="*/ 21868 w 155130"/>
                <a:gd name="connsiteY264" fmla="*/ 22033 h 97125"/>
                <a:gd name="connsiteX265" fmla="*/ 19266 w 155130"/>
                <a:gd name="connsiteY265" fmla="*/ 22903 h 97125"/>
                <a:gd name="connsiteX266" fmla="*/ 16686 w 155130"/>
                <a:gd name="connsiteY266" fmla="*/ 26973 h 97125"/>
                <a:gd name="connsiteX267" fmla="*/ 14384 w 155130"/>
                <a:gd name="connsiteY267" fmla="*/ 32078 h 97125"/>
                <a:gd name="connsiteX268" fmla="*/ 10650 w 155130"/>
                <a:gd name="connsiteY268" fmla="*/ 32546 h 97125"/>
                <a:gd name="connsiteX269" fmla="*/ 7670 w 155130"/>
                <a:gd name="connsiteY269" fmla="*/ 33989 h 97125"/>
                <a:gd name="connsiteX270" fmla="*/ 4980 w 155130"/>
                <a:gd name="connsiteY270" fmla="*/ 32493 h 97125"/>
                <a:gd name="connsiteX271" fmla="*/ 3246 w 155130"/>
                <a:gd name="connsiteY271" fmla="*/ 31174 h 97125"/>
                <a:gd name="connsiteX272" fmla="*/ 3203 w 155130"/>
                <a:gd name="connsiteY272" fmla="*/ 29241 h 97125"/>
                <a:gd name="connsiteX273" fmla="*/ 3596 w 155130"/>
                <a:gd name="connsiteY273" fmla="*/ 28074 h 97125"/>
                <a:gd name="connsiteX274" fmla="*/ 6757 w 155130"/>
                <a:gd name="connsiteY274" fmla="*/ 23905 h 97125"/>
                <a:gd name="connsiteX275" fmla="*/ 10992 w 155130"/>
                <a:gd name="connsiteY275" fmla="*/ 19893 h 97125"/>
                <a:gd name="connsiteX276" fmla="*/ 15258 w 155130"/>
                <a:gd name="connsiteY276" fmla="*/ 19932 h 97125"/>
                <a:gd name="connsiteX277" fmla="*/ 18370 w 155130"/>
                <a:gd name="connsiteY277" fmla="*/ 18649 h 97125"/>
                <a:gd name="connsiteX278" fmla="*/ 20229 w 155130"/>
                <a:gd name="connsiteY278" fmla="*/ 18495 h 97125"/>
                <a:gd name="connsiteX279" fmla="*/ 26034 w 155130"/>
                <a:gd name="connsiteY279" fmla="*/ 18777 h 97125"/>
                <a:gd name="connsiteX280" fmla="*/ 29014 w 155130"/>
                <a:gd name="connsiteY280" fmla="*/ 17897 h 97125"/>
                <a:gd name="connsiteX281" fmla="*/ 31683 w 155130"/>
                <a:gd name="connsiteY281" fmla="*/ 16054 h 97125"/>
                <a:gd name="connsiteX282" fmla="*/ 37450 w 155130"/>
                <a:gd name="connsiteY282" fmla="*/ 8241 h 97125"/>
                <a:gd name="connsiteX283" fmla="*/ 40705 w 155130"/>
                <a:gd name="connsiteY283" fmla="*/ 4976 h 97125"/>
                <a:gd name="connsiteX284" fmla="*/ 47267 w 155130"/>
                <a:gd name="connsiteY284" fmla="*/ 3825 h 97125"/>
                <a:gd name="connsiteX285" fmla="*/ 53330 w 155130"/>
                <a:gd name="connsiteY285" fmla="*/ 48 h 9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5130" h="97125">
                  <a:moveTo>
                    <a:pt x="69366" y="87225"/>
                  </a:moveTo>
                  <a:lnTo>
                    <a:pt x="71642" y="89072"/>
                  </a:lnTo>
                  <a:lnTo>
                    <a:pt x="75555" y="90976"/>
                  </a:lnTo>
                  <a:lnTo>
                    <a:pt x="78202" y="90867"/>
                  </a:lnTo>
                  <a:lnTo>
                    <a:pt x="80003" y="91656"/>
                  </a:lnTo>
                  <a:lnTo>
                    <a:pt x="80433" y="92874"/>
                  </a:lnTo>
                  <a:lnTo>
                    <a:pt x="80586" y="95577"/>
                  </a:lnTo>
                  <a:lnTo>
                    <a:pt x="78695" y="96364"/>
                  </a:lnTo>
                  <a:lnTo>
                    <a:pt x="76607" y="96097"/>
                  </a:lnTo>
                  <a:lnTo>
                    <a:pt x="73765" y="97125"/>
                  </a:lnTo>
                  <a:lnTo>
                    <a:pt x="64436" y="92708"/>
                  </a:lnTo>
                  <a:lnTo>
                    <a:pt x="64572" y="89020"/>
                  </a:lnTo>
                  <a:lnTo>
                    <a:pt x="64946" y="87570"/>
                  </a:lnTo>
                  <a:close/>
                  <a:moveTo>
                    <a:pt x="45958" y="86889"/>
                  </a:moveTo>
                  <a:lnTo>
                    <a:pt x="47410" y="87316"/>
                  </a:lnTo>
                  <a:lnTo>
                    <a:pt x="49211" y="88633"/>
                  </a:lnTo>
                  <a:lnTo>
                    <a:pt x="50685" y="88913"/>
                  </a:lnTo>
                  <a:lnTo>
                    <a:pt x="52702" y="90027"/>
                  </a:lnTo>
                  <a:lnTo>
                    <a:pt x="52249" y="90425"/>
                  </a:lnTo>
                  <a:lnTo>
                    <a:pt x="50765" y="90744"/>
                  </a:lnTo>
                  <a:lnTo>
                    <a:pt x="49068" y="90076"/>
                  </a:lnTo>
                  <a:lnTo>
                    <a:pt x="46306" y="87558"/>
                  </a:lnTo>
                  <a:close/>
                  <a:moveTo>
                    <a:pt x="91822" y="83772"/>
                  </a:moveTo>
                  <a:lnTo>
                    <a:pt x="92618" y="84486"/>
                  </a:lnTo>
                  <a:lnTo>
                    <a:pt x="94987" y="84785"/>
                  </a:lnTo>
                  <a:lnTo>
                    <a:pt x="96145" y="85207"/>
                  </a:lnTo>
                  <a:lnTo>
                    <a:pt x="97112" y="85827"/>
                  </a:lnTo>
                  <a:lnTo>
                    <a:pt x="97907" y="86796"/>
                  </a:lnTo>
                  <a:lnTo>
                    <a:pt x="97062" y="87254"/>
                  </a:lnTo>
                  <a:lnTo>
                    <a:pt x="93668" y="86918"/>
                  </a:lnTo>
                  <a:lnTo>
                    <a:pt x="89841" y="89047"/>
                  </a:lnTo>
                  <a:lnTo>
                    <a:pt x="88390" y="88374"/>
                  </a:lnTo>
                  <a:lnTo>
                    <a:pt x="88939" y="87014"/>
                  </a:lnTo>
                  <a:lnTo>
                    <a:pt x="89338" y="86518"/>
                  </a:lnTo>
                  <a:lnTo>
                    <a:pt x="90625" y="85941"/>
                  </a:lnTo>
                  <a:lnTo>
                    <a:pt x="91485" y="85096"/>
                  </a:lnTo>
                  <a:close/>
                  <a:moveTo>
                    <a:pt x="36701" y="83621"/>
                  </a:moveTo>
                  <a:lnTo>
                    <a:pt x="37787" y="83953"/>
                  </a:lnTo>
                  <a:lnTo>
                    <a:pt x="41512" y="86160"/>
                  </a:lnTo>
                  <a:lnTo>
                    <a:pt x="42814" y="88573"/>
                  </a:lnTo>
                  <a:lnTo>
                    <a:pt x="42892" y="89234"/>
                  </a:lnTo>
                  <a:lnTo>
                    <a:pt x="40590" y="89661"/>
                  </a:lnTo>
                  <a:lnTo>
                    <a:pt x="39413" y="88919"/>
                  </a:lnTo>
                  <a:lnTo>
                    <a:pt x="37254" y="88632"/>
                  </a:lnTo>
                  <a:lnTo>
                    <a:pt x="36479" y="83902"/>
                  </a:lnTo>
                  <a:close/>
                  <a:moveTo>
                    <a:pt x="61992" y="80886"/>
                  </a:moveTo>
                  <a:lnTo>
                    <a:pt x="62568" y="80938"/>
                  </a:lnTo>
                  <a:lnTo>
                    <a:pt x="61899" y="83834"/>
                  </a:lnTo>
                  <a:lnTo>
                    <a:pt x="58459" y="91894"/>
                  </a:lnTo>
                  <a:lnTo>
                    <a:pt x="57770" y="93394"/>
                  </a:lnTo>
                  <a:lnTo>
                    <a:pt x="56790" y="93567"/>
                  </a:lnTo>
                  <a:lnTo>
                    <a:pt x="55457" y="91084"/>
                  </a:lnTo>
                  <a:lnTo>
                    <a:pt x="55285" y="90307"/>
                  </a:lnTo>
                  <a:lnTo>
                    <a:pt x="56850" y="88716"/>
                  </a:lnTo>
                  <a:lnTo>
                    <a:pt x="57863" y="86912"/>
                  </a:lnTo>
                  <a:lnTo>
                    <a:pt x="60482" y="84139"/>
                  </a:lnTo>
                  <a:close/>
                  <a:moveTo>
                    <a:pt x="146910" y="76604"/>
                  </a:moveTo>
                  <a:lnTo>
                    <a:pt x="155031" y="81297"/>
                  </a:lnTo>
                  <a:lnTo>
                    <a:pt x="155130" y="83063"/>
                  </a:lnTo>
                  <a:lnTo>
                    <a:pt x="154038" y="85072"/>
                  </a:lnTo>
                  <a:lnTo>
                    <a:pt x="153222" y="85592"/>
                  </a:lnTo>
                  <a:lnTo>
                    <a:pt x="149568" y="84731"/>
                  </a:lnTo>
                  <a:lnTo>
                    <a:pt x="145115" y="82599"/>
                  </a:lnTo>
                  <a:lnTo>
                    <a:pt x="145767" y="78415"/>
                  </a:lnTo>
                  <a:close/>
                  <a:moveTo>
                    <a:pt x="55309" y="66827"/>
                  </a:moveTo>
                  <a:lnTo>
                    <a:pt x="55803" y="66921"/>
                  </a:lnTo>
                  <a:lnTo>
                    <a:pt x="56725" y="68538"/>
                  </a:lnTo>
                  <a:lnTo>
                    <a:pt x="57859" y="71982"/>
                  </a:lnTo>
                  <a:lnTo>
                    <a:pt x="59653" y="75828"/>
                  </a:lnTo>
                  <a:lnTo>
                    <a:pt x="58904" y="77436"/>
                  </a:lnTo>
                  <a:lnTo>
                    <a:pt x="59413" y="79495"/>
                  </a:lnTo>
                  <a:lnTo>
                    <a:pt x="58902" y="81640"/>
                  </a:lnTo>
                  <a:lnTo>
                    <a:pt x="55332" y="84132"/>
                  </a:lnTo>
                  <a:lnTo>
                    <a:pt x="51329" y="84244"/>
                  </a:lnTo>
                  <a:lnTo>
                    <a:pt x="47168" y="83041"/>
                  </a:lnTo>
                  <a:lnTo>
                    <a:pt x="41290" y="80722"/>
                  </a:lnTo>
                  <a:lnTo>
                    <a:pt x="40817" y="79419"/>
                  </a:lnTo>
                  <a:lnTo>
                    <a:pt x="39992" y="78697"/>
                  </a:lnTo>
                  <a:lnTo>
                    <a:pt x="38420" y="74737"/>
                  </a:lnTo>
                  <a:lnTo>
                    <a:pt x="38457" y="69843"/>
                  </a:lnTo>
                  <a:lnTo>
                    <a:pt x="41411" y="69229"/>
                  </a:lnTo>
                  <a:lnTo>
                    <a:pt x="47865" y="66889"/>
                  </a:lnTo>
                  <a:lnTo>
                    <a:pt x="49357" y="67257"/>
                  </a:lnTo>
                  <a:lnTo>
                    <a:pt x="50914" y="68454"/>
                  </a:lnTo>
                  <a:lnTo>
                    <a:pt x="52706" y="68525"/>
                  </a:lnTo>
                  <a:close/>
                  <a:moveTo>
                    <a:pt x="99012" y="64738"/>
                  </a:moveTo>
                  <a:lnTo>
                    <a:pt x="99472" y="64765"/>
                  </a:lnTo>
                  <a:lnTo>
                    <a:pt x="100101" y="65775"/>
                  </a:lnTo>
                  <a:lnTo>
                    <a:pt x="100483" y="67333"/>
                  </a:lnTo>
                  <a:lnTo>
                    <a:pt x="98401" y="68650"/>
                  </a:lnTo>
                  <a:lnTo>
                    <a:pt x="97943" y="68581"/>
                  </a:lnTo>
                  <a:lnTo>
                    <a:pt x="97267" y="66773"/>
                  </a:lnTo>
                  <a:lnTo>
                    <a:pt x="98365" y="65672"/>
                  </a:lnTo>
                  <a:close/>
                  <a:moveTo>
                    <a:pt x="53637" y="55046"/>
                  </a:moveTo>
                  <a:lnTo>
                    <a:pt x="55609" y="57468"/>
                  </a:lnTo>
                  <a:lnTo>
                    <a:pt x="56170" y="58606"/>
                  </a:lnTo>
                  <a:lnTo>
                    <a:pt x="55410" y="59965"/>
                  </a:lnTo>
                  <a:lnTo>
                    <a:pt x="54967" y="61545"/>
                  </a:lnTo>
                  <a:lnTo>
                    <a:pt x="54592" y="62103"/>
                  </a:lnTo>
                  <a:lnTo>
                    <a:pt x="53190" y="61522"/>
                  </a:lnTo>
                  <a:lnTo>
                    <a:pt x="53043" y="59511"/>
                  </a:lnTo>
                  <a:lnTo>
                    <a:pt x="53575" y="57704"/>
                  </a:lnTo>
                  <a:lnTo>
                    <a:pt x="52950" y="56086"/>
                  </a:lnTo>
                  <a:close/>
                  <a:moveTo>
                    <a:pt x="92910" y="50986"/>
                  </a:moveTo>
                  <a:lnTo>
                    <a:pt x="95231" y="51493"/>
                  </a:lnTo>
                  <a:lnTo>
                    <a:pt x="97389" y="52194"/>
                  </a:lnTo>
                  <a:lnTo>
                    <a:pt x="98559" y="52797"/>
                  </a:lnTo>
                  <a:lnTo>
                    <a:pt x="99215" y="53766"/>
                  </a:lnTo>
                  <a:lnTo>
                    <a:pt x="97768" y="56072"/>
                  </a:lnTo>
                  <a:lnTo>
                    <a:pt x="97367" y="57334"/>
                  </a:lnTo>
                  <a:lnTo>
                    <a:pt x="98339" y="61483"/>
                  </a:lnTo>
                  <a:lnTo>
                    <a:pt x="98392" y="64591"/>
                  </a:lnTo>
                  <a:lnTo>
                    <a:pt x="97818" y="65495"/>
                  </a:lnTo>
                  <a:lnTo>
                    <a:pt x="96974" y="66090"/>
                  </a:lnTo>
                  <a:lnTo>
                    <a:pt x="94765" y="66721"/>
                  </a:lnTo>
                  <a:lnTo>
                    <a:pt x="92852" y="67602"/>
                  </a:lnTo>
                  <a:lnTo>
                    <a:pt x="91146" y="69149"/>
                  </a:lnTo>
                  <a:lnTo>
                    <a:pt x="90517" y="71359"/>
                  </a:lnTo>
                  <a:lnTo>
                    <a:pt x="91852" y="72974"/>
                  </a:lnTo>
                  <a:lnTo>
                    <a:pt x="94279" y="73859"/>
                  </a:lnTo>
                  <a:lnTo>
                    <a:pt x="94897" y="76930"/>
                  </a:lnTo>
                  <a:lnTo>
                    <a:pt x="92893" y="78444"/>
                  </a:lnTo>
                  <a:lnTo>
                    <a:pt x="87751" y="79954"/>
                  </a:lnTo>
                  <a:lnTo>
                    <a:pt x="87211" y="83594"/>
                  </a:lnTo>
                  <a:lnTo>
                    <a:pt x="87378" y="86459"/>
                  </a:lnTo>
                  <a:lnTo>
                    <a:pt x="87285" y="88539"/>
                  </a:lnTo>
                  <a:lnTo>
                    <a:pt x="86877" y="91414"/>
                  </a:lnTo>
                  <a:lnTo>
                    <a:pt x="82717" y="92723"/>
                  </a:lnTo>
                  <a:lnTo>
                    <a:pt x="80034" y="88345"/>
                  </a:lnTo>
                  <a:lnTo>
                    <a:pt x="80010" y="86590"/>
                  </a:lnTo>
                  <a:lnTo>
                    <a:pt x="79209" y="84540"/>
                  </a:lnTo>
                  <a:lnTo>
                    <a:pt x="79058" y="82791"/>
                  </a:lnTo>
                  <a:lnTo>
                    <a:pt x="78107" y="79991"/>
                  </a:lnTo>
                  <a:lnTo>
                    <a:pt x="74173" y="79233"/>
                  </a:lnTo>
                  <a:lnTo>
                    <a:pt x="72646" y="79133"/>
                  </a:lnTo>
                  <a:lnTo>
                    <a:pt x="70510" y="79654"/>
                  </a:lnTo>
                  <a:lnTo>
                    <a:pt x="69981" y="79451"/>
                  </a:lnTo>
                  <a:lnTo>
                    <a:pt x="67425" y="75620"/>
                  </a:lnTo>
                  <a:lnTo>
                    <a:pt x="67846" y="71386"/>
                  </a:lnTo>
                  <a:lnTo>
                    <a:pt x="66481" y="69246"/>
                  </a:lnTo>
                  <a:lnTo>
                    <a:pt x="66293" y="68277"/>
                  </a:lnTo>
                  <a:lnTo>
                    <a:pt x="66326" y="67203"/>
                  </a:lnTo>
                  <a:lnTo>
                    <a:pt x="65205" y="66317"/>
                  </a:lnTo>
                  <a:lnTo>
                    <a:pt x="63845" y="65848"/>
                  </a:lnTo>
                  <a:lnTo>
                    <a:pt x="63184" y="63455"/>
                  </a:lnTo>
                  <a:lnTo>
                    <a:pt x="64747" y="62875"/>
                  </a:lnTo>
                  <a:lnTo>
                    <a:pt x="68612" y="63155"/>
                  </a:lnTo>
                  <a:lnTo>
                    <a:pt x="69742" y="62992"/>
                  </a:lnTo>
                  <a:lnTo>
                    <a:pt x="70776" y="62493"/>
                  </a:lnTo>
                  <a:lnTo>
                    <a:pt x="73903" y="58553"/>
                  </a:lnTo>
                  <a:lnTo>
                    <a:pt x="73812" y="57684"/>
                  </a:lnTo>
                  <a:lnTo>
                    <a:pt x="74147" y="56556"/>
                  </a:lnTo>
                  <a:lnTo>
                    <a:pt x="77531" y="56138"/>
                  </a:lnTo>
                  <a:lnTo>
                    <a:pt x="79038" y="57662"/>
                  </a:lnTo>
                  <a:lnTo>
                    <a:pt x="78736" y="60102"/>
                  </a:lnTo>
                  <a:lnTo>
                    <a:pt x="78928" y="63224"/>
                  </a:lnTo>
                  <a:lnTo>
                    <a:pt x="80977" y="64072"/>
                  </a:lnTo>
                  <a:lnTo>
                    <a:pt x="81776" y="64197"/>
                  </a:lnTo>
                  <a:lnTo>
                    <a:pt x="82629" y="61892"/>
                  </a:lnTo>
                  <a:lnTo>
                    <a:pt x="83227" y="60771"/>
                  </a:lnTo>
                  <a:lnTo>
                    <a:pt x="84039" y="60146"/>
                  </a:lnTo>
                  <a:lnTo>
                    <a:pt x="84315" y="58036"/>
                  </a:lnTo>
                  <a:lnTo>
                    <a:pt x="83834" y="56747"/>
                  </a:lnTo>
                  <a:lnTo>
                    <a:pt x="82808" y="55786"/>
                  </a:lnTo>
                  <a:lnTo>
                    <a:pt x="86639" y="53169"/>
                  </a:lnTo>
                  <a:lnTo>
                    <a:pt x="90604" y="51094"/>
                  </a:lnTo>
                  <a:close/>
                  <a:moveTo>
                    <a:pt x="65546" y="12961"/>
                  </a:moveTo>
                  <a:lnTo>
                    <a:pt x="67509" y="13184"/>
                  </a:lnTo>
                  <a:lnTo>
                    <a:pt x="65350" y="14644"/>
                  </a:lnTo>
                  <a:lnTo>
                    <a:pt x="64803" y="15417"/>
                  </a:lnTo>
                  <a:lnTo>
                    <a:pt x="63903" y="16160"/>
                  </a:lnTo>
                  <a:lnTo>
                    <a:pt x="60860" y="15109"/>
                  </a:lnTo>
                  <a:lnTo>
                    <a:pt x="62204" y="13639"/>
                  </a:lnTo>
                  <a:close/>
                  <a:moveTo>
                    <a:pt x="55026" y="0"/>
                  </a:moveTo>
                  <a:lnTo>
                    <a:pt x="52173" y="2816"/>
                  </a:lnTo>
                  <a:lnTo>
                    <a:pt x="51715" y="3905"/>
                  </a:lnTo>
                  <a:lnTo>
                    <a:pt x="51370" y="5573"/>
                  </a:lnTo>
                  <a:lnTo>
                    <a:pt x="53415" y="9192"/>
                  </a:lnTo>
                  <a:lnTo>
                    <a:pt x="52983" y="11391"/>
                  </a:lnTo>
                  <a:lnTo>
                    <a:pt x="53127" y="15713"/>
                  </a:lnTo>
                  <a:lnTo>
                    <a:pt x="51199" y="17962"/>
                  </a:lnTo>
                  <a:lnTo>
                    <a:pt x="49023" y="22738"/>
                  </a:lnTo>
                  <a:lnTo>
                    <a:pt x="48085" y="23440"/>
                  </a:lnTo>
                  <a:lnTo>
                    <a:pt x="47885" y="29001"/>
                  </a:lnTo>
                  <a:lnTo>
                    <a:pt x="48098" y="30326"/>
                  </a:lnTo>
                  <a:lnTo>
                    <a:pt x="47789" y="35374"/>
                  </a:lnTo>
                  <a:lnTo>
                    <a:pt x="50020" y="37437"/>
                  </a:lnTo>
                  <a:lnTo>
                    <a:pt x="52378" y="38515"/>
                  </a:lnTo>
                  <a:lnTo>
                    <a:pt x="60243" y="38477"/>
                  </a:lnTo>
                  <a:lnTo>
                    <a:pt x="61059" y="39383"/>
                  </a:lnTo>
                  <a:lnTo>
                    <a:pt x="62018" y="40939"/>
                  </a:lnTo>
                  <a:lnTo>
                    <a:pt x="61316" y="43578"/>
                  </a:lnTo>
                  <a:lnTo>
                    <a:pt x="60476" y="45567"/>
                  </a:lnTo>
                  <a:lnTo>
                    <a:pt x="58198" y="47241"/>
                  </a:lnTo>
                  <a:lnTo>
                    <a:pt x="55274" y="48488"/>
                  </a:lnTo>
                  <a:lnTo>
                    <a:pt x="53456" y="48543"/>
                  </a:lnTo>
                  <a:lnTo>
                    <a:pt x="50979" y="46172"/>
                  </a:lnTo>
                  <a:lnTo>
                    <a:pt x="49802" y="46941"/>
                  </a:lnTo>
                  <a:lnTo>
                    <a:pt x="48586" y="48150"/>
                  </a:lnTo>
                  <a:lnTo>
                    <a:pt x="46550" y="54627"/>
                  </a:lnTo>
                  <a:lnTo>
                    <a:pt x="45585" y="58992"/>
                  </a:lnTo>
                  <a:lnTo>
                    <a:pt x="45062" y="59346"/>
                  </a:lnTo>
                  <a:lnTo>
                    <a:pt x="43911" y="58703"/>
                  </a:lnTo>
                  <a:lnTo>
                    <a:pt x="41923" y="58653"/>
                  </a:lnTo>
                  <a:lnTo>
                    <a:pt x="39409" y="59687"/>
                  </a:lnTo>
                  <a:lnTo>
                    <a:pt x="40698" y="60612"/>
                  </a:lnTo>
                  <a:lnTo>
                    <a:pt x="42061" y="62217"/>
                  </a:lnTo>
                  <a:lnTo>
                    <a:pt x="41516" y="63021"/>
                  </a:lnTo>
                  <a:lnTo>
                    <a:pt x="39305" y="63889"/>
                  </a:lnTo>
                  <a:lnTo>
                    <a:pt x="37345" y="65645"/>
                  </a:lnTo>
                  <a:lnTo>
                    <a:pt x="36524" y="66973"/>
                  </a:lnTo>
                  <a:lnTo>
                    <a:pt x="34051" y="68543"/>
                  </a:lnTo>
                  <a:lnTo>
                    <a:pt x="32497" y="70532"/>
                  </a:lnTo>
                  <a:lnTo>
                    <a:pt x="33259" y="72995"/>
                  </a:lnTo>
                  <a:lnTo>
                    <a:pt x="33583" y="75156"/>
                  </a:lnTo>
                  <a:lnTo>
                    <a:pt x="34263" y="77540"/>
                  </a:lnTo>
                  <a:lnTo>
                    <a:pt x="33650" y="79442"/>
                  </a:lnTo>
                  <a:lnTo>
                    <a:pt x="30588" y="82168"/>
                  </a:lnTo>
                  <a:lnTo>
                    <a:pt x="29459" y="84528"/>
                  </a:lnTo>
                  <a:lnTo>
                    <a:pt x="32082" y="84498"/>
                  </a:lnTo>
                  <a:lnTo>
                    <a:pt x="33697" y="85043"/>
                  </a:lnTo>
                  <a:lnTo>
                    <a:pt x="34643" y="85740"/>
                  </a:lnTo>
                  <a:lnTo>
                    <a:pt x="35619" y="86727"/>
                  </a:lnTo>
                  <a:lnTo>
                    <a:pt x="35021" y="87946"/>
                  </a:lnTo>
                  <a:lnTo>
                    <a:pt x="35783" y="91101"/>
                  </a:lnTo>
                  <a:lnTo>
                    <a:pt x="35457" y="91101"/>
                  </a:lnTo>
                  <a:lnTo>
                    <a:pt x="34047" y="90830"/>
                  </a:lnTo>
                  <a:lnTo>
                    <a:pt x="33043" y="90184"/>
                  </a:lnTo>
                  <a:lnTo>
                    <a:pt x="30454" y="90644"/>
                  </a:lnTo>
                  <a:lnTo>
                    <a:pt x="26988" y="91691"/>
                  </a:lnTo>
                  <a:lnTo>
                    <a:pt x="25064" y="91638"/>
                  </a:lnTo>
                  <a:lnTo>
                    <a:pt x="23535" y="90514"/>
                  </a:lnTo>
                  <a:lnTo>
                    <a:pt x="17280" y="88911"/>
                  </a:lnTo>
                  <a:lnTo>
                    <a:pt x="16269" y="88781"/>
                  </a:lnTo>
                  <a:lnTo>
                    <a:pt x="12145" y="88714"/>
                  </a:lnTo>
                  <a:lnTo>
                    <a:pt x="12136" y="88711"/>
                  </a:lnTo>
                  <a:lnTo>
                    <a:pt x="11939" y="86176"/>
                  </a:lnTo>
                  <a:lnTo>
                    <a:pt x="11428" y="84343"/>
                  </a:lnTo>
                  <a:lnTo>
                    <a:pt x="9983" y="81613"/>
                  </a:lnTo>
                  <a:lnTo>
                    <a:pt x="12125" y="80954"/>
                  </a:lnTo>
                  <a:lnTo>
                    <a:pt x="11711" y="75622"/>
                  </a:lnTo>
                  <a:lnTo>
                    <a:pt x="10933" y="72852"/>
                  </a:lnTo>
                  <a:lnTo>
                    <a:pt x="4949" y="70003"/>
                  </a:lnTo>
                  <a:lnTo>
                    <a:pt x="236" y="67231"/>
                  </a:lnTo>
                  <a:lnTo>
                    <a:pt x="1324" y="57872"/>
                  </a:lnTo>
                  <a:lnTo>
                    <a:pt x="1788" y="55344"/>
                  </a:lnTo>
                  <a:lnTo>
                    <a:pt x="0" y="50431"/>
                  </a:lnTo>
                  <a:lnTo>
                    <a:pt x="186" y="44763"/>
                  </a:lnTo>
                  <a:lnTo>
                    <a:pt x="939" y="35802"/>
                  </a:lnTo>
                  <a:lnTo>
                    <a:pt x="2438" y="35451"/>
                  </a:lnTo>
                  <a:lnTo>
                    <a:pt x="3537" y="35494"/>
                  </a:lnTo>
                  <a:lnTo>
                    <a:pt x="7776" y="37105"/>
                  </a:lnTo>
                  <a:lnTo>
                    <a:pt x="9541" y="37266"/>
                  </a:lnTo>
                  <a:lnTo>
                    <a:pt x="10750" y="38703"/>
                  </a:lnTo>
                  <a:lnTo>
                    <a:pt x="12166" y="39295"/>
                  </a:lnTo>
                  <a:lnTo>
                    <a:pt x="13192" y="37768"/>
                  </a:lnTo>
                  <a:lnTo>
                    <a:pt x="13591" y="35156"/>
                  </a:lnTo>
                  <a:lnTo>
                    <a:pt x="16951" y="31770"/>
                  </a:lnTo>
                  <a:lnTo>
                    <a:pt x="19305" y="30519"/>
                  </a:lnTo>
                  <a:lnTo>
                    <a:pt x="20910" y="29918"/>
                  </a:lnTo>
                  <a:lnTo>
                    <a:pt x="22529" y="31286"/>
                  </a:lnTo>
                  <a:lnTo>
                    <a:pt x="23768" y="32821"/>
                  </a:lnTo>
                  <a:lnTo>
                    <a:pt x="24062" y="29460"/>
                  </a:lnTo>
                  <a:lnTo>
                    <a:pt x="25062" y="23042"/>
                  </a:lnTo>
                  <a:lnTo>
                    <a:pt x="21868" y="22033"/>
                  </a:lnTo>
                  <a:lnTo>
                    <a:pt x="19266" y="22903"/>
                  </a:lnTo>
                  <a:lnTo>
                    <a:pt x="16686" y="26973"/>
                  </a:lnTo>
                  <a:lnTo>
                    <a:pt x="14384" y="32078"/>
                  </a:lnTo>
                  <a:lnTo>
                    <a:pt x="10650" y="32546"/>
                  </a:lnTo>
                  <a:lnTo>
                    <a:pt x="7670" y="33989"/>
                  </a:lnTo>
                  <a:lnTo>
                    <a:pt x="4980" y="32493"/>
                  </a:lnTo>
                  <a:lnTo>
                    <a:pt x="3246" y="31174"/>
                  </a:lnTo>
                  <a:lnTo>
                    <a:pt x="3203" y="29241"/>
                  </a:lnTo>
                  <a:lnTo>
                    <a:pt x="3596" y="28074"/>
                  </a:lnTo>
                  <a:lnTo>
                    <a:pt x="6757" y="23905"/>
                  </a:lnTo>
                  <a:lnTo>
                    <a:pt x="10992" y="19893"/>
                  </a:lnTo>
                  <a:lnTo>
                    <a:pt x="15258" y="19932"/>
                  </a:lnTo>
                  <a:lnTo>
                    <a:pt x="18370" y="18649"/>
                  </a:lnTo>
                  <a:lnTo>
                    <a:pt x="20229" y="18495"/>
                  </a:lnTo>
                  <a:lnTo>
                    <a:pt x="26034" y="18777"/>
                  </a:lnTo>
                  <a:lnTo>
                    <a:pt x="29014" y="17897"/>
                  </a:lnTo>
                  <a:lnTo>
                    <a:pt x="31683" y="16054"/>
                  </a:lnTo>
                  <a:lnTo>
                    <a:pt x="37450" y="8241"/>
                  </a:lnTo>
                  <a:lnTo>
                    <a:pt x="40705" y="4976"/>
                  </a:lnTo>
                  <a:lnTo>
                    <a:pt x="47267" y="3825"/>
                  </a:lnTo>
                  <a:lnTo>
                    <a:pt x="53330" y="4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3" name="ee4p_DK_2_15912">
              <a:extLst>
                <a:ext uri="{FF2B5EF4-FFF2-40B4-BE49-F238E27FC236}">
                  <a16:creationId xmlns:a16="http://schemas.microsoft.com/office/drawing/2014/main" id="{F9221029-5B04-52F2-7016-1E8E96784A11}"/>
                </a:ext>
              </a:extLst>
            </p:cNvPr>
            <p:cNvSpPr>
              <a:spLocks noChangeAspect="1"/>
            </p:cNvSpPr>
            <p:nvPr>
              <p:custDataLst>
                <p:tags r:id="rId25"/>
              </p:custDataLst>
            </p:nvPr>
          </p:nvSpPr>
          <p:spPr>
            <a:xfrm>
              <a:off x="3121066" y="2995743"/>
              <a:ext cx="89108" cy="127081"/>
            </a:xfrm>
            <a:custGeom>
              <a:avLst/>
              <a:gdLst>
                <a:gd name="connsiteX0" fmla="*/ 10785 w 22478"/>
                <a:gd name="connsiteY0" fmla="*/ 24608 h 32057"/>
                <a:gd name="connsiteX1" fmla="*/ 11425 w 22478"/>
                <a:gd name="connsiteY1" fmla="*/ 24727 h 32057"/>
                <a:gd name="connsiteX2" fmla="*/ 11961 w 22478"/>
                <a:gd name="connsiteY2" fmla="*/ 25678 h 32057"/>
                <a:gd name="connsiteX3" fmla="*/ 14429 w 22478"/>
                <a:gd name="connsiteY3" fmla="*/ 26302 h 32057"/>
                <a:gd name="connsiteX4" fmla="*/ 15079 w 22478"/>
                <a:gd name="connsiteY4" fmla="*/ 26771 h 32057"/>
                <a:gd name="connsiteX5" fmla="*/ 15070 w 22478"/>
                <a:gd name="connsiteY5" fmla="*/ 27927 h 32057"/>
                <a:gd name="connsiteX6" fmla="*/ 15900 w 22478"/>
                <a:gd name="connsiteY6" fmla="*/ 29296 h 32057"/>
                <a:gd name="connsiteX7" fmla="*/ 15990 w 22478"/>
                <a:gd name="connsiteY7" fmla="*/ 31032 h 32057"/>
                <a:gd name="connsiteX8" fmla="*/ 16427 w 22478"/>
                <a:gd name="connsiteY8" fmla="*/ 32057 h 32057"/>
                <a:gd name="connsiteX9" fmla="*/ 15911 w 22478"/>
                <a:gd name="connsiteY9" fmla="*/ 31943 h 32057"/>
                <a:gd name="connsiteX10" fmla="*/ 14419 w 22478"/>
                <a:gd name="connsiteY10" fmla="*/ 30774 h 32057"/>
                <a:gd name="connsiteX11" fmla="*/ 11818 w 22478"/>
                <a:gd name="connsiteY11" fmla="*/ 27982 h 32057"/>
                <a:gd name="connsiteX12" fmla="*/ 10909 w 22478"/>
                <a:gd name="connsiteY12" fmla="*/ 25673 h 32057"/>
                <a:gd name="connsiteX13" fmla="*/ 12842 w 22478"/>
                <a:gd name="connsiteY13" fmla="*/ 15452 h 32057"/>
                <a:gd name="connsiteX14" fmla="*/ 13971 w 22478"/>
                <a:gd name="connsiteY14" fmla="*/ 15736 h 32057"/>
                <a:gd name="connsiteX15" fmla="*/ 16816 w 22478"/>
                <a:gd name="connsiteY15" fmla="*/ 16880 h 32057"/>
                <a:gd name="connsiteX16" fmla="*/ 17618 w 22478"/>
                <a:gd name="connsiteY16" fmla="*/ 18073 h 32057"/>
                <a:gd name="connsiteX17" fmla="*/ 17676 w 22478"/>
                <a:gd name="connsiteY17" fmla="*/ 18779 h 32057"/>
                <a:gd name="connsiteX18" fmla="*/ 17243 w 22478"/>
                <a:gd name="connsiteY18" fmla="*/ 20059 h 32057"/>
                <a:gd name="connsiteX19" fmla="*/ 16637 w 22478"/>
                <a:gd name="connsiteY19" fmla="*/ 20048 h 32057"/>
                <a:gd name="connsiteX20" fmla="*/ 14557 w 22478"/>
                <a:gd name="connsiteY20" fmla="*/ 18460 h 32057"/>
                <a:gd name="connsiteX21" fmla="*/ 12901 w 22478"/>
                <a:gd name="connsiteY21" fmla="*/ 17595 h 32057"/>
                <a:gd name="connsiteX22" fmla="*/ 12352 w 22478"/>
                <a:gd name="connsiteY22" fmla="*/ 16864 h 32057"/>
                <a:gd name="connsiteX23" fmla="*/ 11892 w 22478"/>
                <a:gd name="connsiteY23" fmla="*/ 15608 h 32057"/>
                <a:gd name="connsiteX24" fmla="*/ 4141 w 22478"/>
                <a:gd name="connsiteY24" fmla="*/ 7004 h 32057"/>
                <a:gd name="connsiteX25" fmla="*/ 5212 w 22478"/>
                <a:gd name="connsiteY25" fmla="*/ 7411 h 32057"/>
                <a:gd name="connsiteX26" fmla="*/ 7197 w 22478"/>
                <a:gd name="connsiteY26" fmla="*/ 8737 h 32057"/>
                <a:gd name="connsiteX27" fmla="*/ 7903 w 22478"/>
                <a:gd name="connsiteY27" fmla="*/ 9669 h 32057"/>
                <a:gd name="connsiteX28" fmla="*/ 6762 w 22478"/>
                <a:gd name="connsiteY28" fmla="*/ 10571 h 32057"/>
                <a:gd name="connsiteX29" fmla="*/ 5377 w 22478"/>
                <a:gd name="connsiteY29" fmla="*/ 10803 h 32057"/>
                <a:gd name="connsiteX30" fmla="*/ 3707 w 22478"/>
                <a:gd name="connsiteY30" fmla="*/ 10595 h 32057"/>
                <a:gd name="connsiteX31" fmla="*/ 962 w 22478"/>
                <a:gd name="connsiteY31" fmla="*/ 9616 h 32057"/>
                <a:gd name="connsiteX32" fmla="*/ 0 w 22478"/>
                <a:gd name="connsiteY32" fmla="*/ 7378 h 32057"/>
                <a:gd name="connsiteX33" fmla="*/ 1898 w 22478"/>
                <a:gd name="connsiteY33" fmla="*/ 7433 h 32057"/>
                <a:gd name="connsiteX34" fmla="*/ 10259 w 22478"/>
                <a:gd name="connsiteY34" fmla="*/ 1351 h 32057"/>
                <a:gd name="connsiteX35" fmla="*/ 13686 w 22478"/>
                <a:gd name="connsiteY35" fmla="*/ 3076 h 32057"/>
                <a:gd name="connsiteX36" fmla="*/ 17502 w 22478"/>
                <a:gd name="connsiteY36" fmla="*/ 4380 h 32057"/>
                <a:gd name="connsiteX37" fmla="*/ 16955 w 22478"/>
                <a:gd name="connsiteY37" fmla="*/ 8974 h 32057"/>
                <a:gd name="connsiteX38" fmla="*/ 16057 w 22478"/>
                <a:gd name="connsiteY38" fmla="*/ 8948 h 32057"/>
                <a:gd name="connsiteX39" fmla="*/ 14454 w 22478"/>
                <a:gd name="connsiteY39" fmla="*/ 7679 h 32057"/>
                <a:gd name="connsiteX40" fmla="*/ 13248 w 22478"/>
                <a:gd name="connsiteY40" fmla="*/ 7418 h 32057"/>
                <a:gd name="connsiteX41" fmla="*/ 12871 w 22478"/>
                <a:gd name="connsiteY41" fmla="*/ 8096 h 32057"/>
                <a:gd name="connsiteX42" fmla="*/ 12933 w 22478"/>
                <a:gd name="connsiteY42" fmla="*/ 8912 h 32057"/>
                <a:gd name="connsiteX43" fmla="*/ 13557 w 22478"/>
                <a:gd name="connsiteY43" fmla="*/ 9424 h 32057"/>
                <a:gd name="connsiteX44" fmla="*/ 15479 w 22478"/>
                <a:gd name="connsiteY44" fmla="*/ 12498 h 32057"/>
                <a:gd name="connsiteX45" fmla="*/ 15659 w 22478"/>
                <a:gd name="connsiteY45" fmla="*/ 13392 h 32057"/>
                <a:gd name="connsiteX46" fmla="*/ 15421 w 22478"/>
                <a:gd name="connsiteY46" fmla="*/ 13825 h 32057"/>
                <a:gd name="connsiteX47" fmla="*/ 13552 w 22478"/>
                <a:gd name="connsiteY47" fmla="*/ 12939 h 32057"/>
                <a:gd name="connsiteX48" fmla="*/ 9044 w 22478"/>
                <a:gd name="connsiteY48" fmla="*/ 8960 h 32057"/>
                <a:gd name="connsiteX49" fmla="*/ 5537 w 22478"/>
                <a:gd name="connsiteY49" fmla="*/ 2403 h 32057"/>
                <a:gd name="connsiteX50" fmla="*/ 19193 w 22478"/>
                <a:gd name="connsiteY50" fmla="*/ 0 h 32057"/>
                <a:gd name="connsiteX51" fmla="*/ 20996 w 22478"/>
                <a:gd name="connsiteY51" fmla="*/ 2187 h 32057"/>
                <a:gd name="connsiteX52" fmla="*/ 22478 w 22478"/>
                <a:gd name="connsiteY52" fmla="*/ 3327 h 32057"/>
                <a:gd name="connsiteX53" fmla="*/ 21420 w 22478"/>
                <a:gd name="connsiteY53" fmla="*/ 5796 h 32057"/>
                <a:gd name="connsiteX54" fmla="*/ 19854 w 22478"/>
                <a:gd name="connsiteY54" fmla="*/ 5408 h 32057"/>
                <a:gd name="connsiteX55" fmla="*/ 19424 w 22478"/>
                <a:gd name="connsiteY55" fmla="*/ 5143 h 32057"/>
                <a:gd name="connsiteX56" fmla="*/ 19085 w 22478"/>
                <a:gd name="connsiteY56" fmla="*/ 4496 h 32057"/>
                <a:gd name="connsiteX57" fmla="*/ 19249 w 22478"/>
                <a:gd name="connsiteY57" fmla="*/ 2659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2478" h="32057">
                  <a:moveTo>
                    <a:pt x="10785" y="24608"/>
                  </a:moveTo>
                  <a:lnTo>
                    <a:pt x="11425" y="24727"/>
                  </a:lnTo>
                  <a:lnTo>
                    <a:pt x="11961" y="25678"/>
                  </a:lnTo>
                  <a:lnTo>
                    <a:pt x="14429" y="26302"/>
                  </a:lnTo>
                  <a:lnTo>
                    <a:pt x="15079" y="26771"/>
                  </a:lnTo>
                  <a:lnTo>
                    <a:pt x="15070" y="27927"/>
                  </a:lnTo>
                  <a:lnTo>
                    <a:pt x="15900" y="29296"/>
                  </a:lnTo>
                  <a:lnTo>
                    <a:pt x="15990" y="31032"/>
                  </a:lnTo>
                  <a:lnTo>
                    <a:pt x="16427" y="32057"/>
                  </a:lnTo>
                  <a:lnTo>
                    <a:pt x="15911" y="31943"/>
                  </a:lnTo>
                  <a:lnTo>
                    <a:pt x="14419" y="30774"/>
                  </a:lnTo>
                  <a:lnTo>
                    <a:pt x="11818" y="27982"/>
                  </a:lnTo>
                  <a:lnTo>
                    <a:pt x="10909" y="25673"/>
                  </a:lnTo>
                  <a:close/>
                  <a:moveTo>
                    <a:pt x="12842" y="15452"/>
                  </a:moveTo>
                  <a:lnTo>
                    <a:pt x="13971" y="15736"/>
                  </a:lnTo>
                  <a:lnTo>
                    <a:pt x="16816" y="16880"/>
                  </a:lnTo>
                  <a:lnTo>
                    <a:pt x="17618" y="18073"/>
                  </a:lnTo>
                  <a:lnTo>
                    <a:pt x="17676" y="18779"/>
                  </a:lnTo>
                  <a:lnTo>
                    <a:pt x="17243" y="20059"/>
                  </a:lnTo>
                  <a:lnTo>
                    <a:pt x="16637" y="20048"/>
                  </a:lnTo>
                  <a:lnTo>
                    <a:pt x="14557" y="18460"/>
                  </a:lnTo>
                  <a:lnTo>
                    <a:pt x="12901" y="17595"/>
                  </a:lnTo>
                  <a:lnTo>
                    <a:pt x="12352" y="16864"/>
                  </a:lnTo>
                  <a:lnTo>
                    <a:pt x="11892" y="15608"/>
                  </a:lnTo>
                  <a:close/>
                  <a:moveTo>
                    <a:pt x="4141" y="7004"/>
                  </a:moveTo>
                  <a:lnTo>
                    <a:pt x="5212" y="7411"/>
                  </a:lnTo>
                  <a:lnTo>
                    <a:pt x="7197" y="8737"/>
                  </a:lnTo>
                  <a:lnTo>
                    <a:pt x="7903" y="9669"/>
                  </a:lnTo>
                  <a:lnTo>
                    <a:pt x="6762" y="10571"/>
                  </a:lnTo>
                  <a:lnTo>
                    <a:pt x="5377" y="10803"/>
                  </a:lnTo>
                  <a:lnTo>
                    <a:pt x="3707" y="10595"/>
                  </a:lnTo>
                  <a:lnTo>
                    <a:pt x="962" y="9616"/>
                  </a:lnTo>
                  <a:lnTo>
                    <a:pt x="0" y="7378"/>
                  </a:lnTo>
                  <a:lnTo>
                    <a:pt x="1898" y="7433"/>
                  </a:lnTo>
                  <a:close/>
                  <a:moveTo>
                    <a:pt x="10259" y="1351"/>
                  </a:moveTo>
                  <a:lnTo>
                    <a:pt x="13686" y="3076"/>
                  </a:lnTo>
                  <a:lnTo>
                    <a:pt x="17502" y="4380"/>
                  </a:lnTo>
                  <a:lnTo>
                    <a:pt x="16955" y="8974"/>
                  </a:lnTo>
                  <a:lnTo>
                    <a:pt x="16057" y="8948"/>
                  </a:lnTo>
                  <a:lnTo>
                    <a:pt x="14454" y="7679"/>
                  </a:lnTo>
                  <a:lnTo>
                    <a:pt x="13248" y="7418"/>
                  </a:lnTo>
                  <a:lnTo>
                    <a:pt x="12871" y="8096"/>
                  </a:lnTo>
                  <a:lnTo>
                    <a:pt x="12933" y="8912"/>
                  </a:lnTo>
                  <a:lnTo>
                    <a:pt x="13557" y="9424"/>
                  </a:lnTo>
                  <a:lnTo>
                    <a:pt x="15479" y="12498"/>
                  </a:lnTo>
                  <a:lnTo>
                    <a:pt x="15659" y="13392"/>
                  </a:lnTo>
                  <a:lnTo>
                    <a:pt x="15421" y="13825"/>
                  </a:lnTo>
                  <a:lnTo>
                    <a:pt x="13552" y="12939"/>
                  </a:lnTo>
                  <a:lnTo>
                    <a:pt x="9044" y="8960"/>
                  </a:lnTo>
                  <a:lnTo>
                    <a:pt x="5537" y="2403"/>
                  </a:lnTo>
                  <a:close/>
                  <a:moveTo>
                    <a:pt x="19193" y="0"/>
                  </a:moveTo>
                  <a:lnTo>
                    <a:pt x="20996" y="2187"/>
                  </a:lnTo>
                  <a:lnTo>
                    <a:pt x="22478" y="3327"/>
                  </a:lnTo>
                  <a:lnTo>
                    <a:pt x="21420" y="5796"/>
                  </a:lnTo>
                  <a:lnTo>
                    <a:pt x="19854" y="5408"/>
                  </a:lnTo>
                  <a:lnTo>
                    <a:pt x="19424" y="5143"/>
                  </a:lnTo>
                  <a:lnTo>
                    <a:pt x="19085" y="4496"/>
                  </a:lnTo>
                  <a:lnTo>
                    <a:pt x="19249" y="265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4" name="ee4p_ES_1_15912">
              <a:extLst>
                <a:ext uri="{FF2B5EF4-FFF2-40B4-BE49-F238E27FC236}">
                  <a16:creationId xmlns:a16="http://schemas.microsoft.com/office/drawing/2014/main" id="{AA0CEAA5-BB6F-A83C-540C-EB3981566300}"/>
                </a:ext>
              </a:extLst>
            </p:cNvPr>
            <p:cNvSpPr>
              <a:spLocks noChangeAspect="1"/>
            </p:cNvSpPr>
            <p:nvPr>
              <p:custDataLst>
                <p:tags r:id="rId26"/>
              </p:custDataLst>
            </p:nvPr>
          </p:nvSpPr>
          <p:spPr>
            <a:xfrm>
              <a:off x="3878940" y="5609161"/>
              <a:ext cx="271629" cy="145594"/>
            </a:xfrm>
            <a:custGeom>
              <a:avLst/>
              <a:gdLst>
                <a:gd name="connsiteX0" fmla="*/ 4710 w 68520"/>
                <a:gd name="connsiteY0" fmla="*/ 33907 h 36727"/>
                <a:gd name="connsiteX1" fmla="*/ 6049 w 68520"/>
                <a:gd name="connsiteY1" fmla="*/ 35359 h 36727"/>
                <a:gd name="connsiteX2" fmla="*/ 8167 w 68520"/>
                <a:gd name="connsiteY2" fmla="*/ 35628 h 36727"/>
                <a:gd name="connsiteX3" fmla="*/ 8195 w 68520"/>
                <a:gd name="connsiteY3" fmla="*/ 36386 h 36727"/>
                <a:gd name="connsiteX4" fmla="*/ 7692 w 68520"/>
                <a:gd name="connsiteY4" fmla="*/ 36727 h 36727"/>
                <a:gd name="connsiteX5" fmla="*/ 6228 w 68520"/>
                <a:gd name="connsiteY5" fmla="*/ 36414 h 36727"/>
                <a:gd name="connsiteX6" fmla="*/ 4034 w 68520"/>
                <a:gd name="connsiteY6" fmla="*/ 36414 h 36727"/>
                <a:gd name="connsiteX7" fmla="*/ 3950 w 68520"/>
                <a:gd name="connsiteY7" fmla="*/ 35372 h 36727"/>
                <a:gd name="connsiteX8" fmla="*/ 4287 w 68520"/>
                <a:gd name="connsiteY8" fmla="*/ 34644 h 36727"/>
                <a:gd name="connsiteX9" fmla="*/ 7543 w 68520"/>
                <a:gd name="connsiteY9" fmla="*/ 24790 h 36727"/>
                <a:gd name="connsiteX10" fmla="*/ 8621 w 68520"/>
                <a:gd name="connsiteY10" fmla="*/ 25661 h 36727"/>
                <a:gd name="connsiteX11" fmla="*/ 8852 w 68520"/>
                <a:gd name="connsiteY11" fmla="*/ 26917 h 36727"/>
                <a:gd name="connsiteX12" fmla="*/ 5997 w 68520"/>
                <a:gd name="connsiteY12" fmla="*/ 29665 h 36727"/>
                <a:gd name="connsiteX13" fmla="*/ 4907 w 68520"/>
                <a:gd name="connsiteY13" fmla="*/ 30022 h 36727"/>
                <a:gd name="connsiteX14" fmla="*/ 4106 w 68520"/>
                <a:gd name="connsiteY14" fmla="*/ 31608 h 36727"/>
                <a:gd name="connsiteX15" fmla="*/ 743 w 68520"/>
                <a:gd name="connsiteY15" fmla="*/ 31047 h 36727"/>
                <a:gd name="connsiteX16" fmla="*/ 0 w 68520"/>
                <a:gd name="connsiteY16" fmla="*/ 30405 h 36727"/>
                <a:gd name="connsiteX17" fmla="*/ 728 w 68520"/>
                <a:gd name="connsiteY17" fmla="*/ 28609 h 36727"/>
                <a:gd name="connsiteX18" fmla="*/ 1691 w 68520"/>
                <a:gd name="connsiteY18" fmla="*/ 28393 h 36727"/>
                <a:gd name="connsiteX19" fmla="*/ 1752 w 68520"/>
                <a:gd name="connsiteY19" fmla="*/ 27115 h 36727"/>
                <a:gd name="connsiteX20" fmla="*/ 2771 w 68520"/>
                <a:gd name="connsiteY20" fmla="*/ 25831 h 36727"/>
                <a:gd name="connsiteX21" fmla="*/ 42795 w 68520"/>
                <a:gd name="connsiteY21" fmla="*/ 2728 h 36727"/>
                <a:gd name="connsiteX22" fmla="*/ 43655 w 68520"/>
                <a:gd name="connsiteY22" fmla="*/ 2973 h 36727"/>
                <a:gd name="connsiteX23" fmla="*/ 42923 w 68520"/>
                <a:gd name="connsiteY23" fmla="*/ 3934 h 36727"/>
                <a:gd name="connsiteX24" fmla="*/ 42979 w 68520"/>
                <a:gd name="connsiteY24" fmla="*/ 4364 h 36727"/>
                <a:gd name="connsiteX25" fmla="*/ 43678 w 68520"/>
                <a:gd name="connsiteY25" fmla="*/ 4830 h 36727"/>
                <a:gd name="connsiteX26" fmla="*/ 43508 w 68520"/>
                <a:gd name="connsiteY26" fmla="*/ 5571 h 36727"/>
                <a:gd name="connsiteX27" fmla="*/ 42795 w 68520"/>
                <a:gd name="connsiteY27" fmla="*/ 6217 h 36727"/>
                <a:gd name="connsiteX28" fmla="*/ 42499 w 68520"/>
                <a:gd name="connsiteY28" fmla="*/ 7427 h 36727"/>
                <a:gd name="connsiteX29" fmla="*/ 44618 w 68520"/>
                <a:gd name="connsiteY29" fmla="*/ 8296 h 36727"/>
                <a:gd name="connsiteX30" fmla="*/ 46853 w 68520"/>
                <a:gd name="connsiteY30" fmla="*/ 7515 h 36727"/>
                <a:gd name="connsiteX31" fmla="*/ 48041 w 68520"/>
                <a:gd name="connsiteY31" fmla="*/ 7760 h 36727"/>
                <a:gd name="connsiteX32" fmla="*/ 49213 w 68520"/>
                <a:gd name="connsiteY32" fmla="*/ 8178 h 36727"/>
                <a:gd name="connsiteX33" fmla="*/ 49498 w 68520"/>
                <a:gd name="connsiteY33" fmla="*/ 9829 h 36727"/>
                <a:gd name="connsiteX34" fmla="*/ 48455 w 68520"/>
                <a:gd name="connsiteY34" fmla="*/ 11665 h 36727"/>
                <a:gd name="connsiteX35" fmla="*/ 46998 w 68520"/>
                <a:gd name="connsiteY35" fmla="*/ 13522 h 36727"/>
                <a:gd name="connsiteX36" fmla="*/ 45764 w 68520"/>
                <a:gd name="connsiteY36" fmla="*/ 15563 h 36727"/>
                <a:gd name="connsiteX37" fmla="*/ 44698 w 68520"/>
                <a:gd name="connsiteY37" fmla="*/ 17910 h 36727"/>
                <a:gd name="connsiteX38" fmla="*/ 42704 w 68520"/>
                <a:gd name="connsiteY38" fmla="*/ 19294 h 36727"/>
                <a:gd name="connsiteX39" fmla="*/ 40897 w 68520"/>
                <a:gd name="connsiteY39" fmla="*/ 20123 h 36727"/>
                <a:gd name="connsiteX40" fmla="*/ 37077 w 68520"/>
                <a:gd name="connsiteY40" fmla="*/ 18383 h 36727"/>
                <a:gd name="connsiteX41" fmla="*/ 34860 w 68520"/>
                <a:gd name="connsiteY41" fmla="*/ 17950 h 36727"/>
                <a:gd name="connsiteX42" fmla="*/ 34197 w 68520"/>
                <a:gd name="connsiteY42" fmla="*/ 17297 h 36727"/>
                <a:gd name="connsiteX43" fmla="*/ 33670 w 68520"/>
                <a:gd name="connsiteY43" fmla="*/ 14701 h 36727"/>
                <a:gd name="connsiteX44" fmla="*/ 32666 w 68520"/>
                <a:gd name="connsiteY44" fmla="*/ 13873 h 36727"/>
                <a:gd name="connsiteX45" fmla="*/ 31195 w 68520"/>
                <a:gd name="connsiteY45" fmla="*/ 13508 h 36727"/>
                <a:gd name="connsiteX46" fmla="*/ 29908 w 68520"/>
                <a:gd name="connsiteY46" fmla="*/ 14171 h 36727"/>
                <a:gd name="connsiteX47" fmla="*/ 28219 w 68520"/>
                <a:gd name="connsiteY47" fmla="*/ 15542 h 36727"/>
                <a:gd name="connsiteX48" fmla="*/ 27319 w 68520"/>
                <a:gd name="connsiteY48" fmla="*/ 14176 h 36727"/>
                <a:gd name="connsiteX49" fmla="*/ 25894 w 68520"/>
                <a:gd name="connsiteY49" fmla="*/ 13919 h 36727"/>
                <a:gd name="connsiteX50" fmla="*/ 25356 w 68520"/>
                <a:gd name="connsiteY50" fmla="*/ 13096 h 36727"/>
                <a:gd name="connsiteX51" fmla="*/ 25384 w 68520"/>
                <a:gd name="connsiteY51" fmla="*/ 12030 h 36727"/>
                <a:gd name="connsiteX52" fmla="*/ 34531 w 68520"/>
                <a:gd name="connsiteY52" fmla="*/ 5741 h 36727"/>
                <a:gd name="connsiteX53" fmla="*/ 37181 w 68520"/>
                <a:gd name="connsiteY53" fmla="*/ 4349 h 36727"/>
                <a:gd name="connsiteX54" fmla="*/ 62707 w 68520"/>
                <a:gd name="connsiteY54" fmla="*/ 0 h 36727"/>
                <a:gd name="connsiteX55" fmla="*/ 66391 w 68520"/>
                <a:gd name="connsiteY55" fmla="*/ 1114 h 36727"/>
                <a:gd name="connsiteX56" fmla="*/ 68367 w 68520"/>
                <a:gd name="connsiteY56" fmla="*/ 4116 h 36727"/>
                <a:gd name="connsiteX57" fmla="*/ 68520 w 68520"/>
                <a:gd name="connsiteY57" fmla="*/ 4630 h 36727"/>
                <a:gd name="connsiteX58" fmla="*/ 67892 w 68520"/>
                <a:gd name="connsiteY58" fmla="*/ 6080 h 36727"/>
                <a:gd name="connsiteX59" fmla="*/ 67486 w 68520"/>
                <a:gd name="connsiteY59" fmla="*/ 6381 h 36727"/>
                <a:gd name="connsiteX60" fmla="*/ 60684 w 68520"/>
                <a:gd name="connsiteY60" fmla="*/ 3371 h 36727"/>
                <a:gd name="connsiteX61" fmla="*/ 58462 w 68520"/>
                <a:gd name="connsiteY61" fmla="*/ 3035 h 36727"/>
                <a:gd name="connsiteX62" fmla="*/ 57920 w 68520"/>
                <a:gd name="connsiteY62" fmla="*/ 2575 h 36727"/>
                <a:gd name="connsiteX63" fmla="*/ 57980 w 68520"/>
                <a:gd name="connsiteY63" fmla="*/ 1008 h 36727"/>
                <a:gd name="connsiteX64" fmla="*/ 58157 w 68520"/>
                <a:gd name="connsiteY64" fmla="*/ 315 h 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8520" h="36727">
                  <a:moveTo>
                    <a:pt x="4710" y="33907"/>
                  </a:moveTo>
                  <a:lnTo>
                    <a:pt x="6049" y="35359"/>
                  </a:lnTo>
                  <a:lnTo>
                    <a:pt x="8167" y="35628"/>
                  </a:lnTo>
                  <a:lnTo>
                    <a:pt x="8195" y="36386"/>
                  </a:lnTo>
                  <a:lnTo>
                    <a:pt x="7692" y="36727"/>
                  </a:lnTo>
                  <a:lnTo>
                    <a:pt x="6228" y="36414"/>
                  </a:lnTo>
                  <a:lnTo>
                    <a:pt x="4034" y="36414"/>
                  </a:lnTo>
                  <a:lnTo>
                    <a:pt x="3950" y="35372"/>
                  </a:lnTo>
                  <a:lnTo>
                    <a:pt x="4287" y="34644"/>
                  </a:lnTo>
                  <a:close/>
                  <a:moveTo>
                    <a:pt x="7543" y="24790"/>
                  </a:moveTo>
                  <a:lnTo>
                    <a:pt x="8621" y="25661"/>
                  </a:lnTo>
                  <a:lnTo>
                    <a:pt x="8852" y="26917"/>
                  </a:lnTo>
                  <a:lnTo>
                    <a:pt x="5997" y="29665"/>
                  </a:lnTo>
                  <a:lnTo>
                    <a:pt x="4907" y="30022"/>
                  </a:lnTo>
                  <a:lnTo>
                    <a:pt x="4106" y="31608"/>
                  </a:lnTo>
                  <a:lnTo>
                    <a:pt x="743" y="31047"/>
                  </a:lnTo>
                  <a:lnTo>
                    <a:pt x="0" y="30405"/>
                  </a:lnTo>
                  <a:lnTo>
                    <a:pt x="728" y="28609"/>
                  </a:lnTo>
                  <a:lnTo>
                    <a:pt x="1691" y="28393"/>
                  </a:lnTo>
                  <a:lnTo>
                    <a:pt x="1752" y="27115"/>
                  </a:lnTo>
                  <a:lnTo>
                    <a:pt x="2771" y="25831"/>
                  </a:lnTo>
                  <a:close/>
                  <a:moveTo>
                    <a:pt x="42795" y="2728"/>
                  </a:moveTo>
                  <a:lnTo>
                    <a:pt x="43655" y="2973"/>
                  </a:lnTo>
                  <a:lnTo>
                    <a:pt x="42923" y="3934"/>
                  </a:lnTo>
                  <a:lnTo>
                    <a:pt x="42979" y="4364"/>
                  </a:lnTo>
                  <a:lnTo>
                    <a:pt x="43678" y="4830"/>
                  </a:lnTo>
                  <a:lnTo>
                    <a:pt x="43508" y="5571"/>
                  </a:lnTo>
                  <a:lnTo>
                    <a:pt x="42795" y="6217"/>
                  </a:lnTo>
                  <a:lnTo>
                    <a:pt x="42499" y="7427"/>
                  </a:lnTo>
                  <a:lnTo>
                    <a:pt x="44618" y="8296"/>
                  </a:lnTo>
                  <a:lnTo>
                    <a:pt x="46853" y="7515"/>
                  </a:lnTo>
                  <a:lnTo>
                    <a:pt x="48041" y="7760"/>
                  </a:lnTo>
                  <a:lnTo>
                    <a:pt x="49213" y="8178"/>
                  </a:lnTo>
                  <a:lnTo>
                    <a:pt x="49498" y="9829"/>
                  </a:lnTo>
                  <a:lnTo>
                    <a:pt x="48455" y="11665"/>
                  </a:lnTo>
                  <a:lnTo>
                    <a:pt x="46998" y="13522"/>
                  </a:lnTo>
                  <a:lnTo>
                    <a:pt x="45764" y="15563"/>
                  </a:lnTo>
                  <a:lnTo>
                    <a:pt x="44698" y="17910"/>
                  </a:lnTo>
                  <a:lnTo>
                    <a:pt x="42704" y="19294"/>
                  </a:lnTo>
                  <a:lnTo>
                    <a:pt x="40897" y="20123"/>
                  </a:lnTo>
                  <a:lnTo>
                    <a:pt x="37077" y="18383"/>
                  </a:lnTo>
                  <a:lnTo>
                    <a:pt x="34860" y="17950"/>
                  </a:lnTo>
                  <a:lnTo>
                    <a:pt x="34197" y="17297"/>
                  </a:lnTo>
                  <a:lnTo>
                    <a:pt x="33670" y="14701"/>
                  </a:lnTo>
                  <a:lnTo>
                    <a:pt x="32666" y="13873"/>
                  </a:lnTo>
                  <a:lnTo>
                    <a:pt x="31195" y="13508"/>
                  </a:lnTo>
                  <a:lnTo>
                    <a:pt x="29908" y="14171"/>
                  </a:lnTo>
                  <a:lnTo>
                    <a:pt x="28219" y="15542"/>
                  </a:lnTo>
                  <a:lnTo>
                    <a:pt x="27319" y="14176"/>
                  </a:lnTo>
                  <a:lnTo>
                    <a:pt x="25894" y="13919"/>
                  </a:lnTo>
                  <a:lnTo>
                    <a:pt x="25356" y="13096"/>
                  </a:lnTo>
                  <a:lnTo>
                    <a:pt x="25384" y="12030"/>
                  </a:lnTo>
                  <a:lnTo>
                    <a:pt x="34531" y="5741"/>
                  </a:lnTo>
                  <a:lnTo>
                    <a:pt x="37181" y="4349"/>
                  </a:lnTo>
                  <a:close/>
                  <a:moveTo>
                    <a:pt x="62707" y="0"/>
                  </a:moveTo>
                  <a:lnTo>
                    <a:pt x="66391" y="1114"/>
                  </a:lnTo>
                  <a:lnTo>
                    <a:pt x="68367" y="4116"/>
                  </a:lnTo>
                  <a:lnTo>
                    <a:pt x="68520" y="4630"/>
                  </a:lnTo>
                  <a:lnTo>
                    <a:pt x="67892" y="6080"/>
                  </a:lnTo>
                  <a:lnTo>
                    <a:pt x="67486" y="6381"/>
                  </a:lnTo>
                  <a:lnTo>
                    <a:pt x="60684" y="3371"/>
                  </a:lnTo>
                  <a:lnTo>
                    <a:pt x="58462" y="3035"/>
                  </a:lnTo>
                  <a:lnTo>
                    <a:pt x="57920" y="2575"/>
                  </a:lnTo>
                  <a:lnTo>
                    <a:pt x="57980" y="1008"/>
                  </a:lnTo>
                  <a:lnTo>
                    <a:pt x="58157" y="31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5" name="ee4p_ES_2_15912">
              <a:extLst>
                <a:ext uri="{FF2B5EF4-FFF2-40B4-BE49-F238E27FC236}">
                  <a16:creationId xmlns:a16="http://schemas.microsoft.com/office/drawing/2014/main" id="{62EC7C5E-F13C-E819-D311-4C224ACF8453}"/>
                </a:ext>
              </a:extLst>
            </p:cNvPr>
            <p:cNvSpPr>
              <a:spLocks noChangeAspect="1"/>
            </p:cNvSpPr>
            <p:nvPr>
              <p:custDataLst>
                <p:tags r:id="rId27"/>
              </p:custDataLst>
            </p:nvPr>
          </p:nvSpPr>
          <p:spPr>
            <a:xfrm>
              <a:off x="2962136" y="5221087"/>
              <a:ext cx="1099440" cy="799859"/>
            </a:xfrm>
            <a:custGeom>
              <a:avLst/>
              <a:gdLst/>
              <a:ahLst/>
              <a:cxnLst/>
              <a:rect l="0" t="0" r="0" b="0"/>
              <a:pathLst>
                <a:path w="277340" h="201769">
                  <a:moveTo>
                    <a:pt x="33998" y="0"/>
                  </a:moveTo>
                  <a:lnTo>
                    <a:pt x="36288" y="1004"/>
                  </a:lnTo>
                  <a:lnTo>
                    <a:pt x="38299" y="664"/>
                  </a:lnTo>
                  <a:lnTo>
                    <a:pt x="40605" y="1855"/>
                  </a:lnTo>
                  <a:lnTo>
                    <a:pt x="43643" y="4584"/>
                  </a:lnTo>
                  <a:lnTo>
                    <a:pt x="48087" y="5680"/>
                  </a:lnTo>
                  <a:lnTo>
                    <a:pt x="51631" y="4826"/>
                  </a:lnTo>
                  <a:lnTo>
                    <a:pt x="57898" y="4644"/>
                  </a:lnTo>
                  <a:lnTo>
                    <a:pt x="61029" y="5008"/>
                  </a:lnTo>
                  <a:lnTo>
                    <a:pt x="66591" y="4335"/>
                  </a:lnTo>
                  <a:lnTo>
                    <a:pt x="69776" y="4576"/>
                  </a:lnTo>
                  <a:lnTo>
                    <a:pt x="74938" y="3224"/>
                  </a:lnTo>
                  <a:lnTo>
                    <a:pt x="78937" y="4912"/>
                  </a:lnTo>
                  <a:lnTo>
                    <a:pt x="86678" y="5701"/>
                  </a:lnTo>
                  <a:lnTo>
                    <a:pt x="91332" y="7083"/>
                  </a:lnTo>
                  <a:lnTo>
                    <a:pt x="104206" y="9402"/>
                  </a:lnTo>
                  <a:lnTo>
                    <a:pt x="108855" y="9428"/>
                  </a:lnTo>
                  <a:lnTo>
                    <a:pt x="115433" y="8127"/>
                  </a:lnTo>
                  <a:lnTo>
                    <a:pt x="118218" y="7149"/>
                  </a:lnTo>
                  <a:lnTo>
                    <a:pt x="120768" y="7729"/>
                  </a:lnTo>
                  <a:lnTo>
                    <a:pt x="124514" y="6609"/>
                  </a:lnTo>
                  <a:lnTo>
                    <a:pt x="126305" y="6836"/>
                  </a:lnTo>
                  <a:lnTo>
                    <a:pt x="128644" y="8433"/>
                  </a:lnTo>
                  <a:lnTo>
                    <a:pt x="136875" y="10589"/>
                  </a:lnTo>
                  <a:lnTo>
                    <a:pt x="139040" y="8757"/>
                  </a:lnTo>
                  <a:lnTo>
                    <a:pt x="140647" y="8360"/>
                  </a:lnTo>
                  <a:lnTo>
                    <a:pt x="146572" y="9482"/>
                  </a:lnTo>
                  <a:lnTo>
                    <a:pt x="152542" y="11760"/>
                  </a:lnTo>
                  <a:lnTo>
                    <a:pt x="155647" y="11924"/>
                  </a:lnTo>
                  <a:lnTo>
                    <a:pt x="160188" y="11302"/>
                  </a:lnTo>
                  <a:lnTo>
                    <a:pt x="163788" y="9802"/>
                  </a:lnTo>
                  <a:lnTo>
                    <a:pt x="164550" y="9627"/>
                  </a:lnTo>
                  <a:lnTo>
                    <a:pt x="164579" y="10563"/>
                  </a:lnTo>
                  <a:lnTo>
                    <a:pt x="165452" y="11849"/>
                  </a:lnTo>
                  <a:lnTo>
                    <a:pt x="166345" y="12325"/>
                  </a:lnTo>
                  <a:lnTo>
                    <a:pt x="168240" y="12985"/>
                  </a:lnTo>
                  <a:lnTo>
                    <a:pt x="169692" y="13073"/>
                  </a:lnTo>
                  <a:lnTo>
                    <a:pt x="171677" y="13382"/>
                  </a:lnTo>
                  <a:lnTo>
                    <a:pt x="173027" y="14123"/>
                  </a:lnTo>
                  <a:lnTo>
                    <a:pt x="173101" y="15277"/>
                  </a:lnTo>
                  <a:lnTo>
                    <a:pt x="172763" y="16566"/>
                  </a:lnTo>
                  <a:lnTo>
                    <a:pt x="171949" y="17750"/>
                  </a:lnTo>
                  <a:lnTo>
                    <a:pt x="171484" y="18658"/>
                  </a:lnTo>
                  <a:lnTo>
                    <a:pt x="171918" y="19177"/>
                  </a:lnTo>
                  <a:lnTo>
                    <a:pt x="172627" y="19580"/>
                  </a:lnTo>
                  <a:lnTo>
                    <a:pt x="173395" y="19691"/>
                  </a:lnTo>
                  <a:lnTo>
                    <a:pt x="173915" y="19557"/>
                  </a:lnTo>
                  <a:lnTo>
                    <a:pt x="174308" y="18842"/>
                  </a:lnTo>
                  <a:lnTo>
                    <a:pt x="175058" y="17965"/>
                  </a:lnTo>
                  <a:lnTo>
                    <a:pt x="175473" y="17858"/>
                  </a:lnTo>
                  <a:lnTo>
                    <a:pt x="175440" y="18354"/>
                  </a:lnTo>
                  <a:lnTo>
                    <a:pt x="175796" y="18967"/>
                  </a:lnTo>
                  <a:lnTo>
                    <a:pt x="178228" y="19998"/>
                  </a:lnTo>
                  <a:lnTo>
                    <a:pt x="183571" y="21917"/>
                  </a:lnTo>
                  <a:lnTo>
                    <a:pt x="185663" y="21953"/>
                  </a:lnTo>
                  <a:lnTo>
                    <a:pt x="187356" y="22178"/>
                  </a:lnTo>
                  <a:lnTo>
                    <a:pt x="187853" y="22988"/>
                  </a:lnTo>
                  <a:lnTo>
                    <a:pt x="191253" y="25947"/>
                  </a:lnTo>
                  <a:lnTo>
                    <a:pt x="192063" y="25866"/>
                  </a:lnTo>
                  <a:lnTo>
                    <a:pt x="193581" y="25938"/>
                  </a:lnTo>
                  <a:lnTo>
                    <a:pt x="195410" y="25703"/>
                  </a:lnTo>
                  <a:lnTo>
                    <a:pt x="196733" y="25149"/>
                  </a:lnTo>
                  <a:lnTo>
                    <a:pt x="197602" y="25242"/>
                  </a:lnTo>
                  <a:lnTo>
                    <a:pt x="198558" y="25814"/>
                  </a:lnTo>
                  <a:lnTo>
                    <a:pt x="199680" y="26313"/>
                  </a:lnTo>
                  <a:lnTo>
                    <a:pt x="201123" y="27285"/>
                  </a:lnTo>
                  <a:lnTo>
                    <a:pt x="202418" y="28490"/>
                  </a:lnTo>
                  <a:lnTo>
                    <a:pt x="203310" y="28884"/>
                  </a:lnTo>
                  <a:lnTo>
                    <a:pt x="208673" y="28076"/>
                  </a:lnTo>
                  <a:lnTo>
                    <a:pt x="209869" y="28782"/>
                  </a:lnTo>
                  <a:lnTo>
                    <a:pt x="211139" y="28773"/>
                  </a:lnTo>
                  <a:lnTo>
                    <a:pt x="212562" y="28589"/>
                  </a:lnTo>
                  <a:lnTo>
                    <a:pt x="215667" y="28960"/>
                  </a:lnTo>
                  <a:lnTo>
                    <a:pt x="218187" y="28871"/>
                  </a:lnTo>
                  <a:lnTo>
                    <a:pt x="218416" y="28576"/>
                  </a:lnTo>
                  <a:lnTo>
                    <a:pt x="218632" y="25908"/>
                  </a:lnTo>
                  <a:lnTo>
                    <a:pt x="219031" y="24963"/>
                  </a:lnTo>
                  <a:lnTo>
                    <a:pt x="219629" y="24713"/>
                  </a:lnTo>
                  <a:lnTo>
                    <a:pt x="221124" y="24902"/>
                  </a:lnTo>
                  <a:lnTo>
                    <a:pt x="226554" y="26482"/>
                  </a:lnTo>
                  <a:lnTo>
                    <a:pt x="228790" y="27469"/>
                  </a:lnTo>
                  <a:lnTo>
                    <a:pt x="230938" y="28242"/>
                  </a:lnTo>
                  <a:lnTo>
                    <a:pt x="232817" y="28327"/>
                  </a:lnTo>
                  <a:lnTo>
                    <a:pt x="234058" y="28842"/>
                  </a:lnTo>
                  <a:lnTo>
                    <a:pt x="235803" y="31373"/>
                  </a:lnTo>
                  <a:lnTo>
                    <a:pt x="235505" y="32642"/>
                  </a:lnTo>
                  <a:lnTo>
                    <a:pt x="235663" y="33111"/>
                  </a:lnTo>
                  <a:lnTo>
                    <a:pt x="235847" y="33990"/>
                  </a:lnTo>
                  <a:lnTo>
                    <a:pt x="235799" y="34964"/>
                  </a:lnTo>
                  <a:lnTo>
                    <a:pt x="236257" y="35600"/>
                  </a:lnTo>
                  <a:lnTo>
                    <a:pt x="237084" y="35680"/>
                  </a:lnTo>
                  <a:lnTo>
                    <a:pt x="238142" y="35487"/>
                  </a:lnTo>
                  <a:lnTo>
                    <a:pt x="239299" y="35107"/>
                  </a:lnTo>
                  <a:lnTo>
                    <a:pt x="241335" y="34021"/>
                  </a:lnTo>
                  <a:lnTo>
                    <a:pt x="241945" y="33844"/>
                  </a:lnTo>
                  <a:lnTo>
                    <a:pt x="245343" y="35077"/>
                  </a:lnTo>
                  <a:lnTo>
                    <a:pt x="246851" y="35897"/>
                  </a:lnTo>
                  <a:lnTo>
                    <a:pt x="247371" y="36791"/>
                  </a:lnTo>
                  <a:lnTo>
                    <a:pt x="248146" y="37704"/>
                  </a:lnTo>
                  <a:lnTo>
                    <a:pt x="249167" y="37837"/>
                  </a:lnTo>
                  <a:lnTo>
                    <a:pt x="250619" y="36969"/>
                  </a:lnTo>
                  <a:lnTo>
                    <a:pt x="252875" y="36040"/>
                  </a:lnTo>
                  <a:lnTo>
                    <a:pt x="256723" y="36857"/>
                  </a:lnTo>
                  <a:lnTo>
                    <a:pt x="261003" y="38042"/>
                  </a:lnTo>
                  <a:lnTo>
                    <a:pt x="262854" y="38184"/>
                  </a:lnTo>
                  <a:lnTo>
                    <a:pt x="262923" y="37608"/>
                  </a:lnTo>
                  <a:lnTo>
                    <a:pt x="263260" y="36784"/>
                  </a:lnTo>
                  <a:lnTo>
                    <a:pt x="263964" y="36372"/>
                  </a:lnTo>
                  <a:lnTo>
                    <a:pt x="265015" y="36251"/>
                  </a:lnTo>
                  <a:lnTo>
                    <a:pt x="266480" y="35819"/>
                  </a:lnTo>
                  <a:lnTo>
                    <a:pt x="268155" y="35104"/>
                  </a:lnTo>
                  <a:lnTo>
                    <a:pt x="269893" y="34806"/>
                  </a:lnTo>
                  <a:lnTo>
                    <a:pt x="271720" y="35340"/>
                  </a:lnTo>
                  <a:lnTo>
                    <a:pt x="273921" y="35772"/>
                  </a:lnTo>
                  <a:lnTo>
                    <a:pt x="275231" y="35768"/>
                  </a:lnTo>
                  <a:lnTo>
                    <a:pt x="275860" y="37454"/>
                  </a:lnTo>
                  <a:lnTo>
                    <a:pt x="276922" y="38098"/>
                  </a:lnTo>
                  <a:lnTo>
                    <a:pt x="277339" y="39556"/>
                  </a:lnTo>
                  <a:lnTo>
                    <a:pt x="275391" y="40317"/>
                  </a:lnTo>
                  <a:lnTo>
                    <a:pt x="274236" y="40420"/>
                  </a:lnTo>
                  <a:lnTo>
                    <a:pt x="273882" y="42921"/>
                  </a:lnTo>
                  <a:lnTo>
                    <a:pt x="274430" y="43625"/>
                  </a:lnTo>
                  <a:lnTo>
                    <a:pt x="275523" y="44285"/>
                  </a:lnTo>
                  <a:lnTo>
                    <a:pt x="275821" y="45054"/>
                  </a:lnTo>
                  <a:lnTo>
                    <a:pt x="276041" y="48717"/>
                  </a:lnTo>
                  <a:lnTo>
                    <a:pt x="273804" y="50924"/>
                  </a:lnTo>
                  <a:lnTo>
                    <a:pt x="270664" y="53405"/>
                  </a:lnTo>
                  <a:lnTo>
                    <a:pt x="255320" y="61366"/>
                  </a:lnTo>
                  <a:lnTo>
                    <a:pt x="251664" y="65214"/>
                  </a:lnTo>
                  <a:lnTo>
                    <a:pt x="250271" y="66093"/>
                  </a:lnTo>
                  <a:lnTo>
                    <a:pt x="238861" y="68513"/>
                  </a:lnTo>
                  <a:lnTo>
                    <a:pt x="230884" y="71096"/>
                  </a:lnTo>
                  <a:lnTo>
                    <a:pt x="227060" y="72030"/>
                  </a:lnTo>
                  <a:lnTo>
                    <a:pt x="222283" y="76514"/>
                  </a:lnTo>
                  <a:lnTo>
                    <a:pt x="220022" y="78320"/>
                  </a:lnTo>
                  <a:lnTo>
                    <a:pt x="221823" y="78820"/>
                  </a:lnTo>
                  <a:lnTo>
                    <a:pt x="223924" y="80958"/>
                  </a:lnTo>
                  <a:lnTo>
                    <a:pt x="223218" y="81906"/>
                  </a:lnTo>
                  <a:lnTo>
                    <a:pt x="220154" y="83368"/>
                  </a:lnTo>
                  <a:lnTo>
                    <a:pt x="218815" y="83818"/>
                  </a:lnTo>
                  <a:lnTo>
                    <a:pt x="218088" y="83585"/>
                  </a:lnTo>
                  <a:lnTo>
                    <a:pt x="217401" y="83787"/>
                  </a:lnTo>
                  <a:lnTo>
                    <a:pt x="212262" y="91522"/>
                  </a:lnTo>
                  <a:lnTo>
                    <a:pt x="207723" y="97072"/>
                  </a:lnTo>
                  <a:lnTo>
                    <a:pt x="205172" y="99489"/>
                  </a:lnTo>
                  <a:lnTo>
                    <a:pt x="202558" y="103086"/>
                  </a:lnTo>
                  <a:lnTo>
                    <a:pt x="196989" y="112346"/>
                  </a:lnTo>
                  <a:lnTo>
                    <a:pt x="196946" y="115013"/>
                  </a:lnTo>
                  <a:lnTo>
                    <a:pt x="199689" y="124196"/>
                  </a:lnTo>
                  <a:lnTo>
                    <a:pt x="201261" y="126604"/>
                  </a:lnTo>
                  <a:lnTo>
                    <a:pt x="203465" y="128626"/>
                  </a:lnTo>
                  <a:lnTo>
                    <a:pt x="207645" y="130344"/>
                  </a:lnTo>
                  <a:lnTo>
                    <a:pt x="208677" y="132034"/>
                  </a:lnTo>
                  <a:lnTo>
                    <a:pt x="207234" y="133643"/>
                  </a:lnTo>
                  <a:lnTo>
                    <a:pt x="203054" y="136506"/>
                  </a:lnTo>
                  <a:lnTo>
                    <a:pt x="195790" y="140369"/>
                  </a:lnTo>
                  <a:lnTo>
                    <a:pt x="192704" y="143413"/>
                  </a:lnTo>
                  <a:lnTo>
                    <a:pt x="192043" y="146346"/>
                  </a:lnTo>
                  <a:lnTo>
                    <a:pt x="189918" y="147662"/>
                  </a:lnTo>
                  <a:lnTo>
                    <a:pt x="189113" y="151762"/>
                  </a:lnTo>
                  <a:lnTo>
                    <a:pt x="187823" y="154476"/>
                  </a:lnTo>
                  <a:lnTo>
                    <a:pt x="187575" y="155395"/>
                  </a:lnTo>
                  <a:lnTo>
                    <a:pt x="186207" y="157451"/>
                  </a:lnTo>
                  <a:lnTo>
                    <a:pt x="186020" y="158942"/>
                  </a:lnTo>
                  <a:lnTo>
                    <a:pt x="188264" y="161002"/>
                  </a:lnTo>
                  <a:lnTo>
                    <a:pt x="187152" y="161892"/>
                  </a:lnTo>
                  <a:lnTo>
                    <a:pt x="186040" y="162288"/>
                  </a:lnTo>
                  <a:lnTo>
                    <a:pt x="183477" y="162528"/>
                  </a:lnTo>
                  <a:lnTo>
                    <a:pt x="174865" y="162789"/>
                  </a:lnTo>
                  <a:lnTo>
                    <a:pt x="167935" y="167235"/>
                  </a:lnTo>
                  <a:lnTo>
                    <a:pt x="164471" y="171164"/>
                  </a:lnTo>
                  <a:lnTo>
                    <a:pt x="161338" y="178468"/>
                  </a:lnTo>
                  <a:lnTo>
                    <a:pt x="157530" y="182766"/>
                  </a:lnTo>
                  <a:lnTo>
                    <a:pt x="155846" y="183558"/>
                  </a:lnTo>
                  <a:lnTo>
                    <a:pt x="153239" y="181670"/>
                  </a:lnTo>
                  <a:lnTo>
                    <a:pt x="149983" y="181382"/>
                  </a:lnTo>
                  <a:lnTo>
                    <a:pt x="146824" y="182008"/>
                  </a:lnTo>
                  <a:lnTo>
                    <a:pt x="145167" y="183504"/>
                  </a:lnTo>
                  <a:lnTo>
                    <a:pt x="142581" y="184337"/>
                  </a:lnTo>
                  <a:lnTo>
                    <a:pt x="140054" y="183616"/>
                  </a:lnTo>
                  <a:lnTo>
                    <a:pt x="134585" y="183227"/>
                  </a:lnTo>
                  <a:lnTo>
                    <a:pt x="132154" y="183296"/>
                  </a:lnTo>
                  <a:lnTo>
                    <a:pt x="128348" y="184511"/>
                  </a:lnTo>
                  <a:lnTo>
                    <a:pt x="125085" y="183700"/>
                  </a:lnTo>
                  <a:lnTo>
                    <a:pt x="119580" y="183289"/>
                  </a:lnTo>
                  <a:lnTo>
                    <a:pt x="107660" y="184252"/>
                  </a:lnTo>
                  <a:lnTo>
                    <a:pt x="106156" y="184705"/>
                  </a:lnTo>
                  <a:lnTo>
                    <a:pt x="104666" y="186509"/>
                  </a:lnTo>
                  <a:lnTo>
                    <a:pt x="100865" y="189618"/>
                  </a:lnTo>
                  <a:lnTo>
                    <a:pt x="95090" y="189730"/>
                  </a:lnTo>
                  <a:lnTo>
                    <a:pt x="89867" y="191712"/>
                  </a:lnTo>
                  <a:lnTo>
                    <a:pt x="88562" y="192981"/>
                  </a:lnTo>
                  <a:lnTo>
                    <a:pt x="86369" y="196469"/>
                  </a:lnTo>
                  <a:lnTo>
                    <a:pt x="85678" y="199017"/>
                  </a:lnTo>
                  <a:lnTo>
                    <a:pt x="85222" y="199038"/>
                  </a:lnTo>
                  <a:lnTo>
                    <a:pt x="84655" y="198411"/>
                  </a:lnTo>
                  <a:lnTo>
                    <a:pt x="83850" y="198621"/>
                  </a:lnTo>
                  <a:lnTo>
                    <a:pt x="83433" y="200560"/>
                  </a:lnTo>
                  <a:lnTo>
                    <a:pt x="81470" y="201443"/>
                  </a:lnTo>
                  <a:lnTo>
                    <a:pt x="79829" y="201768"/>
                  </a:lnTo>
                  <a:lnTo>
                    <a:pt x="75784" y="200193"/>
                  </a:lnTo>
                  <a:lnTo>
                    <a:pt x="72417" y="197833"/>
                  </a:lnTo>
                  <a:lnTo>
                    <a:pt x="70648" y="197664"/>
                  </a:lnTo>
                  <a:lnTo>
                    <a:pt x="67778" y="193989"/>
                  </a:lnTo>
                  <a:lnTo>
                    <a:pt x="66544" y="191644"/>
                  </a:lnTo>
                  <a:lnTo>
                    <a:pt x="65667" y="189110"/>
                  </a:lnTo>
                  <a:lnTo>
                    <a:pt x="65849" y="188139"/>
                  </a:lnTo>
                  <a:lnTo>
                    <a:pt x="65600" y="187331"/>
                  </a:lnTo>
                  <a:lnTo>
                    <a:pt x="63053" y="186309"/>
                  </a:lnTo>
                  <a:lnTo>
                    <a:pt x="62432" y="183979"/>
                  </a:lnTo>
                  <a:lnTo>
                    <a:pt x="64288" y="180951"/>
                  </a:lnTo>
                  <a:lnTo>
                    <a:pt x="65811" y="179659"/>
                  </a:lnTo>
                  <a:lnTo>
                    <a:pt x="66753" y="179288"/>
                  </a:lnTo>
                  <a:lnTo>
                    <a:pt x="64450" y="179418"/>
                  </a:lnTo>
                  <a:lnTo>
                    <a:pt x="62787" y="181370"/>
                  </a:lnTo>
                  <a:lnTo>
                    <a:pt x="60659" y="178244"/>
                  </a:lnTo>
                  <a:lnTo>
                    <a:pt x="51986" y="172148"/>
                  </a:lnTo>
                  <a:lnTo>
                    <a:pt x="52545" y="170748"/>
                  </a:lnTo>
                  <a:lnTo>
                    <a:pt x="52448" y="169991"/>
                  </a:lnTo>
                  <a:lnTo>
                    <a:pt x="50994" y="171620"/>
                  </a:lnTo>
                  <a:lnTo>
                    <a:pt x="49995" y="172041"/>
                  </a:lnTo>
                  <a:lnTo>
                    <a:pt x="45567" y="171777"/>
                  </a:lnTo>
                  <a:lnTo>
                    <a:pt x="40454" y="172525"/>
                  </a:lnTo>
                  <a:lnTo>
                    <a:pt x="39105" y="166187"/>
                  </a:lnTo>
                  <a:lnTo>
                    <a:pt x="38467" y="163748"/>
                  </a:lnTo>
                  <a:lnTo>
                    <a:pt x="38301" y="162167"/>
                  </a:lnTo>
                  <a:lnTo>
                    <a:pt x="39619" y="158516"/>
                  </a:lnTo>
                  <a:lnTo>
                    <a:pt x="41057" y="157030"/>
                  </a:lnTo>
                  <a:lnTo>
                    <a:pt x="42973" y="153956"/>
                  </a:lnTo>
                  <a:lnTo>
                    <a:pt x="45335" y="151395"/>
                  </a:lnTo>
                  <a:lnTo>
                    <a:pt x="47832" y="150788"/>
                  </a:lnTo>
                  <a:lnTo>
                    <a:pt x="48930" y="150411"/>
                  </a:lnTo>
                  <a:lnTo>
                    <a:pt x="49853" y="148429"/>
                  </a:lnTo>
                  <a:lnTo>
                    <a:pt x="50373" y="146737"/>
                  </a:lnTo>
                  <a:lnTo>
                    <a:pt x="49992" y="146569"/>
                  </a:lnTo>
                  <a:lnTo>
                    <a:pt x="47082" y="146914"/>
                  </a:lnTo>
                  <a:lnTo>
                    <a:pt x="41850" y="139809"/>
                  </a:lnTo>
                  <a:lnTo>
                    <a:pt x="42010" y="138675"/>
                  </a:lnTo>
                  <a:lnTo>
                    <a:pt x="42670" y="136992"/>
                  </a:lnTo>
                  <a:lnTo>
                    <a:pt x="43103" y="134866"/>
                  </a:lnTo>
                  <a:lnTo>
                    <a:pt x="43210" y="133185"/>
                  </a:lnTo>
                  <a:lnTo>
                    <a:pt x="44572" y="131742"/>
                  </a:lnTo>
                  <a:lnTo>
                    <a:pt x="46660" y="130285"/>
                  </a:lnTo>
                  <a:lnTo>
                    <a:pt x="48417" y="128217"/>
                  </a:lnTo>
                  <a:lnTo>
                    <a:pt x="49297" y="126196"/>
                  </a:lnTo>
                  <a:lnTo>
                    <a:pt x="49480" y="124355"/>
                  </a:lnTo>
                  <a:lnTo>
                    <a:pt x="48485" y="123045"/>
                  </a:lnTo>
                  <a:lnTo>
                    <a:pt x="45623" y="122318"/>
                  </a:lnTo>
                  <a:lnTo>
                    <a:pt x="42674" y="117061"/>
                  </a:lnTo>
                  <a:lnTo>
                    <a:pt x="42018" y="113766"/>
                  </a:lnTo>
                  <a:lnTo>
                    <a:pt x="41415" y="113424"/>
                  </a:lnTo>
                  <a:lnTo>
                    <a:pt x="39593" y="111922"/>
                  </a:lnTo>
                  <a:lnTo>
                    <a:pt x="37844" y="109102"/>
                  </a:lnTo>
                  <a:lnTo>
                    <a:pt x="37590" y="108664"/>
                  </a:lnTo>
                  <a:lnTo>
                    <a:pt x="39394" y="108168"/>
                  </a:lnTo>
                  <a:lnTo>
                    <a:pt x="46833" y="108141"/>
                  </a:lnTo>
                  <a:lnTo>
                    <a:pt x="48387" y="107520"/>
                  </a:lnTo>
                  <a:lnTo>
                    <a:pt x="48623" y="107302"/>
                  </a:lnTo>
                  <a:lnTo>
                    <a:pt x="49979" y="105105"/>
                  </a:lnTo>
                  <a:lnTo>
                    <a:pt x="51399" y="101492"/>
                  </a:lnTo>
                  <a:lnTo>
                    <a:pt x="51733" y="99284"/>
                  </a:lnTo>
                  <a:lnTo>
                    <a:pt x="51284" y="98371"/>
                  </a:lnTo>
                  <a:lnTo>
                    <a:pt x="48820" y="96132"/>
                  </a:lnTo>
                  <a:lnTo>
                    <a:pt x="48714" y="95471"/>
                  </a:lnTo>
                  <a:lnTo>
                    <a:pt x="49110" y="94415"/>
                  </a:lnTo>
                  <a:lnTo>
                    <a:pt x="50575" y="93285"/>
                  </a:lnTo>
                  <a:lnTo>
                    <a:pt x="52555" y="92001"/>
                  </a:lnTo>
                  <a:lnTo>
                    <a:pt x="53633" y="90893"/>
                  </a:lnTo>
                  <a:lnTo>
                    <a:pt x="53376" y="90026"/>
                  </a:lnTo>
                  <a:lnTo>
                    <a:pt x="52797" y="89117"/>
                  </a:lnTo>
                  <a:lnTo>
                    <a:pt x="52707" y="88273"/>
                  </a:lnTo>
                  <a:lnTo>
                    <a:pt x="53069" y="87228"/>
                  </a:lnTo>
                  <a:lnTo>
                    <a:pt x="53198" y="83667"/>
                  </a:lnTo>
                  <a:lnTo>
                    <a:pt x="53452" y="82750"/>
                  </a:lnTo>
                  <a:lnTo>
                    <a:pt x="53064" y="79511"/>
                  </a:lnTo>
                  <a:lnTo>
                    <a:pt x="52581" y="76863"/>
                  </a:lnTo>
                  <a:lnTo>
                    <a:pt x="51017" y="73423"/>
                  </a:lnTo>
                  <a:lnTo>
                    <a:pt x="51303" y="72663"/>
                  </a:lnTo>
                  <a:lnTo>
                    <a:pt x="52026" y="72021"/>
                  </a:lnTo>
                  <a:lnTo>
                    <a:pt x="54393" y="70828"/>
                  </a:lnTo>
                  <a:lnTo>
                    <a:pt x="56287" y="68015"/>
                  </a:lnTo>
                  <a:lnTo>
                    <a:pt x="59034" y="65663"/>
                  </a:lnTo>
                  <a:lnTo>
                    <a:pt x="62633" y="63771"/>
                  </a:lnTo>
                  <a:lnTo>
                    <a:pt x="65149" y="61669"/>
                  </a:lnTo>
                  <a:lnTo>
                    <a:pt x="66145" y="60060"/>
                  </a:lnTo>
                  <a:lnTo>
                    <a:pt x="66848" y="59634"/>
                  </a:lnTo>
                  <a:lnTo>
                    <a:pt x="66646" y="58883"/>
                  </a:lnTo>
                  <a:lnTo>
                    <a:pt x="66172" y="57789"/>
                  </a:lnTo>
                  <a:lnTo>
                    <a:pt x="64736" y="56721"/>
                  </a:lnTo>
                  <a:lnTo>
                    <a:pt x="62886" y="56107"/>
                  </a:lnTo>
                  <a:lnTo>
                    <a:pt x="60830" y="56133"/>
                  </a:lnTo>
                  <a:lnTo>
                    <a:pt x="59558" y="55918"/>
                  </a:lnTo>
                  <a:lnTo>
                    <a:pt x="59187" y="55083"/>
                  </a:lnTo>
                  <a:lnTo>
                    <a:pt x="59328" y="52819"/>
                  </a:lnTo>
                  <a:lnTo>
                    <a:pt x="59219" y="50577"/>
                  </a:lnTo>
                  <a:lnTo>
                    <a:pt x="58825" y="49544"/>
                  </a:lnTo>
                  <a:lnTo>
                    <a:pt x="57876" y="48767"/>
                  </a:lnTo>
                  <a:lnTo>
                    <a:pt x="55989" y="48974"/>
                  </a:lnTo>
                  <a:lnTo>
                    <a:pt x="54360" y="48339"/>
                  </a:lnTo>
                  <a:lnTo>
                    <a:pt x="53124" y="48189"/>
                  </a:lnTo>
                  <a:lnTo>
                    <a:pt x="52409" y="48690"/>
                  </a:lnTo>
                  <a:lnTo>
                    <a:pt x="48761" y="48548"/>
                  </a:lnTo>
                  <a:lnTo>
                    <a:pt x="47243" y="48187"/>
                  </a:lnTo>
                  <a:lnTo>
                    <a:pt x="46182" y="47738"/>
                  </a:lnTo>
                  <a:lnTo>
                    <a:pt x="45501" y="47989"/>
                  </a:lnTo>
                  <a:lnTo>
                    <a:pt x="45116" y="48426"/>
                  </a:lnTo>
                  <a:lnTo>
                    <a:pt x="45050" y="49111"/>
                  </a:lnTo>
                  <a:lnTo>
                    <a:pt x="44800" y="50017"/>
                  </a:lnTo>
                  <a:lnTo>
                    <a:pt x="43497" y="50835"/>
                  </a:lnTo>
                  <a:lnTo>
                    <a:pt x="40510" y="51649"/>
                  </a:lnTo>
                  <a:lnTo>
                    <a:pt x="38100" y="51588"/>
                  </a:lnTo>
                  <a:lnTo>
                    <a:pt x="35889" y="51006"/>
                  </a:lnTo>
                  <a:lnTo>
                    <a:pt x="35180" y="50581"/>
                  </a:lnTo>
                  <a:lnTo>
                    <a:pt x="34110" y="50196"/>
                  </a:lnTo>
                  <a:lnTo>
                    <a:pt x="29614" y="50671"/>
                  </a:lnTo>
                  <a:lnTo>
                    <a:pt x="29073" y="50325"/>
                  </a:lnTo>
                  <a:lnTo>
                    <a:pt x="27523" y="51166"/>
                  </a:lnTo>
                  <a:lnTo>
                    <a:pt x="25235" y="52166"/>
                  </a:lnTo>
                  <a:lnTo>
                    <a:pt x="23951" y="52225"/>
                  </a:lnTo>
                  <a:lnTo>
                    <a:pt x="23486" y="52013"/>
                  </a:lnTo>
                  <a:lnTo>
                    <a:pt x="23315" y="51562"/>
                  </a:lnTo>
                  <a:lnTo>
                    <a:pt x="22353" y="50001"/>
                  </a:lnTo>
                  <a:lnTo>
                    <a:pt x="22606" y="49172"/>
                  </a:lnTo>
                  <a:lnTo>
                    <a:pt x="24449" y="46755"/>
                  </a:lnTo>
                  <a:lnTo>
                    <a:pt x="24243" y="46177"/>
                  </a:lnTo>
                  <a:lnTo>
                    <a:pt x="23485" y="45395"/>
                  </a:lnTo>
                  <a:lnTo>
                    <a:pt x="22808" y="44266"/>
                  </a:lnTo>
                  <a:lnTo>
                    <a:pt x="22612" y="43686"/>
                  </a:lnTo>
                  <a:lnTo>
                    <a:pt x="21440" y="43587"/>
                  </a:lnTo>
                  <a:lnTo>
                    <a:pt x="20191" y="44180"/>
                  </a:lnTo>
                  <a:lnTo>
                    <a:pt x="15425" y="45396"/>
                  </a:lnTo>
                  <a:lnTo>
                    <a:pt x="14285" y="45837"/>
                  </a:lnTo>
                  <a:lnTo>
                    <a:pt x="12221" y="47012"/>
                  </a:lnTo>
                  <a:lnTo>
                    <a:pt x="10139" y="48801"/>
                  </a:lnTo>
                  <a:lnTo>
                    <a:pt x="8476" y="49177"/>
                  </a:lnTo>
                  <a:lnTo>
                    <a:pt x="7902" y="48647"/>
                  </a:lnTo>
                  <a:lnTo>
                    <a:pt x="7705" y="44441"/>
                  </a:lnTo>
                  <a:lnTo>
                    <a:pt x="10242" y="41641"/>
                  </a:lnTo>
                  <a:lnTo>
                    <a:pt x="12045" y="39949"/>
                  </a:lnTo>
                  <a:lnTo>
                    <a:pt x="11199" y="39608"/>
                  </a:lnTo>
                  <a:lnTo>
                    <a:pt x="9284" y="39654"/>
                  </a:lnTo>
                  <a:lnTo>
                    <a:pt x="9413" y="38344"/>
                  </a:lnTo>
                  <a:lnTo>
                    <a:pt x="10310" y="37713"/>
                  </a:lnTo>
                  <a:lnTo>
                    <a:pt x="11181" y="36286"/>
                  </a:lnTo>
                  <a:lnTo>
                    <a:pt x="10160" y="35670"/>
                  </a:lnTo>
                  <a:lnTo>
                    <a:pt x="9366" y="34731"/>
                  </a:lnTo>
                  <a:lnTo>
                    <a:pt x="9414" y="32269"/>
                  </a:lnTo>
                  <a:lnTo>
                    <a:pt x="9636" y="31266"/>
                  </a:lnTo>
                  <a:lnTo>
                    <a:pt x="9379" y="30187"/>
                  </a:lnTo>
                  <a:lnTo>
                    <a:pt x="5481" y="31647"/>
                  </a:lnTo>
                  <a:lnTo>
                    <a:pt x="4479" y="31428"/>
                  </a:lnTo>
                  <a:lnTo>
                    <a:pt x="4436" y="29599"/>
                  </a:lnTo>
                  <a:lnTo>
                    <a:pt x="6599" y="26810"/>
                  </a:lnTo>
                  <a:lnTo>
                    <a:pt x="6821" y="25958"/>
                  </a:lnTo>
                  <a:lnTo>
                    <a:pt x="4291" y="25545"/>
                  </a:lnTo>
                  <a:lnTo>
                    <a:pt x="2398" y="24174"/>
                  </a:lnTo>
                  <a:lnTo>
                    <a:pt x="1243" y="22949"/>
                  </a:lnTo>
                  <a:lnTo>
                    <a:pt x="10" y="21184"/>
                  </a:lnTo>
                  <a:lnTo>
                    <a:pt x="0" y="19606"/>
                  </a:lnTo>
                  <a:lnTo>
                    <a:pt x="1273" y="15897"/>
                  </a:lnTo>
                  <a:lnTo>
                    <a:pt x="3098" y="14818"/>
                  </a:lnTo>
                  <a:lnTo>
                    <a:pt x="4669" y="14154"/>
                  </a:lnTo>
                  <a:lnTo>
                    <a:pt x="8004" y="11588"/>
                  </a:lnTo>
                  <a:lnTo>
                    <a:pt x="12605" y="12067"/>
                  </a:lnTo>
                  <a:lnTo>
                    <a:pt x="15448" y="11517"/>
                  </a:lnTo>
                  <a:lnTo>
                    <a:pt x="18001" y="10206"/>
                  </a:lnTo>
                  <a:lnTo>
                    <a:pt x="19463" y="9910"/>
                  </a:lnTo>
                  <a:lnTo>
                    <a:pt x="21819" y="8764"/>
                  </a:lnTo>
                  <a:lnTo>
                    <a:pt x="21745" y="7216"/>
                  </a:lnTo>
                  <a:lnTo>
                    <a:pt x="20936" y="6066"/>
                  </a:lnTo>
                  <a:lnTo>
                    <a:pt x="21646" y="4981"/>
                  </a:lnTo>
                  <a:lnTo>
                    <a:pt x="24290" y="3656"/>
                  </a:lnTo>
                  <a:lnTo>
                    <a:pt x="27219" y="1894"/>
                  </a:lnTo>
                  <a:lnTo>
                    <a:pt x="30580" y="155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6" name="ee4p_EE_1_15912">
              <a:extLst>
                <a:ext uri="{FF2B5EF4-FFF2-40B4-BE49-F238E27FC236}">
                  <a16:creationId xmlns:a16="http://schemas.microsoft.com/office/drawing/2014/main" id="{AFEAEFBC-E04E-6A42-46E4-48F5B042EB08}"/>
                </a:ext>
              </a:extLst>
            </p:cNvPr>
            <p:cNvSpPr>
              <a:spLocks noChangeAspect="1"/>
            </p:cNvSpPr>
            <p:nvPr>
              <p:custDataLst>
                <p:tags r:id="rId28"/>
              </p:custDataLst>
            </p:nvPr>
          </p:nvSpPr>
          <p:spPr>
            <a:xfrm>
              <a:off x="5687421" y="3357332"/>
              <a:ext cx="551944" cy="271003"/>
            </a:xfrm>
            <a:custGeom>
              <a:avLst/>
              <a:gdLst>
                <a:gd name="connsiteX0" fmla="*/ 15312 w 139231"/>
                <a:gd name="connsiteY0" fmla="*/ 32990 h 68362"/>
                <a:gd name="connsiteX1" fmla="*/ 16869 w 139231"/>
                <a:gd name="connsiteY1" fmla="*/ 33189 h 68362"/>
                <a:gd name="connsiteX2" fmla="*/ 18439 w 139231"/>
                <a:gd name="connsiteY2" fmla="*/ 33973 h 68362"/>
                <a:gd name="connsiteX3" fmla="*/ 19886 w 139231"/>
                <a:gd name="connsiteY3" fmla="*/ 33725 h 68362"/>
                <a:gd name="connsiteX4" fmla="*/ 21352 w 139231"/>
                <a:gd name="connsiteY4" fmla="*/ 33180 h 68362"/>
                <a:gd name="connsiteX5" fmla="*/ 24539 w 139231"/>
                <a:gd name="connsiteY5" fmla="*/ 33692 h 68362"/>
                <a:gd name="connsiteX6" fmla="*/ 31805 w 139231"/>
                <a:gd name="connsiteY6" fmla="*/ 37642 h 68362"/>
                <a:gd name="connsiteX7" fmla="*/ 32477 w 139231"/>
                <a:gd name="connsiteY7" fmla="*/ 38697 h 68362"/>
                <a:gd name="connsiteX8" fmla="*/ 28141 w 139231"/>
                <a:gd name="connsiteY8" fmla="*/ 39176 h 68362"/>
                <a:gd name="connsiteX9" fmla="*/ 27156 w 139231"/>
                <a:gd name="connsiteY9" fmla="*/ 40385 h 68362"/>
                <a:gd name="connsiteX10" fmla="*/ 26114 w 139231"/>
                <a:gd name="connsiteY10" fmla="*/ 41230 h 68362"/>
                <a:gd name="connsiteX11" fmla="*/ 24885 w 139231"/>
                <a:gd name="connsiteY11" fmla="*/ 41502 h 68362"/>
                <a:gd name="connsiteX12" fmla="*/ 22790 w 139231"/>
                <a:gd name="connsiteY12" fmla="*/ 43197 h 68362"/>
                <a:gd name="connsiteX13" fmla="*/ 19957 w 139231"/>
                <a:gd name="connsiteY13" fmla="*/ 44819 h 68362"/>
                <a:gd name="connsiteX14" fmla="*/ 19365 w 139231"/>
                <a:gd name="connsiteY14" fmla="*/ 45792 h 68362"/>
                <a:gd name="connsiteX15" fmla="*/ 14239 w 139231"/>
                <a:gd name="connsiteY15" fmla="*/ 45613 h 68362"/>
                <a:gd name="connsiteX16" fmla="*/ 11436 w 139231"/>
                <a:gd name="connsiteY16" fmla="*/ 46227 h 68362"/>
                <a:gd name="connsiteX17" fmla="*/ 9173 w 139231"/>
                <a:gd name="connsiteY17" fmla="*/ 48040 h 68362"/>
                <a:gd name="connsiteX18" fmla="*/ 8244 w 139231"/>
                <a:gd name="connsiteY18" fmla="*/ 51538 h 68362"/>
                <a:gd name="connsiteX19" fmla="*/ 6588 w 139231"/>
                <a:gd name="connsiteY19" fmla="*/ 54265 h 68362"/>
                <a:gd name="connsiteX20" fmla="*/ 4904 w 139231"/>
                <a:gd name="connsiteY20" fmla="*/ 55250 h 68362"/>
                <a:gd name="connsiteX21" fmla="*/ 3148 w 139231"/>
                <a:gd name="connsiteY21" fmla="*/ 55400 h 68362"/>
                <a:gd name="connsiteX22" fmla="*/ 2732 w 139231"/>
                <a:gd name="connsiteY22" fmla="*/ 54377 h 68362"/>
                <a:gd name="connsiteX23" fmla="*/ 2898 w 139231"/>
                <a:gd name="connsiteY23" fmla="*/ 53355 h 68362"/>
                <a:gd name="connsiteX24" fmla="*/ 6599 w 139231"/>
                <a:gd name="connsiteY24" fmla="*/ 49499 h 68362"/>
                <a:gd name="connsiteX25" fmla="*/ 7368 w 139231"/>
                <a:gd name="connsiteY25" fmla="*/ 48246 h 68362"/>
                <a:gd name="connsiteX26" fmla="*/ 5526 w 139231"/>
                <a:gd name="connsiteY26" fmla="*/ 47689 h 68362"/>
                <a:gd name="connsiteX27" fmla="*/ 3982 w 139231"/>
                <a:gd name="connsiteY27" fmla="*/ 46348 h 68362"/>
                <a:gd name="connsiteX28" fmla="*/ 611 w 139231"/>
                <a:gd name="connsiteY28" fmla="*/ 44772 h 68362"/>
                <a:gd name="connsiteX29" fmla="*/ 0 w 139231"/>
                <a:gd name="connsiteY29" fmla="*/ 43506 h 68362"/>
                <a:gd name="connsiteX30" fmla="*/ 808 w 139231"/>
                <a:gd name="connsiteY30" fmla="*/ 43412 h 68362"/>
                <a:gd name="connsiteX31" fmla="*/ 1546 w 139231"/>
                <a:gd name="connsiteY31" fmla="*/ 43049 h 68362"/>
                <a:gd name="connsiteX32" fmla="*/ 2444 w 139231"/>
                <a:gd name="connsiteY32" fmla="*/ 41987 h 68362"/>
                <a:gd name="connsiteX33" fmla="*/ 2865 w 139231"/>
                <a:gd name="connsiteY33" fmla="*/ 40767 h 68362"/>
                <a:gd name="connsiteX34" fmla="*/ 173 w 139231"/>
                <a:gd name="connsiteY34" fmla="*/ 37200 h 68362"/>
                <a:gd name="connsiteX35" fmla="*/ 1546 w 139231"/>
                <a:gd name="connsiteY35" fmla="*/ 36648 h 68362"/>
                <a:gd name="connsiteX36" fmla="*/ 3258 w 139231"/>
                <a:gd name="connsiteY36" fmla="*/ 36778 h 68362"/>
                <a:gd name="connsiteX37" fmla="*/ 5016 w 139231"/>
                <a:gd name="connsiteY37" fmla="*/ 37815 h 68362"/>
                <a:gd name="connsiteX38" fmla="*/ 6945 w 139231"/>
                <a:gd name="connsiteY38" fmla="*/ 36598 h 68362"/>
                <a:gd name="connsiteX39" fmla="*/ 7763 w 139231"/>
                <a:gd name="connsiteY39" fmla="*/ 36418 h 68362"/>
                <a:gd name="connsiteX40" fmla="*/ 9113 w 139231"/>
                <a:gd name="connsiteY40" fmla="*/ 36852 h 68362"/>
                <a:gd name="connsiteX41" fmla="*/ 10473 w 139231"/>
                <a:gd name="connsiteY41" fmla="*/ 34496 h 68362"/>
                <a:gd name="connsiteX42" fmla="*/ 13708 w 139231"/>
                <a:gd name="connsiteY42" fmla="*/ 33718 h 68362"/>
                <a:gd name="connsiteX43" fmla="*/ 28987 w 139231"/>
                <a:gd name="connsiteY43" fmla="*/ 31348 h 68362"/>
                <a:gd name="connsiteX44" fmla="*/ 32689 w 139231"/>
                <a:gd name="connsiteY44" fmla="*/ 32304 h 68362"/>
                <a:gd name="connsiteX45" fmla="*/ 33211 w 139231"/>
                <a:gd name="connsiteY45" fmla="*/ 34668 h 68362"/>
                <a:gd name="connsiteX46" fmla="*/ 32926 w 139231"/>
                <a:gd name="connsiteY46" fmla="*/ 35482 h 68362"/>
                <a:gd name="connsiteX47" fmla="*/ 31086 w 139231"/>
                <a:gd name="connsiteY47" fmla="*/ 35817 h 68362"/>
                <a:gd name="connsiteX48" fmla="*/ 26733 w 139231"/>
                <a:gd name="connsiteY48" fmla="*/ 33518 h 68362"/>
                <a:gd name="connsiteX49" fmla="*/ 27742 w 139231"/>
                <a:gd name="connsiteY49" fmla="*/ 31960 h 68362"/>
                <a:gd name="connsiteX50" fmla="*/ 17577 w 139231"/>
                <a:gd name="connsiteY50" fmla="*/ 18061 h 68362"/>
                <a:gd name="connsiteX51" fmla="*/ 18746 w 139231"/>
                <a:gd name="connsiteY51" fmla="*/ 18475 h 68362"/>
                <a:gd name="connsiteX52" fmla="*/ 18966 w 139231"/>
                <a:gd name="connsiteY52" fmla="*/ 19857 h 68362"/>
                <a:gd name="connsiteX53" fmla="*/ 19260 w 139231"/>
                <a:gd name="connsiteY53" fmla="*/ 20406 h 68362"/>
                <a:gd name="connsiteX54" fmla="*/ 23337 w 139231"/>
                <a:gd name="connsiteY54" fmla="*/ 21184 h 68362"/>
                <a:gd name="connsiteX55" fmla="*/ 24924 w 139231"/>
                <a:gd name="connsiteY55" fmla="*/ 23505 h 68362"/>
                <a:gd name="connsiteX56" fmla="*/ 25522 w 139231"/>
                <a:gd name="connsiteY56" fmla="*/ 26295 h 68362"/>
                <a:gd name="connsiteX57" fmla="*/ 23643 w 139231"/>
                <a:gd name="connsiteY57" fmla="*/ 26524 h 68362"/>
                <a:gd name="connsiteX58" fmla="*/ 21829 w 139231"/>
                <a:gd name="connsiteY58" fmla="*/ 28128 h 68362"/>
                <a:gd name="connsiteX59" fmla="*/ 20749 w 139231"/>
                <a:gd name="connsiteY59" fmla="*/ 27487 h 68362"/>
                <a:gd name="connsiteX60" fmla="*/ 20184 w 139231"/>
                <a:gd name="connsiteY60" fmla="*/ 26718 h 68362"/>
                <a:gd name="connsiteX61" fmla="*/ 17843 w 139231"/>
                <a:gd name="connsiteY61" fmla="*/ 30342 h 68362"/>
                <a:gd name="connsiteX62" fmla="*/ 15206 w 139231"/>
                <a:gd name="connsiteY62" fmla="*/ 30963 h 68362"/>
                <a:gd name="connsiteX63" fmla="*/ 13669 w 139231"/>
                <a:gd name="connsiteY63" fmla="*/ 30248 h 68362"/>
                <a:gd name="connsiteX64" fmla="*/ 13807 w 139231"/>
                <a:gd name="connsiteY64" fmla="*/ 28895 h 68362"/>
                <a:gd name="connsiteX65" fmla="*/ 12306 w 139231"/>
                <a:gd name="connsiteY65" fmla="*/ 25339 h 68362"/>
                <a:gd name="connsiteX66" fmla="*/ 10015 w 139231"/>
                <a:gd name="connsiteY66" fmla="*/ 24297 h 68362"/>
                <a:gd name="connsiteX67" fmla="*/ 6798 w 139231"/>
                <a:gd name="connsiteY67" fmla="*/ 24199 h 68362"/>
                <a:gd name="connsiteX68" fmla="*/ 4461 w 139231"/>
                <a:gd name="connsiteY68" fmla="*/ 22732 h 68362"/>
                <a:gd name="connsiteX69" fmla="*/ 13446 w 139231"/>
                <a:gd name="connsiteY69" fmla="*/ 21733 h 68362"/>
                <a:gd name="connsiteX70" fmla="*/ 14375 w 139231"/>
                <a:gd name="connsiteY70" fmla="*/ 20036 h 68362"/>
                <a:gd name="connsiteX71" fmla="*/ 16202 w 139231"/>
                <a:gd name="connsiteY71" fmla="*/ 18254 h 68362"/>
                <a:gd name="connsiteX72" fmla="*/ 80815 w 139231"/>
                <a:gd name="connsiteY72" fmla="*/ 0 h 68362"/>
                <a:gd name="connsiteX73" fmla="*/ 83169 w 139231"/>
                <a:gd name="connsiteY73" fmla="*/ 377 h 68362"/>
                <a:gd name="connsiteX74" fmla="*/ 87105 w 139231"/>
                <a:gd name="connsiteY74" fmla="*/ 143 h 68362"/>
                <a:gd name="connsiteX75" fmla="*/ 101856 w 139231"/>
                <a:gd name="connsiteY75" fmla="*/ 2795 h 68362"/>
                <a:gd name="connsiteX76" fmla="*/ 105486 w 139231"/>
                <a:gd name="connsiteY76" fmla="*/ 2795 h 68362"/>
                <a:gd name="connsiteX77" fmla="*/ 110506 w 139231"/>
                <a:gd name="connsiteY77" fmla="*/ 5489 h 68362"/>
                <a:gd name="connsiteX78" fmla="*/ 113219 w 139231"/>
                <a:gd name="connsiteY78" fmla="*/ 6182 h 68362"/>
                <a:gd name="connsiteX79" fmla="*/ 121204 w 139231"/>
                <a:gd name="connsiteY79" fmla="*/ 6187 h 68362"/>
                <a:gd name="connsiteX80" fmla="*/ 133515 w 139231"/>
                <a:gd name="connsiteY80" fmla="*/ 7375 h 68362"/>
                <a:gd name="connsiteX81" fmla="*/ 135931 w 139231"/>
                <a:gd name="connsiteY81" fmla="*/ 5553 h 68362"/>
                <a:gd name="connsiteX82" fmla="*/ 136166 w 139231"/>
                <a:gd name="connsiteY82" fmla="*/ 5079 h 68362"/>
                <a:gd name="connsiteX83" fmla="*/ 137345 w 139231"/>
                <a:gd name="connsiteY83" fmla="*/ 6099 h 68362"/>
                <a:gd name="connsiteX84" fmla="*/ 138831 w 139231"/>
                <a:gd name="connsiteY84" fmla="*/ 7740 h 68362"/>
                <a:gd name="connsiteX85" fmla="*/ 139231 w 139231"/>
                <a:gd name="connsiteY85" fmla="*/ 8678 h 68362"/>
                <a:gd name="connsiteX86" fmla="*/ 138728 w 139231"/>
                <a:gd name="connsiteY86" fmla="*/ 9229 h 68362"/>
                <a:gd name="connsiteX87" fmla="*/ 137246 w 139231"/>
                <a:gd name="connsiteY87" fmla="*/ 9697 h 68362"/>
                <a:gd name="connsiteX88" fmla="*/ 136909 w 139231"/>
                <a:gd name="connsiteY88" fmla="*/ 10202 h 68362"/>
                <a:gd name="connsiteX89" fmla="*/ 136253 w 139231"/>
                <a:gd name="connsiteY89" fmla="*/ 11056 h 68362"/>
                <a:gd name="connsiteX90" fmla="*/ 134523 w 139231"/>
                <a:gd name="connsiteY90" fmla="*/ 11210 h 68362"/>
                <a:gd name="connsiteX91" fmla="*/ 133627 w 139231"/>
                <a:gd name="connsiteY91" fmla="*/ 11843 h 68362"/>
                <a:gd name="connsiteX92" fmla="*/ 132562 w 139231"/>
                <a:gd name="connsiteY92" fmla="*/ 14618 h 68362"/>
                <a:gd name="connsiteX93" fmla="*/ 130530 w 139231"/>
                <a:gd name="connsiteY93" fmla="*/ 19205 h 68362"/>
                <a:gd name="connsiteX94" fmla="*/ 127527 w 139231"/>
                <a:gd name="connsiteY94" fmla="*/ 22688 h 68362"/>
                <a:gd name="connsiteX95" fmla="*/ 125123 w 139231"/>
                <a:gd name="connsiteY95" fmla="*/ 24595 h 68362"/>
                <a:gd name="connsiteX96" fmla="*/ 124048 w 139231"/>
                <a:gd name="connsiteY96" fmla="*/ 26056 h 68362"/>
                <a:gd name="connsiteX97" fmla="*/ 123378 w 139231"/>
                <a:gd name="connsiteY97" fmla="*/ 27810 h 68362"/>
                <a:gd name="connsiteX98" fmla="*/ 123221 w 139231"/>
                <a:gd name="connsiteY98" fmla="*/ 29568 h 68362"/>
                <a:gd name="connsiteX99" fmla="*/ 125527 w 139231"/>
                <a:gd name="connsiteY99" fmla="*/ 39200 h 68362"/>
                <a:gd name="connsiteX100" fmla="*/ 125499 w 139231"/>
                <a:gd name="connsiteY100" fmla="*/ 40934 h 68362"/>
                <a:gd name="connsiteX101" fmla="*/ 124957 w 139231"/>
                <a:gd name="connsiteY101" fmla="*/ 42713 h 68362"/>
                <a:gd name="connsiteX102" fmla="*/ 124564 w 139231"/>
                <a:gd name="connsiteY102" fmla="*/ 44524 h 68362"/>
                <a:gd name="connsiteX103" fmla="*/ 124888 w 139231"/>
                <a:gd name="connsiteY103" fmla="*/ 46092 h 68362"/>
                <a:gd name="connsiteX104" fmla="*/ 126406 w 139231"/>
                <a:gd name="connsiteY104" fmla="*/ 48768 h 68362"/>
                <a:gd name="connsiteX105" fmla="*/ 128021 w 139231"/>
                <a:gd name="connsiteY105" fmla="*/ 52754 h 68362"/>
                <a:gd name="connsiteX106" fmla="*/ 128669 w 139231"/>
                <a:gd name="connsiteY106" fmla="*/ 55296 h 68362"/>
                <a:gd name="connsiteX107" fmla="*/ 129742 w 139231"/>
                <a:gd name="connsiteY107" fmla="*/ 56229 h 68362"/>
                <a:gd name="connsiteX108" fmla="*/ 130776 w 139231"/>
                <a:gd name="connsiteY108" fmla="*/ 56912 h 68362"/>
                <a:gd name="connsiteX109" fmla="*/ 130993 w 139231"/>
                <a:gd name="connsiteY109" fmla="*/ 57342 h 68362"/>
                <a:gd name="connsiteX110" fmla="*/ 130958 w 139231"/>
                <a:gd name="connsiteY110" fmla="*/ 57789 h 68362"/>
                <a:gd name="connsiteX111" fmla="*/ 130425 w 139231"/>
                <a:gd name="connsiteY111" fmla="*/ 58292 h 68362"/>
                <a:gd name="connsiteX112" fmla="*/ 125765 w 139231"/>
                <a:gd name="connsiteY112" fmla="*/ 59622 h 68362"/>
                <a:gd name="connsiteX113" fmla="*/ 125160 w 139231"/>
                <a:gd name="connsiteY113" fmla="*/ 60748 h 68362"/>
                <a:gd name="connsiteX114" fmla="*/ 124657 w 139231"/>
                <a:gd name="connsiteY114" fmla="*/ 62002 h 68362"/>
                <a:gd name="connsiteX115" fmla="*/ 122623 w 139231"/>
                <a:gd name="connsiteY115" fmla="*/ 63858 h 68362"/>
                <a:gd name="connsiteX116" fmla="*/ 121999 w 139231"/>
                <a:gd name="connsiteY116" fmla="*/ 65588 h 68362"/>
                <a:gd name="connsiteX117" fmla="*/ 121612 w 139231"/>
                <a:gd name="connsiteY117" fmla="*/ 67573 h 68362"/>
                <a:gd name="connsiteX118" fmla="*/ 121560 w 139231"/>
                <a:gd name="connsiteY118" fmla="*/ 68279 h 68362"/>
                <a:gd name="connsiteX119" fmla="*/ 120999 w 139231"/>
                <a:gd name="connsiteY119" fmla="*/ 68362 h 68362"/>
                <a:gd name="connsiteX120" fmla="*/ 117915 w 139231"/>
                <a:gd name="connsiteY120" fmla="*/ 67954 h 68362"/>
                <a:gd name="connsiteX121" fmla="*/ 114517 w 139231"/>
                <a:gd name="connsiteY121" fmla="*/ 66666 h 68362"/>
                <a:gd name="connsiteX122" fmla="*/ 113026 w 139231"/>
                <a:gd name="connsiteY122" fmla="*/ 65698 h 68362"/>
                <a:gd name="connsiteX123" fmla="*/ 111563 w 139231"/>
                <a:gd name="connsiteY123" fmla="*/ 65708 h 68362"/>
                <a:gd name="connsiteX124" fmla="*/ 109792 w 139231"/>
                <a:gd name="connsiteY124" fmla="*/ 66348 h 68362"/>
                <a:gd name="connsiteX125" fmla="*/ 103443 w 139231"/>
                <a:gd name="connsiteY125" fmla="*/ 68187 h 68362"/>
                <a:gd name="connsiteX126" fmla="*/ 101884 w 139231"/>
                <a:gd name="connsiteY126" fmla="*/ 67758 h 68362"/>
                <a:gd name="connsiteX127" fmla="*/ 98256 w 139231"/>
                <a:gd name="connsiteY127" fmla="*/ 65954 h 68362"/>
                <a:gd name="connsiteX128" fmla="*/ 96421 w 139231"/>
                <a:gd name="connsiteY128" fmla="*/ 63988 h 68362"/>
                <a:gd name="connsiteX129" fmla="*/ 92337 w 139231"/>
                <a:gd name="connsiteY129" fmla="*/ 60066 h 68362"/>
                <a:gd name="connsiteX130" fmla="*/ 92003 w 139231"/>
                <a:gd name="connsiteY130" fmla="*/ 59132 h 68362"/>
                <a:gd name="connsiteX131" fmla="*/ 91469 w 139231"/>
                <a:gd name="connsiteY131" fmla="*/ 58383 h 68362"/>
                <a:gd name="connsiteX132" fmla="*/ 87105 w 139231"/>
                <a:gd name="connsiteY132" fmla="*/ 57411 h 68362"/>
                <a:gd name="connsiteX133" fmla="*/ 85494 w 139231"/>
                <a:gd name="connsiteY133" fmla="*/ 55962 h 68362"/>
                <a:gd name="connsiteX134" fmla="*/ 84151 w 139231"/>
                <a:gd name="connsiteY134" fmla="*/ 55759 h 68362"/>
                <a:gd name="connsiteX135" fmla="*/ 82186 w 139231"/>
                <a:gd name="connsiteY135" fmla="*/ 55035 h 68362"/>
                <a:gd name="connsiteX136" fmla="*/ 77073 w 139231"/>
                <a:gd name="connsiteY136" fmla="*/ 51935 h 68362"/>
                <a:gd name="connsiteX137" fmla="*/ 75803 w 139231"/>
                <a:gd name="connsiteY137" fmla="*/ 51645 h 68362"/>
                <a:gd name="connsiteX138" fmla="*/ 75494 w 139231"/>
                <a:gd name="connsiteY138" fmla="*/ 52167 h 68362"/>
                <a:gd name="connsiteX139" fmla="*/ 75583 w 139231"/>
                <a:gd name="connsiteY139" fmla="*/ 52900 h 68362"/>
                <a:gd name="connsiteX140" fmla="*/ 75265 w 139231"/>
                <a:gd name="connsiteY140" fmla="*/ 53324 h 68362"/>
                <a:gd name="connsiteX141" fmla="*/ 74611 w 139231"/>
                <a:gd name="connsiteY141" fmla="*/ 53310 h 68362"/>
                <a:gd name="connsiteX142" fmla="*/ 73428 w 139231"/>
                <a:gd name="connsiteY142" fmla="*/ 52170 h 68362"/>
                <a:gd name="connsiteX143" fmla="*/ 72009 w 139231"/>
                <a:gd name="connsiteY143" fmla="*/ 51166 h 68362"/>
                <a:gd name="connsiteX144" fmla="*/ 67593 w 139231"/>
                <a:gd name="connsiteY144" fmla="*/ 53053 h 68362"/>
                <a:gd name="connsiteX145" fmla="*/ 65995 w 139231"/>
                <a:gd name="connsiteY145" fmla="*/ 53562 h 68362"/>
                <a:gd name="connsiteX146" fmla="*/ 64596 w 139231"/>
                <a:gd name="connsiteY146" fmla="*/ 53673 h 68362"/>
                <a:gd name="connsiteX147" fmla="*/ 57589 w 139231"/>
                <a:gd name="connsiteY147" fmla="*/ 56153 h 68362"/>
                <a:gd name="connsiteX148" fmla="*/ 55457 w 139231"/>
                <a:gd name="connsiteY148" fmla="*/ 57488 h 68362"/>
                <a:gd name="connsiteX149" fmla="*/ 54574 w 139231"/>
                <a:gd name="connsiteY149" fmla="*/ 57345 h 68362"/>
                <a:gd name="connsiteX150" fmla="*/ 54783 w 139231"/>
                <a:gd name="connsiteY150" fmla="*/ 56092 h 68362"/>
                <a:gd name="connsiteX151" fmla="*/ 57699 w 139231"/>
                <a:gd name="connsiteY151" fmla="*/ 49800 h 68362"/>
                <a:gd name="connsiteX152" fmla="*/ 58221 w 139231"/>
                <a:gd name="connsiteY152" fmla="*/ 44795 h 68362"/>
                <a:gd name="connsiteX153" fmla="*/ 59288 w 139231"/>
                <a:gd name="connsiteY153" fmla="*/ 44107 h 68362"/>
                <a:gd name="connsiteX154" fmla="*/ 59597 w 139231"/>
                <a:gd name="connsiteY154" fmla="*/ 43412 h 68362"/>
                <a:gd name="connsiteX155" fmla="*/ 59141 w 139231"/>
                <a:gd name="connsiteY155" fmla="*/ 41812 h 68362"/>
                <a:gd name="connsiteX156" fmla="*/ 56114 w 139231"/>
                <a:gd name="connsiteY156" fmla="*/ 40786 h 68362"/>
                <a:gd name="connsiteX157" fmla="*/ 54892 w 139231"/>
                <a:gd name="connsiteY157" fmla="*/ 40937 h 68362"/>
                <a:gd name="connsiteX158" fmla="*/ 53792 w 139231"/>
                <a:gd name="connsiteY158" fmla="*/ 42657 h 68362"/>
                <a:gd name="connsiteX159" fmla="*/ 52652 w 139231"/>
                <a:gd name="connsiteY159" fmla="*/ 43896 h 68362"/>
                <a:gd name="connsiteX160" fmla="*/ 49981 w 139231"/>
                <a:gd name="connsiteY160" fmla="*/ 44651 h 68362"/>
                <a:gd name="connsiteX161" fmla="*/ 47684 w 139231"/>
                <a:gd name="connsiteY161" fmla="*/ 43346 h 68362"/>
                <a:gd name="connsiteX162" fmla="*/ 42302 w 139231"/>
                <a:gd name="connsiteY162" fmla="*/ 41600 h 68362"/>
                <a:gd name="connsiteX163" fmla="*/ 40942 w 139231"/>
                <a:gd name="connsiteY163" fmla="*/ 39272 h 68362"/>
                <a:gd name="connsiteX164" fmla="*/ 40620 w 139231"/>
                <a:gd name="connsiteY164" fmla="*/ 36928 h 68362"/>
                <a:gd name="connsiteX165" fmla="*/ 37774 w 139231"/>
                <a:gd name="connsiteY165" fmla="*/ 34658 h 68362"/>
                <a:gd name="connsiteX166" fmla="*/ 36591 w 139231"/>
                <a:gd name="connsiteY166" fmla="*/ 31982 h 68362"/>
                <a:gd name="connsiteX167" fmla="*/ 37064 w 139231"/>
                <a:gd name="connsiteY167" fmla="*/ 30112 h 68362"/>
                <a:gd name="connsiteX168" fmla="*/ 39646 w 139231"/>
                <a:gd name="connsiteY168" fmla="*/ 28884 h 68362"/>
                <a:gd name="connsiteX169" fmla="*/ 40383 w 139231"/>
                <a:gd name="connsiteY169" fmla="*/ 27813 h 68362"/>
                <a:gd name="connsiteX170" fmla="*/ 37128 w 139231"/>
                <a:gd name="connsiteY170" fmla="*/ 27983 h 68362"/>
                <a:gd name="connsiteX171" fmla="*/ 36466 w 139231"/>
                <a:gd name="connsiteY171" fmla="*/ 27726 h 68362"/>
                <a:gd name="connsiteX172" fmla="*/ 36323 w 139231"/>
                <a:gd name="connsiteY172" fmla="*/ 26763 h 68362"/>
                <a:gd name="connsiteX173" fmla="*/ 34883 w 139231"/>
                <a:gd name="connsiteY173" fmla="*/ 23478 h 68362"/>
                <a:gd name="connsiteX174" fmla="*/ 36157 w 139231"/>
                <a:gd name="connsiteY174" fmla="*/ 22183 h 68362"/>
                <a:gd name="connsiteX175" fmla="*/ 36718 w 139231"/>
                <a:gd name="connsiteY175" fmla="*/ 20923 h 68362"/>
                <a:gd name="connsiteX176" fmla="*/ 35673 w 139231"/>
                <a:gd name="connsiteY176" fmla="*/ 19850 h 68362"/>
                <a:gd name="connsiteX177" fmla="*/ 35947 w 139231"/>
                <a:gd name="connsiteY177" fmla="*/ 18629 h 68362"/>
                <a:gd name="connsiteX178" fmla="*/ 36761 w 139231"/>
                <a:gd name="connsiteY178" fmla="*/ 17394 h 68362"/>
                <a:gd name="connsiteX179" fmla="*/ 36262 w 139231"/>
                <a:gd name="connsiteY179" fmla="*/ 14521 h 68362"/>
                <a:gd name="connsiteX180" fmla="*/ 39493 w 139231"/>
                <a:gd name="connsiteY180" fmla="*/ 12997 h 68362"/>
                <a:gd name="connsiteX181" fmla="*/ 42633 w 139231"/>
                <a:gd name="connsiteY181" fmla="*/ 11924 h 68362"/>
                <a:gd name="connsiteX182" fmla="*/ 49286 w 139231"/>
                <a:gd name="connsiteY182" fmla="*/ 11377 h 68362"/>
                <a:gd name="connsiteX183" fmla="*/ 48627 w 139231"/>
                <a:gd name="connsiteY183" fmla="*/ 8747 h 68362"/>
                <a:gd name="connsiteX184" fmla="*/ 51320 w 139231"/>
                <a:gd name="connsiteY184" fmla="*/ 8628 h 68362"/>
                <a:gd name="connsiteX185" fmla="*/ 55852 w 139231"/>
                <a:gd name="connsiteY185" fmla="*/ 5460 h 68362"/>
                <a:gd name="connsiteX186" fmla="*/ 60346 w 139231"/>
                <a:gd name="connsiteY186" fmla="*/ 6017 h 68362"/>
                <a:gd name="connsiteX187" fmla="*/ 66846 w 139231"/>
                <a:gd name="connsiteY187" fmla="*/ 3840 h 68362"/>
                <a:gd name="connsiteX188" fmla="*/ 79366 w 139231"/>
                <a:gd name="connsiteY188" fmla="*/ 3870 h 68362"/>
                <a:gd name="connsiteX189" fmla="*/ 81072 w 139231"/>
                <a:gd name="connsiteY189" fmla="*/ 2612 h 68362"/>
                <a:gd name="connsiteX190" fmla="*/ 80774 w 139231"/>
                <a:gd name="connsiteY190" fmla="*/ 1348 h 6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139231" h="68362">
                  <a:moveTo>
                    <a:pt x="15312" y="32990"/>
                  </a:moveTo>
                  <a:lnTo>
                    <a:pt x="16869" y="33189"/>
                  </a:lnTo>
                  <a:lnTo>
                    <a:pt x="18439" y="33973"/>
                  </a:lnTo>
                  <a:lnTo>
                    <a:pt x="19886" y="33725"/>
                  </a:lnTo>
                  <a:lnTo>
                    <a:pt x="21352" y="33180"/>
                  </a:lnTo>
                  <a:lnTo>
                    <a:pt x="24539" y="33692"/>
                  </a:lnTo>
                  <a:lnTo>
                    <a:pt x="31805" y="37642"/>
                  </a:lnTo>
                  <a:lnTo>
                    <a:pt x="32477" y="38697"/>
                  </a:lnTo>
                  <a:lnTo>
                    <a:pt x="28141" y="39176"/>
                  </a:lnTo>
                  <a:lnTo>
                    <a:pt x="27156" y="40385"/>
                  </a:lnTo>
                  <a:lnTo>
                    <a:pt x="26114" y="41230"/>
                  </a:lnTo>
                  <a:lnTo>
                    <a:pt x="24885" y="41502"/>
                  </a:lnTo>
                  <a:lnTo>
                    <a:pt x="22790" y="43197"/>
                  </a:lnTo>
                  <a:lnTo>
                    <a:pt x="19957" y="44819"/>
                  </a:lnTo>
                  <a:lnTo>
                    <a:pt x="19365" y="45792"/>
                  </a:lnTo>
                  <a:lnTo>
                    <a:pt x="14239" y="45613"/>
                  </a:lnTo>
                  <a:lnTo>
                    <a:pt x="11436" y="46227"/>
                  </a:lnTo>
                  <a:lnTo>
                    <a:pt x="9173" y="48040"/>
                  </a:lnTo>
                  <a:lnTo>
                    <a:pt x="8244" y="51538"/>
                  </a:lnTo>
                  <a:lnTo>
                    <a:pt x="6588" y="54265"/>
                  </a:lnTo>
                  <a:lnTo>
                    <a:pt x="4904" y="55250"/>
                  </a:lnTo>
                  <a:lnTo>
                    <a:pt x="3148" y="55400"/>
                  </a:lnTo>
                  <a:lnTo>
                    <a:pt x="2732" y="54377"/>
                  </a:lnTo>
                  <a:lnTo>
                    <a:pt x="2898" y="53355"/>
                  </a:lnTo>
                  <a:lnTo>
                    <a:pt x="6599" y="49499"/>
                  </a:lnTo>
                  <a:lnTo>
                    <a:pt x="7368" y="48246"/>
                  </a:lnTo>
                  <a:lnTo>
                    <a:pt x="5526" y="47689"/>
                  </a:lnTo>
                  <a:lnTo>
                    <a:pt x="3982" y="46348"/>
                  </a:lnTo>
                  <a:lnTo>
                    <a:pt x="611" y="44772"/>
                  </a:lnTo>
                  <a:lnTo>
                    <a:pt x="0" y="43506"/>
                  </a:lnTo>
                  <a:lnTo>
                    <a:pt x="808" y="43412"/>
                  </a:lnTo>
                  <a:lnTo>
                    <a:pt x="1546" y="43049"/>
                  </a:lnTo>
                  <a:lnTo>
                    <a:pt x="2444" y="41987"/>
                  </a:lnTo>
                  <a:lnTo>
                    <a:pt x="2865" y="40767"/>
                  </a:lnTo>
                  <a:lnTo>
                    <a:pt x="173" y="37200"/>
                  </a:lnTo>
                  <a:lnTo>
                    <a:pt x="1546" y="36648"/>
                  </a:lnTo>
                  <a:lnTo>
                    <a:pt x="3258" y="36778"/>
                  </a:lnTo>
                  <a:lnTo>
                    <a:pt x="5016" y="37815"/>
                  </a:lnTo>
                  <a:lnTo>
                    <a:pt x="6945" y="36598"/>
                  </a:lnTo>
                  <a:lnTo>
                    <a:pt x="7763" y="36418"/>
                  </a:lnTo>
                  <a:lnTo>
                    <a:pt x="9113" y="36852"/>
                  </a:lnTo>
                  <a:lnTo>
                    <a:pt x="10473" y="34496"/>
                  </a:lnTo>
                  <a:lnTo>
                    <a:pt x="13708" y="33718"/>
                  </a:lnTo>
                  <a:close/>
                  <a:moveTo>
                    <a:pt x="28987" y="31348"/>
                  </a:moveTo>
                  <a:lnTo>
                    <a:pt x="32689" y="32304"/>
                  </a:lnTo>
                  <a:lnTo>
                    <a:pt x="33211" y="34668"/>
                  </a:lnTo>
                  <a:lnTo>
                    <a:pt x="32926" y="35482"/>
                  </a:lnTo>
                  <a:lnTo>
                    <a:pt x="31086" y="35817"/>
                  </a:lnTo>
                  <a:lnTo>
                    <a:pt x="26733" y="33518"/>
                  </a:lnTo>
                  <a:lnTo>
                    <a:pt x="27742" y="31960"/>
                  </a:lnTo>
                  <a:close/>
                  <a:moveTo>
                    <a:pt x="17577" y="18061"/>
                  </a:moveTo>
                  <a:lnTo>
                    <a:pt x="18746" y="18475"/>
                  </a:lnTo>
                  <a:lnTo>
                    <a:pt x="18966" y="19857"/>
                  </a:lnTo>
                  <a:lnTo>
                    <a:pt x="19260" y="20406"/>
                  </a:lnTo>
                  <a:lnTo>
                    <a:pt x="23337" y="21184"/>
                  </a:lnTo>
                  <a:lnTo>
                    <a:pt x="24924" y="23505"/>
                  </a:lnTo>
                  <a:lnTo>
                    <a:pt x="25522" y="26295"/>
                  </a:lnTo>
                  <a:lnTo>
                    <a:pt x="23643" y="26524"/>
                  </a:lnTo>
                  <a:lnTo>
                    <a:pt x="21829" y="28128"/>
                  </a:lnTo>
                  <a:lnTo>
                    <a:pt x="20749" y="27487"/>
                  </a:lnTo>
                  <a:lnTo>
                    <a:pt x="20184" y="26718"/>
                  </a:lnTo>
                  <a:lnTo>
                    <a:pt x="17843" y="30342"/>
                  </a:lnTo>
                  <a:lnTo>
                    <a:pt x="15206" y="30963"/>
                  </a:lnTo>
                  <a:lnTo>
                    <a:pt x="13669" y="30248"/>
                  </a:lnTo>
                  <a:lnTo>
                    <a:pt x="13807" y="28895"/>
                  </a:lnTo>
                  <a:lnTo>
                    <a:pt x="12306" y="25339"/>
                  </a:lnTo>
                  <a:lnTo>
                    <a:pt x="10015" y="24297"/>
                  </a:lnTo>
                  <a:lnTo>
                    <a:pt x="6798" y="24199"/>
                  </a:lnTo>
                  <a:lnTo>
                    <a:pt x="4461" y="22732"/>
                  </a:lnTo>
                  <a:lnTo>
                    <a:pt x="13446" y="21733"/>
                  </a:lnTo>
                  <a:lnTo>
                    <a:pt x="14375" y="20036"/>
                  </a:lnTo>
                  <a:lnTo>
                    <a:pt x="16202" y="18254"/>
                  </a:lnTo>
                  <a:close/>
                  <a:moveTo>
                    <a:pt x="80815" y="0"/>
                  </a:moveTo>
                  <a:lnTo>
                    <a:pt x="83169" y="377"/>
                  </a:lnTo>
                  <a:lnTo>
                    <a:pt x="87105" y="143"/>
                  </a:lnTo>
                  <a:lnTo>
                    <a:pt x="101856" y="2795"/>
                  </a:lnTo>
                  <a:lnTo>
                    <a:pt x="105486" y="2795"/>
                  </a:lnTo>
                  <a:lnTo>
                    <a:pt x="110506" y="5489"/>
                  </a:lnTo>
                  <a:lnTo>
                    <a:pt x="113219" y="6182"/>
                  </a:lnTo>
                  <a:lnTo>
                    <a:pt x="121204" y="6187"/>
                  </a:lnTo>
                  <a:lnTo>
                    <a:pt x="133515" y="7375"/>
                  </a:lnTo>
                  <a:lnTo>
                    <a:pt x="135931" y="5553"/>
                  </a:lnTo>
                  <a:lnTo>
                    <a:pt x="136166" y="5079"/>
                  </a:lnTo>
                  <a:lnTo>
                    <a:pt x="137345" y="6099"/>
                  </a:lnTo>
                  <a:lnTo>
                    <a:pt x="138831" y="7740"/>
                  </a:lnTo>
                  <a:lnTo>
                    <a:pt x="139231" y="8678"/>
                  </a:lnTo>
                  <a:lnTo>
                    <a:pt x="138728" y="9229"/>
                  </a:lnTo>
                  <a:lnTo>
                    <a:pt x="137246" y="9697"/>
                  </a:lnTo>
                  <a:lnTo>
                    <a:pt x="136909" y="10202"/>
                  </a:lnTo>
                  <a:lnTo>
                    <a:pt x="136253" y="11056"/>
                  </a:lnTo>
                  <a:lnTo>
                    <a:pt x="134523" y="11210"/>
                  </a:lnTo>
                  <a:lnTo>
                    <a:pt x="133627" y="11843"/>
                  </a:lnTo>
                  <a:lnTo>
                    <a:pt x="132562" y="14618"/>
                  </a:lnTo>
                  <a:lnTo>
                    <a:pt x="130530" y="19205"/>
                  </a:lnTo>
                  <a:lnTo>
                    <a:pt x="127527" y="22688"/>
                  </a:lnTo>
                  <a:lnTo>
                    <a:pt x="125123" y="24595"/>
                  </a:lnTo>
                  <a:lnTo>
                    <a:pt x="124048" y="26056"/>
                  </a:lnTo>
                  <a:lnTo>
                    <a:pt x="123378" y="27810"/>
                  </a:lnTo>
                  <a:lnTo>
                    <a:pt x="123221" y="29568"/>
                  </a:lnTo>
                  <a:lnTo>
                    <a:pt x="125527" y="39200"/>
                  </a:lnTo>
                  <a:lnTo>
                    <a:pt x="125499" y="40934"/>
                  </a:lnTo>
                  <a:lnTo>
                    <a:pt x="124957" y="42713"/>
                  </a:lnTo>
                  <a:lnTo>
                    <a:pt x="124564" y="44524"/>
                  </a:lnTo>
                  <a:lnTo>
                    <a:pt x="124888" y="46092"/>
                  </a:lnTo>
                  <a:lnTo>
                    <a:pt x="126406" y="48768"/>
                  </a:lnTo>
                  <a:lnTo>
                    <a:pt x="128021" y="52754"/>
                  </a:lnTo>
                  <a:lnTo>
                    <a:pt x="128669" y="55296"/>
                  </a:lnTo>
                  <a:lnTo>
                    <a:pt x="129742" y="56229"/>
                  </a:lnTo>
                  <a:lnTo>
                    <a:pt x="130776" y="56912"/>
                  </a:lnTo>
                  <a:lnTo>
                    <a:pt x="130993" y="57342"/>
                  </a:lnTo>
                  <a:lnTo>
                    <a:pt x="130958" y="57789"/>
                  </a:lnTo>
                  <a:lnTo>
                    <a:pt x="130425" y="58292"/>
                  </a:lnTo>
                  <a:lnTo>
                    <a:pt x="125765" y="59622"/>
                  </a:lnTo>
                  <a:lnTo>
                    <a:pt x="125160" y="60748"/>
                  </a:lnTo>
                  <a:lnTo>
                    <a:pt x="124657" y="62002"/>
                  </a:lnTo>
                  <a:lnTo>
                    <a:pt x="122623" y="63858"/>
                  </a:lnTo>
                  <a:lnTo>
                    <a:pt x="121999" y="65588"/>
                  </a:lnTo>
                  <a:lnTo>
                    <a:pt x="121612" y="67573"/>
                  </a:lnTo>
                  <a:lnTo>
                    <a:pt x="121560" y="68279"/>
                  </a:lnTo>
                  <a:lnTo>
                    <a:pt x="120999" y="68362"/>
                  </a:lnTo>
                  <a:lnTo>
                    <a:pt x="117915" y="67954"/>
                  </a:lnTo>
                  <a:lnTo>
                    <a:pt x="114517" y="66666"/>
                  </a:lnTo>
                  <a:lnTo>
                    <a:pt x="113026" y="65698"/>
                  </a:lnTo>
                  <a:lnTo>
                    <a:pt x="111563" y="65708"/>
                  </a:lnTo>
                  <a:lnTo>
                    <a:pt x="109792" y="66348"/>
                  </a:lnTo>
                  <a:lnTo>
                    <a:pt x="103443" y="68187"/>
                  </a:lnTo>
                  <a:lnTo>
                    <a:pt x="101884" y="67758"/>
                  </a:lnTo>
                  <a:lnTo>
                    <a:pt x="98256" y="65954"/>
                  </a:lnTo>
                  <a:lnTo>
                    <a:pt x="96421" y="63988"/>
                  </a:lnTo>
                  <a:lnTo>
                    <a:pt x="92337" y="60066"/>
                  </a:lnTo>
                  <a:lnTo>
                    <a:pt x="92003" y="59132"/>
                  </a:lnTo>
                  <a:lnTo>
                    <a:pt x="91469" y="58383"/>
                  </a:lnTo>
                  <a:lnTo>
                    <a:pt x="87105" y="57411"/>
                  </a:lnTo>
                  <a:lnTo>
                    <a:pt x="85494" y="55962"/>
                  </a:lnTo>
                  <a:lnTo>
                    <a:pt x="84151" y="55759"/>
                  </a:lnTo>
                  <a:lnTo>
                    <a:pt x="82186" y="55035"/>
                  </a:lnTo>
                  <a:lnTo>
                    <a:pt x="77073" y="51935"/>
                  </a:lnTo>
                  <a:lnTo>
                    <a:pt x="75803" y="51645"/>
                  </a:lnTo>
                  <a:lnTo>
                    <a:pt x="75494" y="52167"/>
                  </a:lnTo>
                  <a:lnTo>
                    <a:pt x="75583" y="52900"/>
                  </a:lnTo>
                  <a:lnTo>
                    <a:pt x="75265" y="53324"/>
                  </a:lnTo>
                  <a:lnTo>
                    <a:pt x="74611" y="53310"/>
                  </a:lnTo>
                  <a:lnTo>
                    <a:pt x="73428" y="52170"/>
                  </a:lnTo>
                  <a:lnTo>
                    <a:pt x="72009" y="51166"/>
                  </a:lnTo>
                  <a:lnTo>
                    <a:pt x="67593" y="53053"/>
                  </a:lnTo>
                  <a:lnTo>
                    <a:pt x="65995" y="53562"/>
                  </a:lnTo>
                  <a:lnTo>
                    <a:pt x="64596" y="53673"/>
                  </a:lnTo>
                  <a:lnTo>
                    <a:pt x="57589" y="56153"/>
                  </a:lnTo>
                  <a:lnTo>
                    <a:pt x="55457" y="57488"/>
                  </a:lnTo>
                  <a:lnTo>
                    <a:pt x="54574" y="57345"/>
                  </a:lnTo>
                  <a:lnTo>
                    <a:pt x="54783" y="56092"/>
                  </a:lnTo>
                  <a:lnTo>
                    <a:pt x="57699" y="49800"/>
                  </a:lnTo>
                  <a:lnTo>
                    <a:pt x="58221" y="44795"/>
                  </a:lnTo>
                  <a:lnTo>
                    <a:pt x="59288" y="44107"/>
                  </a:lnTo>
                  <a:lnTo>
                    <a:pt x="59597" y="43412"/>
                  </a:lnTo>
                  <a:lnTo>
                    <a:pt x="59141" y="41812"/>
                  </a:lnTo>
                  <a:lnTo>
                    <a:pt x="56114" y="40786"/>
                  </a:lnTo>
                  <a:lnTo>
                    <a:pt x="54892" y="40937"/>
                  </a:lnTo>
                  <a:lnTo>
                    <a:pt x="53792" y="42657"/>
                  </a:lnTo>
                  <a:lnTo>
                    <a:pt x="52652" y="43896"/>
                  </a:lnTo>
                  <a:lnTo>
                    <a:pt x="49981" y="44651"/>
                  </a:lnTo>
                  <a:lnTo>
                    <a:pt x="47684" y="43346"/>
                  </a:lnTo>
                  <a:lnTo>
                    <a:pt x="42302" y="41600"/>
                  </a:lnTo>
                  <a:lnTo>
                    <a:pt x="40942" y="39272"/>
                  </a:lnTo>
                  <a:lnTo>
                    <a:pt x="40620" y="36928"/>
                  </a:lnTo>
                  <a:lnTo>
                    <a:pt x="37774" y="34658"/>
                  </a:lnTo>
                  <a:lnTo>
                    <a:pt x="36591" y="31982"/>
                  </a:lnTo>
                  <a:lnTo>
                    <a:pt x="37064" y="30112"/>
                  </a:lnTo>
                  <a:lnTo>
                    <a:pt x="39646" y="28884"/>
                  </a:lnTo>
                  <a:lnTo>
                    <a:pt x="40383" y="27813"/>
                  </a:lnTo>
                  <a:lnTo>
                    <a:pt x="37128" y="27983"/>
                  </a:lnTo>
                  <a:lnTo>
                    <a:pt x="36466" y="27726"/>
                  </a:lnTo>
                  <a:lnTo>
                    <a:pt x="36323" y="26763"/>
                  </a:lnTo>
                  <a:lnTo>
                    <a:pt x="34883" y="23478"/>
                  </a:lnTo>
                  <a:lnTo>
                    <a:pt x="36157" y="22183"/>
                  </a:lnTo>
                  <a:lnTo>
                    <a:pt x="36718" y="20923"/>
                  </a:lnTo>
                  <a:lnTo>
                    <a:pt x="35673" y="19850"/>
                  </a:lnTo>
                  <a:lnTo>
                    <a:pt x="35947" y="18629"/>
                  </a:lnTo>
                  <a:lnTo>
                    <a:pt x="36761" y="17394"/>
                  </a:lnTo>
                  <a:lnTo>
                    <a:pt x="36262" y="14521"/>
                  </a:lnTo>
                  <a:lnTo>
                    <a:pt x="39493" y="12997"/>
                  </a:lnTo>
                  <a:lnTo>
                    <a:pt x="42633" y="11924"/>
                  </a:lnTo>
                  <a:lnTo>
                    <a:pt x="49286" y="11377"/>
                  </a:lnTo>
                  <a:lnTo>
                    <a:pt x="48627" y="8747"/>
                  </a:lnTo>
                  <a:lnTo>
                    <a:pt x="51320" y="8628"/>
                  </a:lnTo>
                  <a:lnTo>
                    <a:pt x="55852" y="5460"/>
                  </a:lnTo>
                  <a:lnTo>
                    <a:pt x="60346" y="6017"/>
                  </a:lnTo>
                  <a:lnTo>
                    <a:pt x="66846" y="3840"/>
                  </a:lnTo>
                  <a:lnTo>
                    <a:pt x="79366" y="3870"/>
                  </a:lnTo>
                  <a:lnTo>
                    <a:pt x="81072" y="2612"/>
                  </a:lnTo>
                  <a:lnTo>
                    <a:pt x="80774" y="134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7" name="ee4p_FI_1_15912">
              <a:extLst>
                <a:ext uri="{FF2B5EF4-FFF2-40B4-BE49-F238E27FC236}">
                  <a16:creationId xmlns:a16="http://schemas.microsoft.com/office/drawing/2014/main" id="{8517C554-EC73-D717-9E14-7DC89041DF37}"/>
                </a:ext>
              </a:extLst>
            </p:cNvPr>
            <p:cNvSpPr>
              <a:spLocks noChangeAspect="1"/>
            </p:cNvSpPr>
            <p:nvPr>
              <p:custDataLst>
                <p:tags r:id="rId29"/>
              </p:custDataLst>
            </p:nvPr>
          </p:nvSpPr>
          <p:spPr>
            <a:xfrm>
              <a:off x="5482697" y="1871234"/>
              <a:ext cx="1053423" cy="1463011"/>
            </a:xfrm>
            <a:custGeom>
              <a:avLst/>
              <a:gdLst>
                <a:gd name="connsiteX0" fmla="*/ 21473 w 265732"/>
                <a:gd name="connsiteY0" fmla="*/ 360506 h 369053"/>
                <a:gd name="connsiteX1" fmla="*/ 23220 w 265732"/>
                <a:gd name="connsiteY1" fmla="*/ 360680 h 369053"/>
                <a:gd name="connsiteX2" fmla="*/ 24153 w 265732"/>
                <a:gd name="connsiteY2" fmla="*/ 361638 h 369053"/>
                <a:gd name="connsiteX3" fmla="*/ 23978 w 265732"/>
                <a:gd name="connsiteY3" fmla="*/ 362422 h 369053"/>
                <a:gd name="connsiteX4" fmla="*/ 22173 w 265732"/>
                <a:gd name="connsiteY4" fmla="*/ 362597 h 369053"/>
                <a:gd name="connsiteX5" fmla="*/ 21415 w 265732"/>
                <a:gd name="connsiteY5" fmla="*/ 361899 h 369053"/>
                <a:gd name="connsiteX6" fmla="*/ 19728 w 265732"/>
                <a:gd name="connsiteY6" fmla="*/ 361986 h 369053"/>
                <a:gd name="connsiteX7" fmla="*/ 19435 w 265732"/>
                <a:gd name="connsiteY7" fmla="*/ 361638 h 369053"/>
                <a:gd name="connsiteX8" fmla="*/ 20134 w 265732"/>
                <a:gd name="connsiteY8" fmla="*/ 360942 h 369053"/>
                <a:gd name="connsiteX9" fmla="*/ 45306 w 265732"/>
                <a:gd name="connsiteY9" fmla="*/ 357280 h 369053"/>
                <a:gd name="connsiteX10" fmla="*/ 46768 w 265732"/>
                <a:gd name="connsiteY10" fmla="*/ 357390 h 369053"/>
                <a:gd name="connsiteX11" fmla="*/ 47079 w 265732"/>
                <a:gd name="connsiteY11" fmla="*/ 358322 h 369053"/>
                <a:gd name="connsiteX12" fmla="*/ 46641 w 265732"/>
                <a:gd name="connsiteY12" fmla="*/ 359417 h 369053"/>
                <a:gd name="connsiteX13" fmla="*/ 44702 w 265732"/>
                <a:gd name="connsiteY13" fmla="*/ 359744 h 369053"/>
                <a:gd name="connsiteX14" fmla="*/ 43494 w 265732"/>
                <a:gd name="connsiteY14" fmla="*/ 358787 h 369053"/>
                <a:gd name="connsiteX15" fmla="*/ 43953 w 265732"/>
                <a:gd name="connsiteY15" fmla="*/ 358075 h 369053"/>
                <a:gd name="connsiteX16" fmla="*/ 51860 w 265732"/>
                <a:gd name="connsiteY16" fmla="*/ 356303 h 369053"/>
                <a:gd name="connsiteX17" fmla="*/ 51171 w 265732"/>
                <a:gd name="connsiteY17" fmla="*/ 358333 h 369053"/>
                <a:gd name="connsiteX18" fmla="*/ 48958 w 265732"/>
                <a:gd name="connsiteY18" fmla="*/ 359471 h 369053"/>
                <a:gd name="connsiteX19" fmla="*/ 48115 w 265732"/>
                <a:gd name="connsiteY19" fmla="*/ 359200 h 369053"/>
                <a:gd name="connsiteX20" fmla="*/ 48332 w 265732"/>
                <a:gd name="connsiteY20" fmla="*/ 357280 h 369053"/>
                <a:gd name="connsiteX21" fmla="*/ 49647 w 265732"/>
                <a:gd name="connsiteY21" fmla="*/ 356401 h 369053"/>
                <a:gd name="connsiteX22" fmla="*/ 2428 w 265732"/>
                <a:gd name="connsiteY22" fmla="*/ 354834 h 369053"/>
                <a:gd name="connsiteX23" fmla="*/ 3168 w 265732"/>
                <a:gd name="connsiteY23" fmla="*/ 356788 h 369053"/>
                <a:gd name="connsiteX24" fmla="*/ 3283 w 265732"/>
                <a:gd name="connsiteY24" fmla="*/ 357531 h 369053"/>
                <a:gd name="connsiteX25" fmla="*/ 2436 w 265732"/>
                <a:gd name="connsiteY25" fmla="*/ 357345 h 369053"/>
                <a:gd name="connsiteX26" fmla="*/ 1786 w 265732"/>
                <a:gd name="connsiteY26" fmla="*/ 357599 h 369053"/>
                <a:gd name="connsiteX27" fmla="*/ 1345 w 265732"/>
                <a:gd name="connsiteY27" fmla="*/ 358514 h 369053"/>
                <a:gd name="connsiteX28" fmla="*/ 387 w 265732"/>
                <a:gd name="connsiteY28" fmla="*/ 358186 h 369053"/>
                <a:gd name="connsiteX29" fmla="*/ 0 w 265732"/>
                <a:gd name="connsiteY29" fmla="*/ 356874 h 369053"/>
                <a:gd name="connsiteX30" fmla="*/ 715 w 265732"/>
                <a:gd name="connsiteY30" fmla="*/ 354909 h 369053"/>
                <a:gd name="connsiteX31" fmla="*/ 58731 w 265732"/>
                <a:gd name="connsiteY31" fmla="*/ 350695 h 369053"/>
                <a:gd name="connsiteX32" fmla="*/ 61532 w 265732"/>
                <a:gd name="connsiteY32" fmla="*/ 351466 h 369053"/>
                <a:gd name="connsiteX33" fmla="*/ 62709 w 265732"/>
                <a:gd name="connsiteY33" fmla="*/ 351190 h 369053"/>
                <a:gd name="connsiteX34" fmla="*/ 64047 w 265732"/>
                <a:gd name="connsiteY34" fmla="*/ 352933 h 369053"/>
                <a:gd name="connsiteX35" fmla="*/ 61778 w 265732"/>
                <a:gd name="connsiteY35" fmla="*/ 354042 h 369053"/>
                <a:gd name="connsiteX36" fmla="*/ 61620 w 265732"/>
                <a:gd name="connsiteY36" fmla="*/ 355416 h 369053"/>
                <a:gd name="connsiteX37" fmla="*/ 62517 w 265732"/>
                <a:gd name="connsiteY37" fmla="*/ 356269 h 369053"/>
                <a:gd name="connsiteX38" fmla="*/ 62832 w 265732"/>
                <a:gd name="connsiteY38" fmla="*/ 357503 h 369053"/>
                <a:gd name="connsiteX39" fmla="*/ 60571 w 265732"/>
                <a:gd name="connsiteY39" fmla="*/ 357502 h 369053"/>
                <a:gd name="connsiteX40" fmla="*/ 59489 w 265732"/>
                <a:gd name="connsiteY40" fmla="*/ 356463 h 369053"/>
                <a:gd name="connsiteX41" fmla="*/ 59018 w 265732"/>
                <a:gd name="connsiteY41" fmla="*/ 355144 h 369053"/>
                <a:gd name="connsiteX42" fmla="*/ 57967 w 265732"/>
                <a:gd name="connsiteY42" fmla="*/ 354210 h 369053"/>
                <a:gd name="connsiteX43" fmla="*/ 56565 w 265732"/>
                <a:gd name="connsiteY43" fmla="*/ 353499 h 369053"/>
                <a:gd name="connsiteX44" fmla="*/ 57252 w 265732"/>
                <a:gd name="connsiteY44" fmla="*/ 352551 h 369053"/>
                <a:gd name="connsiteX45" fmla="*/ 57643 w 265732"/>
                <a:gd name="connsiteY45" fmla="*/ 351190 h 369053"/>
                <a:gd name="connsiteX46" fmla="*/ 8165 w 265732"/>
                <a:gd name="connsiteY46" fmla="*/ 349529 h 369053"/>
                <a:gd name="connsiteX47" fmla="*/ 9409 w 265732"/>
                <a:gd name="connsiteY47" fmla="*/ 351135 h 369053"/>
                <a:gd name="connsiteX48" fmla="*/ 10404 w 265732"/>
                <a:gd name="connsiteY48" fmla="*/ 351345 h 369053"/>
                <a:gd name="connsiteX49" fmla="*/ 11082 w 265732"/>
                <a:gd name="connsiteY49" fmla="*/ 351355 h 369053"/>
                <a:gd name="connsiteX50" fmla="*/ 11384 w 265732"/>
                <a:gd name="connsiteY50" fmla="*/ 351075 h 369053"/>
                <a:gd name="connsiteX51" fmla="*/ 12568 w 265732"/>
                <a:gd name="connsiteY51" fmla="*/ 351271 h 369053"/>
                <a:gd name="connsiteX52" fmla="*/ 14347 w 265732"/>
                <a:gd name="connsiteY52" fmla="*/ 352557 h 369053"/>
                <a:gd name="connsiteX53" fmla="*/ 14705 w 265732"/>
                <a:gd name="connsiteY53" fmla="*/ 353253 h 369053"/>
                <a:gd name="connsiteX54" fmla="*/ 15932 w 265732"/>
                <a:gd name="connsiteY54" fmla="*/ 353609 h 369053"/>
                <a:gd name="connsiteX55" fmla="*/ 16360 w 265732"/>
                <a:gd name="connsiteY55" fmla="*/ 354330 h 369053"/>
                <a:gd name="connsiteX56" fmla="*/ 14941 w 265732"/>
                <a:gd name="connsiteY56" fmla="*/ 356576 h 369053"/>
                <a:gd name="connsiteX57" fmla="*/ 14064 w 265732"/>
                <a:gd name="connsiteY57" fmla="*/ 356618 h 369053"/>
                <a:gd name="connsiteX58" fmla="*/ 13410 w 265732"/>
                <a:gd name="connsiteY58" fmla="*/ 356334 h 369053"/>
                <a:gd name="connsiteX59" fmla="*/ 12255 w 265732"/>
                <a:gd name="connsiteY59" fmla="*/ 356579 h 369053"/>
                <a:gd name="connsiteX60" fmla="*/ 11577 w 265732"/>
                <a:gd name="connsiteY60" fmla="*/ 357004 h 369053"/>
                <a:gd name="connsiteX61" fmla="*/ 11350 w 265732"/>
                <a:gd name="connsiteY61" fmla="*/ 357937 h 369053"/>
                <a:gd name="connsiteX62" fmla="*/ 11387 w 265732"/>
                <a:gd name="connsiteY62" fmla="*/ 359888 h 369053"/>
                <a:gd name="connsiteX63" fmla="*/ 6208 w 265732"/>
                <a:gd name="connsiteY63" fmla="*/ 360279 h 369053"/>
                <a:gd name="connsiteX64" fmla="*/ 5018 w 265732"/>
                <a:gd name="connsiteY64" fmla="*/ 359709 h 369053"/>
                <a:gd name="connsiteX65" fmla="*/ 3388 w 265732"/>
                <a:gd name="connsiteY65" fmla="*/ 355268 h 369053"/>
                <a:gd name="connsiteX66" fmla="*/ 3712 w 265732"/>
                <a:gd name="connsiteY66" fmla="*/ 354120 h 369053"/>
                <a:gd name="connsiteX67" fmla="*/ 4809 w 265732"/>
                <a:gd name="connsiteY67" fmla="*/ 353630 h 369053"/>
                <a:gd name="connsiteX68" fmla="*/ 5749 w 265732"/>
                <a:gd name="connsiteY68" fmla="*/ 353525 h 369053"/>
                <a:gd name="connsiteX69" fmla="*/ 5887 w 265732"/>
                <a:gd name="connsiteY69" fmla="*/ 355919 h 369053"/>
                <a:gd name="connsiteX70" fmla="*/ 7266 w 265732"/>
                <a:gd name="connsiteY70" fmla="*/ 355681 h 369053"/>
                <a:gd name="connsiteX71" fmla="*/ 7699 w 265732"/>
                <a:gd name="connsiteY71" fmla="*/ 354103 h 369053"/>
                <a:gd name="connsiteX72" fmla="*/ 7795 w 265732"/>
                <a:gd name="connsiteY72" fmla="*/ 352992 h 369053"/>
                <a:gd name="connsiteX73" fmla="*/ 7422 w 265732"/>
                <a:gd name="connsiteY73" fmla="*/ 352431 h 369053"/>
                <a:gd name="connsiteX74" fmla="*/ 6485 w 265732"/>
                <a:gd name="connsiteY74" fmla="*/ 351996 h 369053"/>
                <a:gd name="connsiteX75" fmla="*/ 5943 w 265732"/>
                <a:gd name="connsiteY75" fmla="*/ 351250 h 369053"/>
                <a:gd name="connsiteX76" fmla="*/ 6722 w 265732"/>
                <a:gd name="connsiteY76" fmla="*/ 350049 h 369053"/>
                <a:gd name="connsiteX77" fmla="*/ 51039 w 265732"/>
                <a:gd name="connsiteY77" fmla="*/ 347396 h 369053"/>
                <a:gd name="connsiteX78" fmla="*/ 52799 w 265732"/>
                <a:gd name="connsiteY78" fmla="*/ 348443 h 369053"/>
                <a:gd name="connsiteX79" fmla="*/ 53760 w 265732"/>
                <a:gd name="connsiteY79" fmla="*/ 349666 h 369053"/>
                <a:gd name="connsiteX80" fmla="*/ 52821 w 265732"/>
                <a:gd name="connsiteY80" fmla="*/ 349950 h 369053"/>
                <a:gd name="connsiteX81" fmla="*/ 54412 w 265732"/>
                <a:gd name="connsiteY81" fmla="*/ 351211 h 369053"/>
                <a:gd name="connsiteX82" fmla="*/ 54732 w 265732"/>
                <a:gd name="connsiteY82" fmla="*/ 351827 h 369053"/>
                <a:gd name="connsiteX83" fmla="*/ 53123 w 265732"/>
                <a:gd name="connsiteY83" fmla="*/ 351973 h 369053"/>
                <a:gd name="connsiteX84" fmla="*/ 50849 w 265732"/>
                <a:gd name="connsiteY84" fmla="*/ 350326 h 369053"/>
                <a:gd name="connsiteX85" fmla="*/ 50562 w 265732"/>
                <a:gd name="connsiteY85" fmla="*/ 349682 h 369053"/>
                <a:gd name="connsiteX86" fmla="*/ 51454 w 265732"/>
                <a:gd name="connsiteY86" fmla="*/ 349308 h 369053"/>
                <a:gd name="connsiteX87" fmla="*/ 50865 w 265732"/>
                <a:gd name="connsiteY87" fmla="*/ 347983 h 369053"/>
                <a:gd name="connsiteX88" fmla="*/ 38675 w 265732"/>
                <a:gd name="connsiteY88" fmla="*/ 341784 h 369053"/>
                <a:gd name="connsiteX89" fmla="*/ 39409 w 265732"/>
                <a:gd name="connsiteY89" fmla="*/ 343210 h 369053"/>
                <a:gd name="connsiteX90" fmla="*/ 42717 w 265732"/>
                <a:gd name="connsiteY90" fmla="*/ 345409 h 369053"/>
                <a:gd name="connsiteX91" fmla="*/ 42408 w 265732"/>
                <a:gd name="connsiteY91" fmla="*/ 346959 h 369053"/>
                <a:gd name="connsiteX92" fmla="*/ 40908 w 265732"/>
                <a:gd name="connsiteY92" fmla="*/ 346787 h 369053"/>
                <a:gd name="connsiteX93" fmla="*/ 39381 w 265732"/>
                <a:gd name="connsiteY93" fmla="*/ 347068 h 369053"/>
                <a:gd name="connsiteX94" fmla="*/ 38150 w 265732"/>
                <a:gd name="connsiteY94" fmla="*/ 345529 h 369053"/>
                <a:gd name="connsiteX95" fmla="*/ 37491 w 265732"/>
                <a:gd name="connsiteY95" fmla="*/ 342933 h 369053"/>
                <a:gd name="connsiteX96" fmla="*/ 37716 w 265732"/>
                <a:gd name="connsiteY96" fmla="*/ 342374 h 369053"/>
                <a:gd name="connsiteX97" fmla="*/ 37973 w 265732"/>
                <a:gd name="connsiteY97" fmla="*/ 251776 h 369053"/>
                <a:gd name="connsiteX98" fmla="*/ 37651 w 265732"/>
                <a:gd name="connsiteY98" fmla="*/ 252424 h 369053"/>
                <a:gd name="connsiteX99" fmla="*/ 37563 w 265732"/>
                <a:gd name="connsiteY99" fmla="*/ 253045 h 369053"/>
                <a:gd name="connsiteX100" fmla="*/ 37800 w 265732"/>
                <a:gd name="connsiteY100" fmla="*/ 253695 h 369053"/>
                <a:gd name="connsiteX101" fmla="*/ 39096 w 265732"/>
                <a:gd name="connsiteY101" fmla="*/ 253516 h 369053"/>
                <a:gd name="connsiteX102" fmla="*/ 40841 w 265732"/>
                <a:gd name="connsiteY102" fmla="*/ 252332 h 369053"/>
                <a:gd name="connsiteX103" fmla="*/ 42078 w 265732"/>
                <a:gd name="connsiteY103" fmla="*/ 252885 h 369053"/>
                <a:gd name="connsiteX104" fmla="*/ 41938 w 265732"/>
                <a:gd name="connsiteY104" fmla="*/ 254575 h 369053"/>
                <a:gd name="connsiteX105" fmla="*/ 41098 w 265732"/>
                <a:gd name="connsiteY105" fmla="*/ 254511 h 369053"/>
                <a:gd name="connsiteX106" fmla="*/ 40867 w 265732"/>
                <a:gd name="connsiteY106" fmla="*/ 254232 h 369053"/>
                <a:gd name="connsiteX107" fmla="*/ 39789 w 265732"/>
                <a:gd name="connsiteY107" fmla="*/ 255197 h 369053"/>
                <a:gd name="connsiteX108" fmla="*/ 39597 w 265732"/>
                <a:gd name="connsiteY108" fmla="*/ 255781 h 369053"/>
                <a:gd name="connsiteX109" fmla="*/ 38351 w 265732"/>
                <a:gd name="connsiteY109" fmla="*/ 256154 h 369053"/>
                <a:gd name="connsiteX110" fmla="*/ 36049 w 265732"/>
                <a:gd name="connsiteY110" fmla="*/ 254502 h 369053"/>
                <a:gd name="connsiteX111" fmla="*/ 34602 w 265732"/>
                <a:gd name="connsiteY111" fmla="*/ 251783 h 369053"/>
                <a:gd name="connsiteX112" fmla="*/ 116464 w 265732"/>
                <a:gd name="connsiteY112" fmla="*/ 187740 h 369053"/>
                <a:gd name="connsiteX113" fmla="*/ 120546 w 265732"/>
                <a:gd name="connsiteY113" fmla="*/ 188858 h 369053"/>
                <a:gd name="connsiteX114" fmla="*/ 121142 w 265732"/>
                <a:gd name="connsiteY114" fmla="*/ 189455 h 369053"/>
                <a:gd name="connsiteX115" fmla="*/ 118803 w 265732"/>
                <a:gd name="connsiteY115" fmla="*/ 189902 h 369053"/>
                <a:gd name="connsiteX116" fmla="*/ 117840 w 265732"/>
                <a:gd name="connsiteY116" fmla="*/ 191169 h 369053"/>
                <a:gd name="connsiteX117" fmla="*/ 114539 w 265732"/>
                <a:gd name="connsiteY117" fmla="*/ 192361 h 369053"/>
                <a:gd name="connsiteX118" fmla="*/ 111878 w 265732"/>
                <a:gd name="connsiteY118" fmla="*/ 191616 h 369053"/>
                <a:gd name="connsiteX119" fmla="*/ 111832 w 265732"/>
                <a:gd name="connsiteY119" fmla="*/ 189306 h 369053"/>
                <a:gd name="connsiteX120" fmla="*/ 113482 w 265732"/>
                <a:gd name="connsiteY120" fmla="*/ 188187 h 369053"/>
                <a:gd name="connsiteX121" fmla="*/ 181957 w 265732"/>
                <a:gd name="connsiteY121" fmla="*/ 0 h 369053"/>
                <a:gd name="connsiteX122" fmla="*/ 185099 w 265732"/>
                <a:gd name="connsiteY122" fmla="*/ 126 h 369053"/>
                <a:gd name="connsiteX123" fmla="*/ 188577 w 265732"/>
                <a:gd name="connsiteY123" fmla="*/ 3686 h 369053"/>
                <a:gd name="connsiteX124" fmla="*/ 193483 w 265732"/>
                <a:gd name="connsiteY124" fmla="*/ 7643 h 369053"/>
                <a:gd name="connsiteX125" fmla="*/ 196636 w 265732"/>
                <a:gd name="connsiteY125" fmla="*/ 9562 h 369053"/>
                <a:gd name="connsiteX126" fmla="*/ 205230 w 265732"/>
                <a:gd name="connsiteY126" fmla="*/ 13154 h 369053"/>
                <a:gd name="connsiteX127" fmla="*/ 212775 w 265732"/>
                <a:gd name="connsiteY127" fmla="*/ 15515 h 369053"/>
                <a:gd name="connsiteX128" fmla="*/ 217016 w 265732"/>
                <a:gd name="connsiteY128" fmla="*/ 23292 h 369053"/>
                <a:gd name="connsiteX129" fmla="*/ 214926 w 265732"/>
                <a:gd name="connsiteY129" fmla="*/ 26382 h 369053"/>
                <a:gd name="connsiteX130" fmla="*/ 213885 w 265732"/>
                <a:gd name="connsiteY130" fmla="*/ 27446 h 369053"/>
                <a:gd name="connsiteX131" fmla="*/ 210195 w 265732"/>
                <a:gd name="connsiteY131" fmla="*/ 30516 h 369053"/>
                <a:gd name="connsiteX132" fmla="*/ 206245 w 265732"/>
                <a:gd name="connsiteY132" fmla="*/ 34840 h 369053"/>
                <a:gd name="connsiteX133" fmla="*/ 205943 w 265732"/>
                <a:gd name="connsiteY133" fmla="*/ 37090 h 369053"/>
                <a:gd name="connsiteX134" fmla="*/ 207254 w 265732"/>
                <a:gd name="connsiteY134" fmla="*/ 39357 h 369053"/>
                <a:gd name="connsiteX135" fmla="*/ 208889 w 265732"/>
                <a:gd name="connsiteY135" fmla="*/ 40855 h 369053"/>
                <a:gd name="connsiteX136" fmla="*/ 207409 w 265732"/>
                <a:gd name="connsiteY136" fmla="*/ 41332 h 369053"/>
                <a:gd name="connsiteX137" fmla="*/ 202838 w 265732"/>
                <a:gd name="connsiteY137" fmla="*/ 43215 h 369053"/>
                <a:gd name="connsiteX138" fmla="*/ 200048 w 265732"/>
                <a:gd name="connsiteY138" fmla="*/ 44485 h 369053"/>
                <a:gd name="connsiteX139" fmla="*/ 196688 w 265732"/>
                <a:gd name="connsiteY139" fmla="*/ 45416 h 369053"/>
                <a:gd name="connsiteX140" fmla="*/ 197560 w 265732"/>
                <a:gd name="connsiteY140" fmla="*/ 46649 h 369053"/>
                <a:gd name="connsiteX141" fmla="*/ 203142 w 265732"/>
                <a:gd name="connsiteY141" fmla="*/ 46910 h 369053"/>
                <a:gd name="connsiteX142" fmla="*/ 204002 w 265732"/>
                <a:gd name="connsiteY142" fmla="*/ 47260 h 369053"/>
                <a:gd name="connsiteX143" fmla="*/ 204621 w 265732"/>
                <a:gd name="connsiteY143" fmla="*/ 47894 h 369053"/>
                <a:gd name="connsiteX144" fmla="*/ 204727 w 265732"/>
                <a:gd name="connsiteY144" fmla="*/ 48907 h 369053"/>
                <a:gd name="connsiteX145" fmla="*/ 204161 w 265732"/>
                <a:gd name="connsiteY145" fmla="*/ 50542 h 369053"/>
                <a:gd name="connsiteX146" fmla="*/ 198130 w 265732"/>
                <a:gd name="connsiteY146" fmla="*/ 59538 h 369053"/>
                <a:gd name="connsiteX147" fmla="*/ 197940 w 265732"/>
                <a:gd name="connsiteY147" fmla="*/ 61428 h 369053"/>
                <a:gd name="connsiteX148" fmla="*/ 199918 w 265732"/>
                <a:gd name="connsiteY148" fmla="*/ 66676 h 369053"/>
                <a:gd name="connsiteX149" fmla="*/ 202682 w 265732"/>
                <a:gd name="connsiteY149" fmla="*/ 72845 h 369053"/>
                <a:gd name="connsiteX150" fmla="*/ 211037 w 265732"/>
                <a:gd name="connsiteY150" fmla="*/ 75582 h 369053"/>
                <a:gd name="connsiteX151" fmla="*/ 217247 w 265732"/>
                <a:gd name="connsiteY151" fmla="*/ 77717 h 369053"/>
                <a:gd name="connsiteX152" fmla="*/ 221236 w 265732"/>
                <a:gd name="connsiteY152" fmla="*/ 82760 h 369053"/>
                <a:gd name="connsiteX153" fmla="*/ 227811 w 265732"/>
                <a:gd name="connsiteY153" fmla="*/ 89390 h 369053"/>
                <a:gd name="connsiteX154" fmla="*/ 231297 w 265732"/>
                <a:gd name="connsiteY154" fmla="*/ 91862 h 369053"/>
                <a:gd name="connsiteX155" fmla="*/ 231493 w 265732"/>
                <a:gd name="connsiteY155" fmla="*/ 92629 h 369053"/>
                <a:gd name="connsiteX156" fmla="*/ 230456 w 265732"/>
                <a:gd name="connsiteY156" fmla="*/ 97183 h 369053"/>
                <a:gd name="connsiteX157" fmla="*/ 226241 w 265732"/>
                <a:gd name="connsiteY157" fmla="*/ 101735 h 369053"/>
                <a:gd name="connsiteX158" fmla="*/ 222298 w 265732"/>
                <a:gd name="connsiteY158" fmla="*/ 105565 h 369053"/>
                <a:gd name="connsiteX159" fmla="*/ 218217 w 265732"/>
                <a:gd name="connsiteY159" fmla="*/ 110170 h 369053"/>
                <a:gd name="connsiteX160" fmla="*/ 215025 w 265732"/>
                <a:gd name="connsiteY160" fmla="*/ 114087 h 369053"/>
                <a:gd name="connsiteX161" fmla="*/ 211568 w 265732"/>
                <a:gd name="connsiteY161" fmla="*/ 118772 h 369053"/>
                <a:gd name="connsiteX162" fmla="*/ 211171 w 265732"/>
                <a:gd name="connsiteY162" fmla="*/ 120288 h 369053"/>
                <a:gd name="connsiteX163" fmla="*/ 211108 w 265732"/>
                <a:gd name="connsiteY163" fmla="*/ 121719 h 369053"/>
                <a:gd name="connsiteX164" fmla="*/ 211702 w 265732"/>
                <a:gd name="connsiteY164" fmla="*/ 123300 h 369053"/>
                <a:gd name="connsiteX165" fmla="*/ 216129 w 265732"/>
                <a:gd name="connsiteY165" fmla="*/ 129002 h 369053"/>
                <a:gd name="connsiteX166" fmla="*/ 217852 w 265732"/>
                <a:gd name="connsiteY166" fmla="*/ 131908 h 369053"/>
                <a:gd name="connsiteX167" fmla="*/ 219912 w 265732"/>
                <a:gd name="connsiteY167" fmla="*/ 135045 h 369053"/>
                <a:gd name="connsiteX168" fmla="*/ 221680 w 265732"/>
                <a:gd name="connsiteY168" fmla="*/ 138458 h 369053"/>
                <a:gd name="connsiteX169" fmla="*/ 222706 w 265732"/>
                <a:gd name="connsiteY169" fmla="*/ 141510 h 369053"/>
                <a:gd name="connsiteX170" fmla="*/ 224479 w 265732"/>
                <a:gd name="connsiteY170" fmla="*/ 144480 h 369053"/>
                <a:gd name="connsiteX171" fmla="*/ 225581 w 265732"/>
                <a:gd name="connsiteY171" fmla="*/ 145996 h 369053"/>
                <a:gd name="connsiteX172" fmla="*/ 227411 w 265732"/>
                <a:gd name="connsiteY172" fmla="*/ 148118 h 369053"/>
                <a:gd name="connsiteX173" fmla="*/ 229621 w 265732"/>
                <a:gd name="connsiteY173" fmla="*/ 151271 h 369053"/>
                <a:gd name="connsiteX174" fmla="*/ 230355 w 265732"/>
                <a:gd name="connsiteY174" fmla="*/ 153765 h 369053"/>
                <a:gd name="connsiteX175" fmla="*/ 233691 w 265732"/>
                <a:gd name="connsiteY175" fmla="*/ 162396 h 369053"/>
                <a:gd name="connsiteX176" fmla="*/ 234028 w 265732"/>
                <a:gd name="connsiteY176" fmla="*/ 164590 h 369053"/>
                <a:gd name="connsiteX177" fmla="*/ 233864 w 265732"/>
                <a:gd name="connsiteY177" fmla="*/ 166212 h 369053"/>
                <a:gd name="connsiteX178" fmla="*/ 232398 w 265732"/>
                <a:gd name="connsiteY178" fmla="*/ 166611 h 369053"/>
                <a:gd name="connsiteX179" fmla="*/ 229161 w 265732"/>
                <a:gd name="connsiteY179" fmla="*/ 166869 h 369053"/>
                <a:gd name="connsiteX180" fmla="*/ 225652 w 265732"/>
                <a:gd name="connsiteY180" fmla="*/ 167931 h 369053"/>
                <a:gd name="connsiteX181" fmla="*/ 225475 w 265732"/>
                <a:gd name="connsiteY181" fmla="*/ 168288 h 369053"/>
                <a:gd name="connsiteX182" fmla="*/ 227764 w 265732"/>
                <a:gd name="connsiteY182" fmla="*/ 170314 h 369053"/>
                <a:gd name="connsiteX183" fmla="*/ 225742 w 265732"/>
                <a:gd name="connsiteY183" fmla="*/ 173770 h 369053"/>
                <a:gd name="connsiteX184" fmla="*/ 225451 w 265732"/>
                <a:gd name="connsiteY184" fmla="*/ 178707 h 369053"/>
                <a:gd name="connsiteX185" fmla="*/ 223292 w 265732"/>
                <a:gd name="connsiteY185" fmla="*/ 181294 h 369053"/>
                <a:gd name="connsiteX186" fmla="*/ 223088 w 265732"/>
                <a:gd name="connsiteY186" fmla="*/ 181895 h 369053"/>
                <a:gd name="connsiteX187" fmla="*/ 223186 w 265732"/>
                <a:gd name="connsiteY187" fmla="*/ 182397 h 369053"/>
                <a:gd name="connsiteX188" fmla="*/ 223568 w 265732"/>
                <a:gd name="connsiteY188" fmla="*/ 182789 h 369053"/>
                <a:gd name="connsiteX189" fmla="*/ 227567 w 265732"/>
                <a:gd name="connsiteY189" fmla="*/ 183479 h 369053"/>
                <a:gd name="connsiteX190" fmla="*/ 227913 w 265732"/>
                <a:gd name="connsiteY190" fmla="*/ 184180 h 369053"/>
                <a:gd name="connsiteX191" fmla="*/ 227930 w 265732"/>
                <a:gd name="connsiteY191" fmla="*/ 185629 h 369053"/>
                <a:gd name="connsiteX192" fmla="*/ 227573 w 265732"/>
                <a:gd name="connsiteY192" fmla="*/ 186967 h 369053"/>
                <a:gd name="connsiteX193" fmla="*/ 225565 w 265732"/>
                <a:gd name="connsiteY193" fmla="*/ 187959 h 369053"/>
                <a:gd name="connsiteX194" fmla="*/ 223408 w 265732"/>
                <a:gd name="connsiteY194" fmla="*/ 189427 h 369053"/>
                <a:gd name="connsiteX195" fmla="*/ 222931 w 265732"/>
                <a:gd name="connsiteY195" fmla="*/ 190776 h 369053"/>
                <a:gd name="connsiteX196" fmla="*/ 223004 w 265732"/>
                <a:gd name="connsiteY196" fmla="*/ 191980 h 369053"/>
                <a:gd name="connsiteX197" fmla="*/ 223741 w 265732"/>
                <a:gd name="connsiteY197" fmla="*/ 194013 h 369053"/>
                <a:gd name="connsiteX198" fmla="*/ 225159 w 265732"/>
                <a:gd name="connsiteY198" fmla="*/ 196379 h 369053"/>
                <a:gd name="connsiteX199" fmla="*/ 226963 w 265732"/>
                <a:gd name="connsiteY199" fmla="*/ 197863 h 369053"/>
                <a:gd name="connsiteX200" fmla="*/ 233367 w 265732"/>
                <a:gd name="connsiteY200" fmla="*/ 199267 h 369053"/>
                <a:gd name="connsiteX201" fmla="*/ 234194 w 265732"/>
                <a:gd name="connsiteY201" fmla="*/ 200428 h 369053"/>
                <a:gd name="connsiteX202" fmla="*/ 234546 w 265732"/>
                <a:gd name="connsiteY202" fmla="*/ 202018 h 369053"/>
                <a:gd name="connsiteX203" fmla="*/ 234412 w 265732"/>
                <a:gd name="connsiteY203" fmla="*/ 203569 h 369053"/>
                <a:gd name="connsiteX204" fmla="*/ 231437 w 265732"/>
                <a:gd name="connsiteY204" fmla="*/ 206669 h 369053"/>
                <a:gd name="connsiteX205" fmla="*/ 231460 w 265732"/>
                <a:gd name="connsiteY205" fmla="*/ 207860 h 369053"/>
                <a:gd name="connsiteX206" fmla="*/ 232682 w 265732"/>
                <a:gd name="connsiteY206" fmla="*/ 210740 h 369053"/>
                <a:gd name="connsiteX207" fmla="*/ 234147 w 265732"/>
                <a:gd name="connsiteY207" fmla="*/ 213485 h 369053"/>
                <a:gd name="connsiteX208" fmla="*/ 240394 w 265732"/>
                <a:gd name="connsiteY208" fmla="*/ 216455 h 369053"/>
                <a:gd name="connsiteX209" fmla="*/ 242545 w 265732"/>
                <a:gd name="connsiteY209" fmla="*/ 218082 h 369053"/>
                <a:gd name="connsiteX210" fmla="*/ 243117 w 265732"/>
                <a:gd name="connsiteY210" fmla="*/ 219376 h 369053"/>
                <a:gd name="connsiteX211" fmla="*/ 243430 w 265732"/>
                <a:gd name="connsiteY211" fmla="*/ 221460 h 369053"/>
                <a:gd name="connsiteX212" fmla="*/ 243389 w 265732"/>
                <a:gd name="connsiteY212" fmla="*/ 223717 h 369053"/>
                <a:gd name="connsiteX213" fmla="*/ 242899 w 265732"/>
                <a:gd name="connsiteY213" fmla="*/ 225719 h 369053"/>
                <a:gd name="connsiteX214" fmla="*/ 240940 w 265732"/>
                <a:gd name="connsiteY214" fmla="*/ 228298 h 369053"/>
                <a:gd name="connsiteX215" fmla="*/ 236406 w 265732"/>
                <a:gd name="connsiteY215" fmla="*/ 233375 h 369053"/>
                <a:gd name="connsiteX216" fmla="*/ 231847 w 265732"/>
                <a:gd name="connsiteY216" fmla="*/ 235344 h 369053"/>
                <a:gd name="connsiteX217" fmla="*/ 231569 w 265732"/>
                <a:gd name="connsiteY217" fmla="*/ 235771 h 369053"/>
                <a:gd name="connsiteX218" fmla="*/ 232981 w 265732"/>
                <a:gd name="connsiteY218" fmla="*/ 237391 h 369053"/>
                <a:gd name="connsiteX219" fmla="*/ 241011 w 265732"/>
                <a:gd name="connsiteY219" fmla="*/ 243873 h 369053"/>
                <a:gd name="connsiteX220" fmla="*/ 246246 w 265732"/>
                <a:gd name="connsiteY220" fmla="*/ 246900 h 369053"/>
                <a:gd name="connsiteX221" fmla="*/ 253311 w 265732"/>
                <a:gd name="connsiteY221" fmla="*/ 250978 h 369053"/>
                <a:gd name="connsiteX222" fmla="*/ 257868 w 265732"/>
                <a:gd name="connsiteY222" fmla="*/ 254194 h 369053"/>
                <a:gd name="connsiteX223" fmla="*/ 259340 w 265732"/>
                <a:gd name="connsiteY223" fmla="*/ 256505 h 369053"/>
                <a:gd name="connsiteX224" fmla="*/ 261314 w 265732"/>
                <a:gd name="connsiteY224" fmla="*/ 259071 h 369053"/>
                <a:gd name="connsiteX225" fmla="*/ 263532 w 265732"/>
                <a:gd name="connsiteY225" fmla="*/ 261166 h 369053"/>
                <a:gd name="connsiteX226" fmla="*/ 265130 w 265732"/>
                <a:gd name="connsiteY226" fmla="*/ 262982 h 369053"/>
                <a:gd name="connsiteX227" fmla="*/ 265732 w 265732"/>
                <a:gd name="connsiteY227" fmla="*/ 264150 h 369053"/>
                <a:gd name="connsiteX228" fmla="*/ 265676 w 265732"/>
                <a:gd name="connsiteY228" fmla="*/ 265405 h 369053"/>
                <a:gd name="connsiteX229" fmla="*/ 263538 w 265732"/>
                <a:gd name="connsiteY229" fmla="*/ 269185 h 369053"/>
                <a:gd name="connsiteX230" fmla="*/ 262324 w 265732"/>
                <a:gd name="connsiteY230" fmla="*/ 272102 h 369053"/>
                <a:gd name="connsiteX231" fmla="*/ 260185 w 265732"/>
                <a:gd name="connsiteY231" fmla="*/ 276371 h 369053"/>
                <a:gd name="connsiteX232" fmla="*/ 257997 w 265732"/>
                <a:gd name="connsiteY232" fmla="*/ 279345 h 369053"/>
                <a:gd name="connsiteX233" fmla="*/ 252448 w 265732"/>
                <a:gd name="connsiteY233" fmla="*/ 284759 h 369053"/>
                <a:gd name="connsiteX234" fmla="*/ 244264 w 265732"/>
                <a:gd name="connsiteY234" fmla="*/ 291477 h 369053"/>
                <a:gd name="connsiteX235" fmla="*/ 242363 w 265732"/>
                <a:gd name="connsiteY235" fmla="*/ 293506 h 369053"/>
                <a:gd name="connsiteX236" fmla="*/ 238533 w 265732"/>
                <a:gd name="connsiteY236" fmla="*/ 297034 h 369053"/>
                <a:gd name="connsiteX237" fmla="*/ 231977 w 265732"/>
                <a:gd name="connsiteY237" fmla="*/ 304096 h 369053"/>
                <a:gd name="connsiteX238" fmla="*/ 230279 w 265732"/>
                <a:gd name="connsiteY238" fmla="*/ 305652 h 369053"/>
                <a:gd name="connsiteX239" fmla="*/ 224905 w 265732"/>
                <a:gd name="connsiteY239" fmla="*/ 311263 h 369053"/>
                <a:gd name="connsiteX240" fmla="*/ 222456 w 265732"/>
                <a:gd name="connsiteY240" fmla="*/ 313045 h 369053"/>
                <a:gd name="connsiteX241" fmla="*/ 220532 w 265732"/>
                <a:gd name="connsiteY241" fmla="*/ 314710 h 369053"/>
                <a:gd name="connsiteX242" fmla="*/ 215209 w 265732"/>
                <a:gd name="connsiteY242" fmla="*/ 319993 h 369053"/>
                <a:gd name="connsiteX243" fmla="*/ 209489 w 265732"/>
                <a:gd name="connsiteY243" fmla="*/ 323994 h 369053"/>
                <a:gd name="connsiteX244" fmla="*/ 203874 w 265732"/>
                <a:gd name="connsiteY244" fmla="*/ 327703 h 369053"/>
                <a:gd name="connsiteX245" fmla="*/ 202190 w 265732"/>
                <a:gd name="connsiteY245" fmla="*/ 329581 h 369053"/>
                <a:gd name="connsiteX246" fmla="*/ 200095 w 265732"/>
                <a:gd name="connsiteY246" fmla="*/ 331012 h 369053"/>
                <a:gd name="connsiteX247" fmla="*/ 197595 w 265732"/>
                <a:gd name="connsiteY247" fmla="*/ 332372 h 369053"/>
                <a:gd name="connsiteX248" fmla="*/ 196541 w 265732"/>
                <a:gd name="connsiteY248" fmla="*/ 333134 h 369053"/>
                <a:gd name="connsiteX249" fmla="*/ 190892 w 265732"/>
                <a:gd name="connsiteY249" fmla="*/ 338191 h 369053"/>
                <a:gd name="connsiteX250" fmla="*/ 183058 w 265732"/>
                <a:gd name="connsiteY250" fmla="*/ 345191 h 369053"/>
                <a:gd name="connsiteX251" fmla="*/ 182261 w 265732"/>
                <a:gd name="connsiteY251" fmla="*/ 345300 h 369053"/>
                <a:gd name="connsiteX252" fmla="*/ 180221 w 265732"/>
                <a:gd name="connsiteY252" fmla="*/ 346429 h 369053"/>
                <a:gd name="connsiteX253" fmla="*/ 177031 w 265732"/>
                <a:gd name="connsiteY253" fmla="*/ 346702 h 369053"/>
                <a:gd name="connsiteX254" fmla="*/ 175645 w 265732"/>
                <a:gd name="connsiteY254" fmla="*/ 347565 h 369053"/>
                <a:gd name="connsiteX255" fmla="*/ 170769 w 265732"/>
                <a:gd name="connsiteY255" fmla="*/ 345106 h 369053"/>
                <a:gd name="connsiteX256" fmla="*/ 169959 w 265732"/>
                <a:gd name="connsiteY256" fmla="*/ 344947 h 369053"/>
                <a:gd name="connsiteX257" fmla="*/ 167092 w 265732"/>
                <a:gd name="connsiteY257" fmla="*/ 345557 h 369053"/>
                <a:gd name="connsiteX258" fmla="*/ 164340 w 265732"/>
                <a:gd name="connsiteY258" fmla="*/ 347344 h 369053"/>
                <a:gd name="connsiteX259" fmla="*/ 159261 w 265732"/>
                <a:gd name="connsiteY259" fmla="*/ 347890 h 369053"/>
                <a:gd name="connsiteX260" fmla="*/ 156739 w 265732"/>
                <a:gd name="connsiteY260" fmla="*/ 348469 h 369053"/>
                <a:gd name="connsiteX261" fmla="*/ 155131 w 265732"/>
                <a:gd name="connsiteY261" fmla="*/ 349294 h 369053"/>
                <a:gd name="connsiteX262" fmla="*/ 154800 w 265732"/>
                <a:gd name="connsiteY262" fmla="*/ 347341 h 369053"/>
                <a:gd name="connsiteX263" fmla="*/ 155495 w 265732"/>
                <a:gd name="connsiteY263" fmla="*/ 344862 h 369053"/>
                <a:gd name="connsiteX264" fmla="*/ 156614 w 265732"/>
                <a:gd name="connsiteY264" fmla="*/ 343208 h 369053"/>
                <a:gd name="connsiteX265" fmla="*/ 156718 w 265732"/>
                <a:gd name="connsiteY265" fmla="*/ 342130 h 369053"/>
                <a:gd name="connsiteX266" fmla="*/ 155897 w 265732"/>
                <a:gd name="connsiteY266" fmla="*/ 342242 h 369053"/>
                <a:gd name="connsiteX267" fmla="*/ 154271 w 265732"/>
                <a:gd name="connsiteY267" fmla="*/ 344669 h 369053"/>
                <a:gd name="connsiteX268" fmla="*/ 153401 w 265732"/>
                <a:gd name="connsiteY268" fmla="*/ 347500 h 369053"/>
                <a:gd name="connsiteX269" fmla="*/ 151660 w 265732"/>
                <a:gd name="connsiteY269" fmla="*/ 348922 h 369053"/>
                <a:gd name="connsiteX270" fmla="*/ 147834 w 265732"/>
                <a:gd name="connsiteY270" fmla="*/ 349503 h 369053"/>
                <a:gd name="connsiteX271" fmla="*/ 144105 w 265732"/>
                <a:gd name="connsiteY271" fmla="*/ 347230 h 369053"/>
                <a:gd name="connsiteX272" fmla="*/ 142334 w 265732"/>
                <a:gd name="connsiteY272" fmla="*/ 347253 h 369053"/>
                <a:gd name="connsiteX273" fmla="*/ 143446 w 265732"/>
                <a:gd name="connsiteY273" fmla="*/ 348881 h 369053"/>
                <a:gd name="connsiteX274" fmla="*/ 144198 w 265732"/>
                <a:gd name="connsiteY274" fmla="*/ 350667 h 369053"/>
                <a:gd name="connsiteX275" fmla="*/ 144100 w 265732"/>
                <a:gd name="connsiteY275" fmla="*/ 351667 h 369053"/>
                <a:gd name="connsiteX276" fmla="*/ 142112 w 265732"/>
                <a:gd name="connsiteY276" fmla="*/ 351491 h 369053"/>
                <a:gd name="connsiteX277" fmla="*/ 139898 w 265732"/>
                <a:gd name="connsiteY277" fmla="*/ 352561 h 369053"/>
                <a:gd name="connsiteX278" fmla="*/ 137957 w 265732"/>
                <a:gd name="connsiteY278" fmla="*/ 354123 h 369053"/>
                <a:gd name="connsiteX279" fmla="*/ 137015 w 265732"/>
                <a:gd name="connsiteY279" fmla="*/ 354126 h 369053"/>
                <a:gd name="connsiteX280" fmla="*/ 135711 w 265732"/>
                <a:gd name="connsiteY280" fmla="*/ 351943 h 369053"/>
                <a:gd name="connsiteX281" fmla="*/ 133318 w 265732"/>
                <a:gd name="connsiteY281" fmla="*/ 352962 h 369053"/>
                <a:gd name="connsiteX282" fmla="*/ 131274 w 265732"/>
                <a:gd name="connsiteY282" fmla="*/ 354332 h 369053"/>
                <a:gd name="connsiteX283" fmla="*/ 127119 w 265732"/>
                <a:gd name="connsiteY283" fmla="*/ 354760 h 369053"/>
                <a:gd name="connsiteX284" fmla="*/ 124642 w 265732"/>
                <a:gd name="connsiteY284" fmla="*/ 356559 h 369053"/>
                <a:gd name="connsiteX285" fmla="*/ 120259 w 265732"/>
                <a:gd name="connsiteY285" fmla="*/ 357772 h 369053"/>
                <a:gd name="connsiteX286" fmla="*/ 117851 w 265732"/>
                <a:gd name="connsiteY286" fmla="*/ 357743 h 369053"/>
                <a:gd name="connsiteX287" fmla="*/ 112362 w 265732"/>
                <a:gd name="connsiteY287" fmla="*/ 359203 h 369053"/>
                <a:gd name="connsiteX288" fmla="*/ 110537 w 265732"/>
                <a:gd name="connsiteY288" fmla="*/ 361452 h 369053"/>
                <a:gd name="connsiteX289" fmla="*/ 108937 w 265732"/>
                <a:gd name="connsiteY289" fmla="*/ 362279 h 369053"/>
                <a:gd name="connsiteX290" fmla="*/ 106659 w 265732"/>
                <a:gd name="connsiteY290" fmla="*/ 361583 h 369053"/>
                <a:gd name="connsiteX291" fmla="*/ 99641 w 265732"/>
                <a:gd name="connsiteY291" fmla="*/ 362679 h 369053"/>
                <a:gd name="connsiteX292" fmla="*/ 92932 w 265732"/>
                <a:gd name="connsiteY292" fmla="*/ 364116 h 369053"/>
                <a:gd name="connsiteX293" fmla="*/ 90077 w 265732"/>
                <a:gd name="connsiteY293" fmla="*/ 364034 h 369053"/>
                <a:gd name="connsiteX294" fmla="*/ 87222 w 265732"/>
                <a:gd name="connsiteY294" fmla="*/ 363437 h 369053"/>
                <a:gd name="connsiteX295" fmla="*/ 84197 w 265732"/>
                <a:gd name="connsiteY295" fmla="*/ 365433 h 369053"/>
                <a:gd name="connsiteX296" fmla="*/ 80984 w 265732"/>
                <a:gd name="connsiteY296" fmla="*/ 368101 h 369053"/>
                <a:gd name="connsiteX297" fmla="*/ 77442 w 265732"/>
                <a:gd name="connsiteY297" fmla="*/ 369053 h 369053"/>
                <a:gd name="connsiteX298" fmla="*/ 76173 w 265732"/>
                <a:gd name="connsiteY298" fmla="*/ 368712 h 369053"/>
                <a:gd name="connsiteX299" fmla="*/ 77187 w 265732"/>
                <a:gd name="connsiteY299" fmla="*/ 367314 h 369053"/>
                <a:gd name="connsiteX300" fmla="*/ 79531 w 265732"/>
                <a:gd name="connsiteY300" fmla="*/ 365865 h 369053"/>
                <a:gd name="connsiteX301" fmla="*/ 81139 w 265732"/>
                <a:gd name="connsiteY301" fmla="*/ 363900 h 369053"/>
                <a:gd name="connsiteX302" fmla="*/ 81360 w 265732"/>
                <a:gd name="connsiteY302" fmla="*/ 362261 h 369053"/>
                <a:gd name="connsiteX303" fmla="*/ 80254 w 265732"/>
                <a:gd name="connsiteY303" fmla="*/ 361617 h 369053"/>
                <a:gd name="connsiteX304" fmla="*/ 78744 w 265732"/>
                <a:gd name="connsiteY304" fmla="*/ 361420 h 369053"/>
                <a:gd name="connsiteX305" fmla="*/ 76842 w 265732"/>
                <a:gd name="connsiteY305" fmla="*/ 359723 h 369053"/>
                <a:gd name="connsiteX306" fmla="*/ 75019 w 265732"/>
                <a:gd name="connsiteY306" fmla="*/ 356041 h 369053"/>
                <a:gd name="connsiteX307" fmla="*/ 74032 w 265732"/>
                <a:gd name="connsiteY307" fmla="*/ 355838 h 369053"/>
                <a:gd name="connsiteX308" fmla="*/ 73532 w 265732"/>
                <a:gd name="connsiteY308" fmla="*/ 356806 h 369053"/>
                <a:gd name="connsiteX309" fmla="*/ 72972 w 265732"/>
                <a:gd name="connsiteY309" fmla="*/ 359630 h 369053"/>
                <a:gd name="connsiteX310" fmla="*/ 72404 w 265732"/>
                <a:gd name="connsiteY310" fmla="*/ 360443 h 369053"/>
                <a:gd name="connsiteX311" fmla="*/ 71439 w 265732"/>
                <a:gd name="connsiteY311" fmla="*/ 361089 h 369053"/>
                <a:gd name="connsiteX312" fmla="*/ 70280 w 265732"/>
                <a:gd name="connsiteY312" fmla="*/ 361739 h 369053"/>
                <a:gd name="connsiteX313" fmla="*/ 69148 w 265732"/>
                <a:gd name="connsiteY313" fmla="*/ 362056 h 369053"/>
                <a:gd name="connsiteX314" fmla="*/ 65091 w 265732"/>
                <a:gd name="connsiteY314" fmla="*/ 362017 h 369053"/>
                <a:gd name="connsiteX315" fmla="*/ 64557 w 265732"/>
                <a:gd name="connsiteY315" fmla="*/ 360593 h 369053"/>
                <a:gd name="connsiteX316" fmla="*/ 64557 w 265732"/>
                <a:gd name="connsiteY316" fmla="*/ 359997 h 369053"/>
                <a:gd name="connsiteX317" fmla="*/ 65276 w 265732"/>
                <a:gd name="connsiteY317" fmla="*/ 358120 h 369053"/>
                <a:gd name="connsiteX318" fmla="*/ 64648 w 265732"/>
                <a:gd name="connsiteY318" fmla="*/ 357792 h 369053"/>
                <a:gd name="connsiteX319" fmla="*/ 65246 w 265732"/>
                <a:gd name="connsiteY319" fmla="*/ 356319 h 369053"/>
                <a:gd name="connsiteX320" fmla="*/ 66203 w 265732"/>
                <a:gd name="connsiteY320" fmla="*/ 356398 h 369053"/>
                <a:gd name="connsiteX321" fmla="*/ 67336 w 265732"/>
                <a:gd name="connsiteY321" fmla="*/ 356180 h 369053"/>
                <a:gd name="connsiteX322" fmla="*/ 67904 w 265732"/>
                <a:gd name="connsiteY322" fmla="*/ 355422 h 369053"/>
                <a:gd name="connsiteX323" fmla="*/ 67861 w 265732"/>
                <a:gd name="connsiteY323" fmla="*/ 354517 h 369053"/>
                <a:gd name="connsiteX324" fmla="*/ 66285 w 265732"/>
                <a:gd name="connsiteY324" fmla="*/ 354282 h 369053"/>
                <a:gd name="connsiteX325" fmla="*/ 66188 w 265732"/>
                <a:gd name="connsiteY325" fmla="*/ 353664 h 369053"/>
                <a:gd name="connsiteX326" fmla="*/ 67593 w 265732"/>
                <a:gd name="connsiteY326" fmla="*/ 351083 h 369053"/>
                <a:gd name="connsiteX327" fmla="*/ 67794 w 265732"/>
                <a:gd name="connsiteY327" fmla="*/ 350369 h 369053"/>
                <a:gd name="connsiteX328" fmla="*/ 67250 w 265732"/>
                <a:gd name="connsiteY328" fmla="*/ 350221 h 369053"/>
                <a:gd name="connsiteX329" fmla="*/ 66369 w 265732"/>
                <a:gd name="connsiteY329" fmla="*/ 350502 h 369053"/>
                <a:gd name="connsiteX330" fmla="*/ 60562 w 265732"/>
                <a:gd name="connsiteY330" fmla="*/ 349692 h 369053"/>
                <a:gd name="connsiteX331" fmla="*/ 53400 w 265732"/>
                <a:gd name="connsiteY331" fmla="*/ 346385 h 369053"/>
                <a:gd name="connsiteX332" fmla="*/ 51638 w 265732"/>
                <a:gd name="connsiteY332" fmla="*/ 346214 h 369053"/>
                <a:gd name="connsiteX333" fmla="*/ 50554 w 265732"/>
                <a:gd name="connsiteY333" fmla="*/ 343257 h 369053"/>
                <a:gd name="connsiteX334" fmla="*/ 48826 w 265732"/>
                <a:gd name="connsiteY334" fmla="*/ 343632 h 369053"/>
                <a:gd name="connsiteX335" fmla="*/ 46308 w 265732"/>
                <a:gd name="connsiteY335" fmla="*/ 345363 h 369053"/>
                <a:gd name="connsiteX336" fmla="*/ 44419 w 265732"/>
                <a:gd name="connsiteY336" fmla="*/ 344048 h 369053"/>
                <a:gd name="connsiteX337" fmla="*/ 42389 w 265732"/>
                <a:gd name="connsiteY337" fmla="*/ 343182 h 369053"/>
                <a:gd name="connsiteX338" fmla="*/ 41827 w 265732"/>
                <a:gd name="connsiteY338" fmla="*/ 341828 h 369053"/>
                <a:gd name="connsiteX339" fmla="*/ 41856 w 265732"/>
                <a:gd name="connsiteY339" fmla="*/ 339829 h 369053"/>
                <a:gd name="connsiteX340" fmla="*/ 41681 w 265732"/>
                <a:gd name="connsiteY340" fmla="*/ 337469 h 369053"/>
                <a:gd name="connsiteX341" fmla="*/ 41126 w 265732"/>
                <a:gd name="connsiteY341" fmla="*/ 334704 h 369053"/>
                <a:gd name="connsiteX342" fmla="*/ 40720 w 265732"/>
                <a:gd name="connsiteY342" fmla="*/ 330768 h 369053"/>
                <a:gd name="connsiteX343" fmla="*/ 41100 w 265732"/>
                <a:gd name="connsiteY343" fmla="*/ 327687 h 369053"/>
                <a:gd name="connsiteX344" fmla="*/ 42719 w 265732"/>
                <a:gd name="connsiteY344" fmla="*/ 325403 h 369053"/>
                <a:gd name="connsiteX345" fmla="*/ 43341 w 265732"/>
                <a:gd name="connsiteY345" fmla="*/ 323944 h 369053"/>
                <a:gd name="connsiteX346" fmla="*/ 44101 w 265732"/>
                <a:gd name="connsiteY346" fmla="*/ 320215 h 369053"/>
                <a:gd name="connsiteX347" fmla="*/ 44272 w 265732"/>
                <a:gd name="connsiteY347" fmla="*/ 315839 h 369053"/>
                <a:gd name="connsiteX348" fmla="*/ 43842 w 265732"/>
                <a:gd name="connsiteY348" fmla="*/ 314347 h 369053"/>
                <a:gd name="connsiteX349" fmla="*/ 43950 w 265732"/>
                <a:gd name="connsiteY349" fmla="*/ 313354 h 369053"/>
                <a:gd name="connsiteX350" fmla="*/ 45242 w 265732"/>
                <a:gd name="connsiteY350" fmla="*/ 313354 h 369053"/>
                <a:gd name="connsiteX351" fmla="*/ 44961 w 265732"/>
                <a:gd name="connsiteY351" fmla="*/ 312502 h 369053"/>
                <a:gd name="connsiteX352" fmla="*/ 44393 w 265732"/>
                <a:gd name="connsiteY352" fmla="*/ 312035 h 369053"/>
                <a:gd name="connsiteX353" fmla="*/ 43765 w 265732"/>
                <a:gd name="connsiteY353" fmla="*/ 311065 h 369053"/>
                <a:gd name="connsiteX354" fmla="*/ 44300 w 265732"/>
                <a:gd name="connsiteY354" fmla="*/ 310551 h 369053"/>
                <a:gd name="connsiteX355" fmla="*/ 45846 w 265732"/>
                <a:gd name="connsiteY355" fmla="*/ 310514 h 369053"/>
                <a:gd name="connsiteX356" fmla="*/ 45971 w 265732"/>
                <a:gd name="connsiteY356" fmla="*/ 310187 h 369053"/>
                <a:gd name="connsiteX357" fmla="*/ 46146 w 265732"/>
                <a:gd name="connsiteY357" fmla="*/ 309723 h 369053"/>
                <a:gd name="connsiteX358" fmla="*/ 44950 w 265732"/>
                <a:gd name="connsiteY358" fmla="*/ 307170 h 369053"/>
                <a:gd name="connsiteX359" fmla="*/ 44812 w 265732"/>
                <a:gd name="connsiteY359" fmla="*/ 305952 h 369053"/>
                <a:gd name="connsiteX360" fmla="*/ 43151 w 265732"/>
                <a:gd name="connsiteY360" fmla="*/ 302250 h 369053"/>
                <a:gd name="connsiteX361" fmla="*/ 41257 w 265732"/>
                <a:gd name="connsiteY361" fmla="*/ 298735 h 369053"/>
                <a:gd name="connsiteX362" fmla="*/ 38407 w 265732"/>
                <a:gd name="connsiteY362" fmla="*/ 296188 h 369053"/>
                <a:gd name="connsiteX363" fmla="*/ 39418 w 265732"/>
                <a:gd name="connsiteY363" fmla="*/ 291988 h 369053"/>
                <a:gd name="connsiteX364" fmla="*/ 40569 w 265732"/>
                <a:gd name="connsiteY364" fmla="*/ 288184 h 369053"/>
                <a:gd name="connsiteX365" fmla="*/ 40340 w 265732"/>
                <a:gd name="connsiteY365" fmla="*/ 286349 h 369053"/>
                <a:gd name="connsiteX366" fmla="*/ 39899 w 265732"/>
                <a:gd name="connsiteY366" fmla="*/ 284114 h 369053"/>
                <a:gd name="connsiteX367" fmla="*/ 36410 w 265732"/>
                <a:gd name="connsiteY367" fmla="*/ 281660 h 369053"/>
                <a:gd name="connsiteX368" fmla="*/ 35891 w 265732"/>
                <a:gd name="connsiteY368" fmla="*/ 278196 h 369053"/>
                <a:gd name="connsiteX369" fmla="*/ 35038 w 265732"/>
                <a:gd name="connsiteY369" fmla="*/ 274472 h 369053"/>
                <a:gd name="connsiteX370" fmla="*/ 35360 w 265732"/>
                <a:gd name="connsiteY370" fmla="*/ 272185 h 369053"/>
                <a:gd name="connsiteX371" fmla="*/ 35928 w 265732"/>
                <a:gd name="connsiteY371" fmla="*/ 270433 h 369053"/>
                <a:gd name="connsiteX372" fmla="*/ 37075 w 265732"/>
                <a:gd name="connsiteY372" fmla="*/ 268687 h 369053"/>
                <a:gd name="connsiteX373" fmla="*/ 42864 w 265732"/>
                <a:gd name="connsiteY373" fmla="*/ 263167 h 369053"/>
                <a:gd name="connsiteX374" fmla="*/ 43218 w 265732"/>
                <a:gd name="connsiteY374" fmla="*/ 260279 h 369053"/>
                <a:gd name="connsiteX375" fmla="*/ 47142 w 265732"/>
                <a:gd name="connsiteY375" fmla="*/ 260069 h 369053"/>
                <a:gd name="connsiteX376" fmla="*/ 45321 w 265732"/>
                <a:gd name="connsiteY376" fmla="*/ 257484 h 369053"/>
                <a:gd name="connsiteX377" fmla="*/ 44892 w 265732"/>
                <a:gd name="connsiteY377" fmla="*/ 256031 h 369053"/>
                <a:gd name="connsiteX378" fmla="*/ 44801 w 265732"/>
                <a:gd name="connsiteY378" fmla="*/ 254334 h 369053"/>
                <a:gd name="connsiteX379" fmla="*/ 50446 w 265732"/>
                <a:gd name="connsiteY379" fmla="*/ 253171 h 369053"/>
                <a:gd name="connsiteX380" fmla="*/ 52553 w 265732"/>
                <a:gd name="connsiteY380" fmla="*/ 254126 h 369053"/>
                <a:gd name="connsiteX381" fmla="*/ 57520 w 265732"/>
                <a:gd name="connsiteY381" fmla="*/ 252946 h 369053"/>
                <a:gd name="connsiteX382" fmla="*/ 61929 w 265732"/>
                <a:gd name="connsiteY382" fmla="*/ 250636 h 369053"/>
                <a:gd name="connsiteX383" fmla="*/ 61851 w 265732"/>
                <a:gd name="connsiteY383" fmla="*/ 249407 h 369053"/>
                <a:gd name="connsiteX384" fmla="*/ 61174 w 265732"/>
                <a:gd name="connsiteY384" fmla="*/ 248306 h 369053"/>
                <a:gd name="connsiteX385" fmla="*/ 60238 w 265732"/>
                <a:gd name="connsiteY385" fmla="*/ 246185 h 369053"/>
                <a:gd name="connsiteX386" fmla="*/ 60901 w 265732"/>
                <a:gd name="connsiteY386" fmla="*/ 245596 h 369053"/>
                <a:gd name="connsiteX387" fmla="*/ 62510 w 265732"/>
                <a:gd name="connsiteY387" fmla="*/ 246029 h 369053"/>
                <a:gd name="connsiteX388" fmla="*/ 61772 w 265732"/>
                <a:gd name="connsiteY388" fmla="*/ 244974 h 369053"/>
                <a:gd name="connsiteX389" fmla="*/ 61906 w 265732"/>
                <a:gd name="connsiteY389" fmla="*/ 243861 h 369053"/>
                <a:gd name="connsiteX390" fmla="*/ 63661 w 265732"/>
                <a:gd name="connsiteY390" fmla="*/ 244324 h 369053"/>
                <a:gd name="connsiteX391" fmla="*/ 66527 w 265732"/>
                <a:gd name="connsiteY391" fmla="*/ 241214 h 369053"/>
                <a:gd name="connsiteX392" fmla="*/ 66630 w 265732"/>
                <a:gd name="connsiteY392" fmla="*/ 238835 h 369053"/>
                <a:gd name="connsiteX393" fmla="*/ 71582 w 265732"/>
                <a:gd name="connsiteY393" fmla="*/ 237590 h 369053"/>
                <a:gd name="connsiteX394" fmla="*/ 77291 w 265732"/>
                <a:gd name="connsiteY394" fmla="*/ 232724 h 369053"/>
                <a:gd name="connsiteX395" fmla="*/ 79926 w 265732"/>
                <a:gd name="connsiteY395" fmla="*/ 231207 h 369053"/>
                <a:gd name="connsiteX396" fmla="*/ 82471 w 265732"/>
                <a:gd name="connsiteY396" fmla="*/ 230108 h 369053"/>
                <a:gd name="connsiteX397" fmla="*/ 87894 w 265732"/>
                <a:gd name="connsiteY397" fmla="*/ 225229 h 369053"/>
                <a:gd name="connsiteX398" fmla="*/ 90215 w 265732"/>
                <a:gd name="connsiteY398" fmla="*/ 225002 h 369053"/>
                <a:gd name="connsiteX399" fmla="*/ 91409 w 265732"/>
                <a:gd name="connsiteY399" fmla="*/ 221706 h 369053"/>
                <a:gd name="connsiteX400" fmla="*/ 96020 w 265732"/>
                <a:gd name="connsiteY400" fmla="*/ 217312 h 369053"/>
                <a:gd name="connsiteX401" fmla="*/ 97421 w 265732"/>
                <a:gd name="connsiteY401" fmla="*/ 216749 h 369053"/>
                <a:gd name="connsiteX402" fmla="*/ 99576 w 265732"/>
                <a:gd name="connsiteY402" fmla="*/ 212779 h 369053"/>
                <a:gd name="connsiteX403" fmla="*/ 105238 w 265732"/>
                <a:gd name="connsiteY403" fmla="*/ 208180 h 369053"/>
                <a:gd name="connsiteX404" fmla="*/ 108827 w 265732"/>
                <a:gd name="connsiteY404" fmla="*/ 202302 h 369053"/>
                <a:gd name="connsiteX405" fmla="*/ 110807 w 265732"/>
                <a:gd name="connsiteY405" fmla="*/ 200210 h 369053"/>
                <a:gd name="connsiteX406" fmla="*/ 111420 w 265732"/>
                <a:gd name="connsiteY406" fmla="*/ 197980 h 369053"/>
                <a:gd name="connsiteX407" fmla="*/ 113625 w 265732"/>
                <a:gd name="connsiteY407" fmla="*/ 197791 h 369053"/>
                <a:gd name="connsiteX408" fmla="*/ 115614 w 265732"/>
                <a:gd name="connsiteY408" fmla="*/ 196151 h 369053"/>
                <a:gd name="connsiteX409" fmla="*/ 119917 w 265732"/>
                <a:gd name="connsiteY409" fmla="*/ 195007 h 369053"/>
                <a:gd name="connsiteX410" fmla="*/ 124165 w 265732"/>
                <a:gd name="connsiteY410" fmla="*/ 195324 h 369053"/>
                <a:gd name="connsiteX411" fmla="*/ 125934 w 265732"/>
                <a:gd name="connsiteY411" fmla="*/ 196102 h 369053"/>
                <a:gd name="connsiteX412" fmla="*/ 127568 w 265732"/>
                <a:gd name="connsiteY412" fmla="*/ 195855 h 369053"/>
                <a:gd name="connsiteX413" fmla="*/ 127404 w 265732"/>
                <a:gd name="connsiteY413" fmla="*/ 193846 h 369053"/>
                <a:gd name="connsiteX414" fmla="*/ 126238 w 265732"/>
                <a:gd name="connsiteY414" fmla="*/ 192604 h 369053"/>
                <a:gd name="connsiteX415" fmla="*/ 127190 w 265732"/>
                <a:gd name="connsiteY415" fmla="*/ 191411 h 369053"/>
                <a:gd name="connsiteX416" fmla="*/ 129436 w 265732"/>
                <a:gd name="connsiteY416" fmla="*/ 190506 h 369053"/>
                <a:gd name="connsiteX417" fmla="*/ 129207 w 265732"/>
                <a:gd name="connsiteY417" fmla="*/ 188505 h 369053"/>
                <a:gd name="connsiteX418" fmla="*/ 128719 w 265732"/>
                <a:gd name="connsiteY418" fmla="*/ 187300 h 369053"/>
                <a:gd name="connsiteX419" fmla="*/ 126853 w 265732"/>
                <a:gd name="connsiteY419" fmla="*/ 185694 h 369053"/>
                <a:gd name="connsiteX420" fmla="*/ 127782 w 265732"/>
                <a:gd name="connsiteY420" fmla="*/ 182092 h 369053"/>
                <a:gd name="connsiteX421" fmla="*/ 128004 w 265732"/>
                <a:gd name="connsiteY421" fmla="*/ 178137 h 369053"/>
                <a:gd name="connsiteX422" fmla="*/ 128888 w 265732"/>
                <a:gd name="connsiteY422" fmla="*/ 173559 h 369053"/>
                <a:gd name="connsiteX423" fmla="*/ 126542 w 265732"/>
                <a:gd name="connsiteY423" fmla="*/ 171129 h 369053"/>
                <a:gd name="connsiteX424" fmla="*/ 117644 w 265732"/>
                <a:gd name="connsiteY424" fmla="*/ 166987 h 369053"/>
                <a:gd name="connsiteX425" fmla="*/ 115983 w 265732"/>
                <a:gd name="connsiteY425" fmla="*/ 167131 h 369053"/>
                <a:gd name="connsiteX426" fmla="*/ 114007 w 265732"/>
                <a:gd name="connsiteY426" fmla="*/ 166611 h 369053"/>
                <a:gd name="connsiteX427" fmla="*/ 111943 w 265732"/>
                <a:gd name="connsiteY427" fmla="*/ 163467 h 369053"/>
                <a:gd name="connsiteX428" fmla="*/ 112865 w 265732"/>
                <a:gd name="connsiteY428" fmla="*/ 160750 h 369053"/>
                <a:gd name="connsiteX429" fmla="*/ 112971 w 265732"/>
                <a:gd name="connsiteY429" fmla="*/ 159748 h 369053"/>
                <a:gd name="connsiteX430" fmla="*/ 112165 w 265732"/>
                <a:gd name="connsiteY430" fmla="*/ 159778 h 369053"/>
                <a:gd name="connsiteX431" fmla="*/ 110861 w 265732"/>
                <a:gd name="connsiteY431" fmla="*/ 161103 h 369053"/>
                <a:gd name="connsiteX432" fmla="*/ 108023 w 265732"/>
                <a:gd name="connsiteY432" fmla="*/ 162617 h 369053"/>
                <a:gd name="connsiteX433" fmla="*/ 104335 w 265732"/>
                <a:gd name="connsiteY433" fmla="*/ 161455 h 369053"/>
                <a:gd name="connsiteX434" fmla="*/ 102521 w 265732"/>
                <a:gd name="connsiteY434" fmla="*/ 161713 h 369053"/>
                <a:gd name="connsiteX435" fmla="*/ 100168 w 265732"/>
                <a:gd name="connsiteY435" fmla="*/ 154976 h 369053"/>
                <a:gd name="connsiteX436" fmla="*/ 98965 w 265732"/>
                <a:gd name="connsiteY436" fmla="*/ 152396 h 369053"/>
                <a:gd name="connsiteX437" fmla="*/ 97035 w 265732"/>
                <a:gd name="connsiteY437" fmla="*/ 149175 h 369053"/>
                <a:gd name="connsiteX438" fmla="*/ 93588 w 265732"/>
                <a:gd name="connsiteY438" fmla="*/ 147600 h 369053"/>
                <a:gd name="connsiteX439" fmla="*/ 92914 w 265732"/>
                <a:gd name="connsiteY439" fmla="*/ 146709 h 369053"/>
                <a:gd name="connsiteX440" fmla="*/ 92457 w 265732"/>
                <a:gd name="connsiteY440" fmla="*/ 145343 h 369053"/>
                <a:gd name="connsiteX441" fmla="*/ 92307 w 265732"/>
                <a:gd name="connsiteY441" fmla="*/ 143444 h 369053"/>
                <a:gd name="connsiteX442" fmla="*/ 91871 w 265732"/>
                <a:gd name="connsiteY442" fmla="*/ 140631 h 369053"/>
                <a:gd name="connsiteX443" fmla="*/ 92053 w 265732"/>
                <a:gd name="connsiteY443" fmla="*/ 138321 h 369053"/>
                <a:gd name="connsiteX444" fmla="*/ 92476 w 265732"/>
                <a:gd name="connsiteY444" fmla="*/ 136943 h 369053"/>
                <a:gd name="connsiteX445" fmla="*/ 93961 w 265732"/>
                <a:gd name="connsiteY445" fmla="*/ 136017 h 369053"/>
                <a:gd name="connsiteX446" fmla="*/ 96110 w 265732"/>
                <a:gd name="connsiteY446" fmla="*/ 133403 h 369053"/>
                <a:gd name="connsiteX447" fmla="*/ 96559 w 265732"/>
                <a:gd name="connsiteY447" fmla="*/ 131501 h 369053"/>
                <a:gd name="connsiteX448" fmla="*/ 96743 w 265732"/>
                <a:gd name="connsiteY448" fmla="*/ 128581 h 369053"/>
                <a:gd name="connsiteX449" fmla="*/ 97732 w 265732"/>
                <a:gd name="connsiteY449" fmla="*/ 126028 h 369053"/>
                <a:gd name="connsiteX450" fmla="*/ 98831 w 265732"/>
                <a:gd name="connsiteY450" fmla="*/ 124736 h 369053"/>
                <a:gd name="connsiteX451" fmla="*/ 98555 w 265732"/>
                <a:gd name="connsiteY451" fmla="*/ 123708 h 369053"/>
                <a:gd name="connsiteX452" fmla="*/ 97797 w 265732"/>
                <a:gd name="connsiteY452" fmla="*/ 122236 h 369053"/>
                <a:gd name="connsiteX453" fmla="*/ 96194 w 265732"/>
                <a:gd name="connsiteY453" fmla="*/ 120145 h 369053"/>
                <a:gd name="connsiteX454" fmla="*/ 93754 w 265732"/>
                <a:gd name="connsiteY454" fmla="*/ 117593 h 369053"/>
                <a:gd name="connsiteX455" fmla="*/ 91949 w 265732"/>
                <a:gd name="connsiteY455" fmla="*/ 115149 h 369053"/>
                <a:gd name="connsiteX456" fmla="*/ 91157 w 265732"/>
                <a:gd name="connsiteY456" fmla="*/ 112862 h 369053"/>
                <a:gd name="connsiteX457" fmla="*/ 90749 w 265732"/>
                <a:gd name="connsiteY457" fmla="*/ 110816 h 369053"/>
                <a:gd name="connsiteX458" fmla="*/ 90815 w 265732"/>
                <a:gd name="connsiteY458" fmla="*/ 108953 h 369053"/>
                <a:gd name="connsiteX459" fmla="*/ 91491 w 265732"/>
                <a:gd name="connsiteY459" fmla="*/ 107684 h 369053"/>
                <a:gd name="connsiteX460" fmla="*/ 93798 w 265732"/>
                <a:gd name="connsiteY460" fmla="*/ 106085 h 369053"/>
                <a:gd name="connsiteX461" fmla="*/ 94106 w 265732"/>
                <a:gd name="connsiteY461" fmla="*/ 105406 h 369053"/>
                <a:gd name="connsiteX462" fmla="*/ 93193 w 265732"/>
                <a:gd name="connsiteY462" fmla="*/ 101868 h 369053"/>
                <a:gd name="connsiteX463" fmla="*/ 91584 w 265732"/>
                <a:gd name="connsiteY463" fmla="*/ 101223 h 369053"/>
                <a:gd name="connsiteX464" fmla="*/ 88848 w 265732"/>
                <a:gd name="connsiteY464" fmla="*/ 100880 h 369053"/>
                <a:gd name="connsiteX465" fmla="*/ 87322 w 265732"/>
                <a:gd name="connsiteY465" fmla="*/ 100851 h 369053"/>
                <a:gd name="connsiteX466" fmla="*/ 87030 w 265732"/>
                <a:gd name="connsiteY466" fmla="*/ 100464 h 369053"/>
                <a:gd name="connsiteX467" fmla="*/ 86955 w 265732"/>
                <a:gd name="connsiteY467" fmla="*/ 99751 h 369053"/>
                <a:gd name="connsiteX468" fmla="*/ 87263 w 265732"/>
                <a:gd name="connsiteY468" fmla="*/ 98297 h 369053"/>
                <a:gd name="connsiteX469" fmla="*/ 88127 w 265732"/>
                <a:gd name="connsiteY469" fmla="*/ 96629 h 369053"/>
                <a:gd name="connsiteX470" fmla="*/ 88846 w 265732"/>
                <a:gd name="connsiteY470" fmla="*/ 95566 h 369053"/>
                <a:gd name="connsiteX471" fmla="*/ 88941 w 265732"/>
                <a:gd name="connsiteY471" fmla="*/ 94664 h 369053"/>
                <a:gd name="connsiteX472" fmla="*/ 88032 w 265732"/>
                <a:gd name="connsiteY472" fmla="*/ 91575 h 369053"/>
                <a:gd name="connsiteX473" fmla="*/ 87758 w 265732"/>
                <a:gd name="connsiteY473" fmla="*/ 87780 h 369053"/>
                <a:gd name="connsiteX474" fmla="*/ 88069 w 265732"/>
                <a:gd name="connsiteY474" fmla="*/ 84803 h 369053"/>
                <a:gd name="connsiteX475" fmla="*/ 90967 w 265732"/>
                <a:gd name="connsiteY475" fmla="*/ 82604 h 369053"/>
                <a:gd name="connsiteX476" fmla="*/ 91098 w 265732"/>
                <a:gd name="connsiteY476" fmla="*/ 81800 h 369053"/>
                <a:gd name="connsiteX477" fmla="*/ 87458 w 265732"/>
                <a:gd name="connsiteY477" fmla="*/ 79410 h 369053"/>
                <a:gd name="connsiteX478" fmla="*/ 84832 w 265732"/>
                <a:gd name="connsiteY478" fmla="*/ 76697 h 369053"/>
                <a:gd name="connsiteX479" fmla="*/ 84016 w 265732"/>
                <a:gd name="connsiteY479" fmla="*/ 75112 h 369053"/>
                <a:gd name="connsiteX480" fmla="*/ 81007 w 265732"/>
                <a:gd name="connsiteY480" fmla="*/ 74872 h 369053"/>
                <a:gd name="connsiteX481" fmla="*/ 79135 w 265732"/>
                <a:gd name="connsiteY481" fmla="*/ 70260 h 369053"/>
                <a:gd name="connsiteX482" fmla="*/ 76427 w 265732"/>
                <a:gd name="connsiteY482" fmla="*/ 68010 h 369053"/>
                <a:gd name="connsiteX483" fmla="*/ 73745 w 265732"/>
                <a:gd name="connsiteY483" fmla="*/ 66065 h 369053"/>
                <a:gd name="connsiteX484" fmla="*/ 72160 w 265732"/>
                <a:gd name="connsiteY484" fmla="*/ 65159 h 369053"/>
                <a:gd name="connsiteX485" fmla="*/ 62866 w 265732"/>
                <a:gd name="connsiteY485" fmla="*/ 62360 h 369053"/>
                <a:gd name="connsiteX486" fmla="*/ 59174 w 265732"/>
                <a:gd name="connsiteY486" fmla="*/ 61827 h 369053"/>
                <a:gd name="connsiteX487" fmla="*/ 54803 w 265732"/>
                <a:gd name="connsiteY487" fmla="*/ 60192 h 369053"/>
                <a:gd name="connsiteX488" fmla="*/ 51547 w 265732"/>
                <a:gd name="connsiteY488" fmla="*/ 58137 h 369053"/>
                <a:gd name="connsiteX489" fmla="*/ 48757 w 265732"/>
                <a:gd name="connsiteY489" fmla="*/ 56814 h 369053"/>
                <a:gd name="connsiteX490" fmla="*/ 46369 w 265732"/>
                <a:gd name="connsiteY490" fmla="*/ 55182 h 369053"/>
                <a:gd name="connsiteX491" fmla="*/ 43039 w 265732"/>
                <a:gd name="connsiteY491" fmla="*/ 53654 h 369053"/>
                <a:gd name="connsiteX492" fmla="*/ 42087 w 265732"/>
                <a:gd name="connsiteY492" fmla="*/ 52347 h 369053"/>
                <a:gd name="connsiteX493" fmla="*/ 38491 w 265732"/>
                <a:gd name="connsiteY493" fmla="*/ 49924 h 369053"/>
                <a:gd name="connsiteX494" fmla="*/ 36803 w 265732"/>
                <a:gd name="connsiteY494" fmla="*/ 48328 h 369053"/>
                <a:gd name="connsiteX495" fmla="*/ 30946 w 265732"/>
                <a:gd name="connsiteY495" fmla="*/ 45309 h 369053"/>
                <a:gd name="connsiteX496" fmla="*/ 30735 w 265732"/>
                <a:gd name="connsiteY496" fmla="*/ 44117 h 369053"/>
                <a:gd name="connsiteX497" fmla="*/ 30692 w 265732"/>
                <a:gd name="connsiteY497" fmla="*/ 42966 h 369053"/>
                <a:gd name="connsiteX498" fmla="*/ 30428 w 265732"/>
                <a:gd name="connsiteY498" fmla="*/ 42488 h 369053"/>
                <a:gd name="connsiteX499" fmla="*/ 24392 w 265732"/>
                <a:gd name="connsiteY499" fmla="*/ 40278 h 369053"/>
                <a:gd name="connsiteX500" fmla="*/ 25580 w 265732"/>
                <a:gd name="connsiteY500" fmla="*/ 39013 h 369053"/>
                <a:gd name="connsiteX501" fmla="*/ 30299 w 265732"/>
                <a:gd name="connsiteY501" fmla="*/ 38937 h 369053"/>
                <a:gd name="connsiteX502" fmla="*/ 34201 w 265732"/>
                <a:gd name="connsiteY502" fmla="*/ 40088 h 369053"/>
                <a:gd name="connsiteX503" fmla="*/ 35058 w 265732"/>
                <a:gd name="connsiteY503" fmla="*/ 39596 h 369053"/>
                <a:gd name="connsiteX504" fmla="*/ 35574 w 265732"/>
                <a:gd name="connsiteY504" fmla="*/ 38573 h 369053"/>
                <a:gd name="connsiteX505" fmla="*/ 33911 w 265732"/>
                <a:gd name="connsiteY505" fmla="*/ 34464 h 369053"/>
                <a:gd name="connsiteX506" fmla="*/ 34209 w 265732"/>
                <a:gd name="connsiteY506" fmla="*/ 33393 h 369053"/>
                <a:gd name="connsiteX507" fmla="*/ 35926 w 265732"/>
                <a:gd name="connsiteY507" fmla="*/ 32102 h 369053"/>
                <a:gd name="connsiteX508" fmla="*/ 38647 w 265732"/>
                <a:gd name="connsiteY508" fmla="*/ 31074 h 369053"/>
                <a:gd name="connsiteX509" fmla="*/ 42946 w 265732"/>
                <a:gd name="connsiteY509" fmla="*/ 30925 h 369053"/>
                <a:gd name="connsiteX510" fmla="*/ 45876 w 265732"/>
                <a:gd name="connsiteY510" fmla="*/ 31077 h 369053"/>
                <a:gd name="connsiteX511" fmla="*/ 46496 w 265732"/>
                <a:gd name="connsiteY511" fmla="*/ 31189 h 369053"/>
                <a:gd name="connsiteX512" fmla="*/ 50873 w 265732"/>
                <a:gd name="connsiteY512" fmla="*/ 35711 h 369053"/>
                <a:gd name="connsiteX513" fmla="*/ 54626 w 265732"/>
                <a:gd name="connsiteY513" fmla="*/ 40113 h 369053"/>
                <a:gd name="connsiteX514" fmla="*/ 56622 w 265732"/>
                <a:gd name="connsiteY514" fmla="*/ 41986 h 369053"/>
                <a:gd name="connsiteX515" fmla="*/ 61502 w 265732"/>
                <a:gd name="connsiteY515" fmla="*/ 47283 h 369053"/>
                <a:gd name="connsiteX516" fmla="*/ 63327 w 265732"/>
                <a:gd name="connsiteY516" fmla="*/ 50342 h 369053"/>
                <a:gd name="connsiteX517" fmla="*/ 63946 w 265732"/>
                <a:gd name="connsiteY517" fmla="*/ 52530 h 369053"/>
                <a:gd name="connsiteX518" fmla="*/ 65931 w 265732"/>
                <a:gd name="connsiteY518" fmla="*/ 52516 h 369053"/>
                <a:gd name="connsiteX519" fmla="*/ 72793 w 265732"/>
                <a:gd name="connsiteY519" fmla="*/ 53475 h 369053"/>
                <a:gd name="connsiteX520" fmla="*/ 78557 w 265732"/>
                <a:gd name="connsiteY520" fmla="*/ 54282 h 369053"/>
                <a:gd name="connsiteX521" fmla="*/ 80163 w 265732"/>
                <a:gd name="connsiteY521" fmla="*/ 55505 h 369053"/>
                <a:gd name="connsiteX522" fmla="*/ 84137 w 265732"/>
                <a:gd name="connsiteY522" fmla="*/ 55259 h 369053"/>
                <a:gd name="connsiteX523" fmla="*/ 87198 w 265732"/>
                <a:gd name="connsiteY523" fmla="*/ 54156 h 369053"/>
                <a:gd name="connsiteX524" fmla="*/ 92605 w 265732"/>
                <a:gd name="connsiteY524" fmla="*/ 52761 h 369053"/>
                <a:gd name="connsiteX525" fmla="*/ 94055 w 265732"/>
                <a:gd name="connsiteY525" fmla="*/ 51044 h 369053"/>
                <a:gd name="connsiteX526" fmla="*/ 95855 w 265732"/>
                <a:gd name="connsiteY526" fmla="*/ 49212 h 369053"/>
                <a:gd name="connsiteX527" fmla="*/ 99026 w 265732"/>
                <a:gd name="connsiteY527" fmla="*/ 49500 h 369053"/>
                <a:gd name="connsiteX528" fmla="*/ 102491 w 265732"/>
                <a:gd name="connsiteY528" fmla="*/ 50949 h 369053"/>
                <a:gd name="connsiteX529" fmla="*/ 106425 w 265732"/>
                <a:gd name="connsiteY529" fmla="*/ 52851 h 369053"/>
                <a:gd name="connsiteX530" fmla="*/ 109930 w 265732"/>
                <a:gd name="connsiteY530" fmla="*/ 53731 h 369053"/>
                <a:gd name="connsiteX531" fmla="*/ 114633 w 265732"/>
                <a:gd name="connsiteY531" fmla="*/ 55111 h 369053"/>
                <a:gd name="connsiteX532" fmla="*/ 116827 w 265732"/>
                <a:gd name="connsiteY532" fmla="*/ 56893 h 369053"/>
                <a:gd name="connsiteX533" fmla="*/ 119900 w 265732"/>
                <a:gd name="connsiteY533" fmla="*/ 57401 h 369053"/>
                <a:gd name="connsiteX534" fmla="*/ 123117 w 265732"/>
                <a:gd name="connsiteY534" fmla="*/ 55620 h 369053"/>
                <a:gd name="connsiteX535" fmla="*/ 125018 w 265732"/>
                <a:gd name="connsiteY535" fmla="*/ 50779 h 369053"/>
                <a:gd name="connsiteX536" fmla="*/ 126704 w 265732"/>
                <a:gd name="connsiteY536" fmla="*/ 48616 h 369053"/>
                <a:gd name="connsiteX537" fmla="*/ 129093 w 265732"/>
                <a:gd name="connsiteY537" fmla="*/ 47028 h 369053"/>
                <a:gd name="connsiteX538" fmla="*/ 131829 w 265732"/>
                <a:gd name="connsiteY538" fmla="*/ 46327 h 369053"/>
                <a:gd name="connsiteX539" fmla="*/ 133917 w 265732"/>
                <a:gd name="connsiteY539" fmla="*/ 46073 h 369053"/>
                <a:gd name="connsiteX540" fmla="*/ 135495 w 265732"/>
                <a:gd name="connsiteY540" fmla="*/ 44837 h 369053"/>
                <a:gd name="connsiteX541" fmla="*/ 137743 w 265732"/>
                <a:gd name="connsiteY541" fmla="*/ 42089 h 369053"/>
                <a:gd name="connsiteX542" fmla="*/ 138182 w 265732"/>
                <a:gd name="connsiteY542" fmla="*/ 38755 h 369053"/>
                <a:gd name="connsiteX543" fmla="*/ 137750 w 265732"/>
                <a:gd name="connsiteY543" fmla="*/ 32718 h 369053"/>
                <a:gd name="connsiteX544" fmla="*/ 138160 w 265732"/>
                <a:gd name="connsiteY544" fmla="*/ 30723 h 369053"/>
                <a:gd name="connsiteX545" fmla="*/ 139996 w 265732"/>
                <a:gd name="connsiteY545" fmla="*/ 27454 h 369053"/>
                <a:gd name="connsiteX546" fmla="*/ 142457 w 265732"/>
                <a:gd name="connsiteY546" fmla="*/ 18764 h 369053"/>
                <a:gd name="connsiteX547" fmla="*/ 143563 w 265732"/>
                <a:gd name="connsiteY547" fmla="*/ 16253 h 369053"/>
                <a:gd name="connsiteX548" fmla="*/ 144910 w 265732"/>
                <a:gd name="connsiteY548" fmla="*/ 14724 h 369053"/>
                <a:gd name="connsiteX549" fmla="*/ 146761 w 265732"/>
                <a:gd name="connsiteY549" fmla="*/ 13814 h 369053"/>
                <a:gd name="connsiteX550" fmla="*/ 150123 w 265732"/>
                <a:gd name="connsiteY550" fmla="*/ 11169 h 369053"/>
                <a:gd name="connsiteX551" fmla="*/ 154925 w 265732"/>
                <a:gd name="connsiteY551" fmla="*/ 5923 h 369053"/>
                <a:gd name="connsiteX552" fmla="*/ 156227 w 265732"/>
                <a:gd name="connsiteY552" fmla="*/ 5477 h 369053"/>
                <a:gd name="connsiteX553" fmla="*/ 159676 w 265732"/>
                <a:gd name="connsiteY553" fmla="*/ 5211 h 369053"/>
                <a:gd name="connsiteX554" fmla="*/ 163967 w 265732"/>
                <a:gd name="connsiteY554" fmla="*/ 5406 h 369053"/>
                <a:gd name="connsiteX555" fmla="*/ 167823 w 265732"/>
                <a:gd name="connsiteY555" fmla="*/ 6331 h 369053"/>
                <a:gd name="connsiteX556" fmla="*/ 168240 w 265732"/>
                <a:gd name="connsiteY556" fmla="*/ 6260 h 369053"/>
                <a:gd name="connsiteX557" fmla="*/ 169968 w 265732"/>
                <a:gd name="connsiteY557" fmla="*/ 5778 h 369053"/>
                <a:gd name="connsiteX558" fmla="*/ 173116 w 265732"/>
                <a:gd name="connsiteY558" fmla="*/ 4145 h 369053"/>
                <a:gd name="connsiteX559" fmla="*/ 178504 w 265732"/>
                <a:gd name="connsiteY559" fmla="*/ 895 h 36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265732" h="369053">
                  <a:moveTo>
                    <a:pt x="21473" y="360506"/>
                  </a:moveTo>
                  <a:lnTo>
                    <a:pt x="23220" y="360680"/>
                  </a:lnTo>
                  <a:lnTo>
                    <a:pt x="24153" y="361638"/>
                  </a:lnTo>
                  <a:lnTo>
                    <a:pt x="23978" y="362422"/>
                  </a:lnTo>
                  <a:lnTo>
                    <a:pt x="22173" y="362597"/>
                  </a:lnTo>
                  <a:lnTo>
                    <a:pt x="21415" y="361899"/>
                  </a:lnTo>
                  <a:lnTo>
                    <a:pt x="19728" y="361986"/>
                  </a:lnTo>
                  <a:lnTo>
                    <a:pt x="19435" y="361638"/>
                  </a:lnTo>
                  <a:lnTo>
                    <a:pt x="20134" y="360942"/>
                  </a:lnTo>
                  <a:close/>
                  <a:moveTo>
                    <a:pt x="45306" y="357280"/>
                  </a:moveTo>
                  <a:lnTo>
                    <a:pt x="46768" y="357390"/>
                  </a:lnTo>
                  <a:lnTo>
                    <a:pt x="47079" y="358322"/>
                  </a:lnTo>
                  <a:lnTo>
                    <a:pt x="46641" y="359417"/>
                  </a:lnTo>
                  <a:lnTo>
                    <a:pt x="44702" y="359744"/>
                  </a:lnTo>
                  <a:lnTo>
                    <a:pt x="43494" y="358787"/>
                  </a:lnTo>
                  <a:lnTo>
                    <a:pt x="43953" y="358075"/>
                  </a:lnTo>
                  <a:close/>
                  <a:moveTo>
                    <a:pt x="51860" y="356303"/>
                  </a:moveTo>
                  <a:lnTo>
                    <a:pt x="51171" y="358333"/>
                  </a:lnTo>
                  <a:lnTo>
                    <a:pt x="48958" y="359471"/>
                  </a:lnTo>
                  <a:lnTo>
                    <a:pt x="48115" y="359200"/>
                  </a:lnTo>
                  <a:lnTo>
                    <a:pt x="48332" y="357280"/>
                  </a:lnTo>
                  <a:lnTo>
                    <a:pt x="49647" y="356401"/>
                  </a:lnTo>
                  <a:close/>
                  <a:moveTo>
                    <a:pt x="2428" y="354834"/>
                  </a:moveTo>
                  <a:lnTo>
                    <a:pt x="3168" y="356788"/>
                  </a:lnTo>
                  <a:lnTo>
                    <a:pt x="3283" y="357531"/>
                  </a:lnTo>
                  <a:lnTo>
                    <a:pt x="2436" y="357345"/>
                  </a:lnTo>
                  <a:lnTo>
                    <a:pt x="1786" y="357599"/>
                  </a:lnTo>
                  <a:lnTo>
                    <a:pt x="1345" y="358514"/>
                  </a:lnTo>
                  <a:lnTo>
                    <a:pt x="387" y="358186"/>
                  </a:lnTo>
                  <a:lnTo>
                    <a:pt x="0" y="356874"/>
                  </a:lnTo>
                  <a:lnTo>
                    <a:pt x="715" y="354909"/>
                  </a:lnTo>
                  <a:close/>
                  <a:moveTo>
                    <a:pt x="58731" y="350695"/>
                  </a:moveTo>
                  <a:lnTo>
                    <a:pt x="61532" y="351466"/>
                  </a:lnTo>
                  <a:lnTo>
                    <a:pt x="62709" y="351190"/>
                  </a:lnTo>
                  <a:lnTo>
                    <a:pt x="64047" y="352933"/>
                  </a:lnTo>
                  <a:lnTo>
                    <a:pt x="61778" y="354042"/>
                  </a:lnTo>
                  <a:lnTo>
                    <a:pt x="61620" y="355416"/>
                  </a:lnTo>
                  <a:lnTo>
                    <a:pt x="62517" y="356269"/>
                  </a:lnTo>
                  <a:lnTo>
                    <a:pt x="62832" y="357503"/>
                  </a:lnTo>
                  <a:lnTo>
                    <a:pt x="60571" y="357502"/>
                  </a:lnTo>
                  <a:lnTo>
                    <a:pt x="59489" y="356463"/>
                  </a:lnTo>
                  <a:lnTo>
                    <a:pt x="59018" y="355144"/>
                  </a:lnTo>
                  <a:lnTo>
                    <a:pt x="57967" y="354210"/>
                  </a:lnTo>
                  <a:lnTo>
                    <a:pt x="56565" y="353499"/>
                  </a:lnTo>
                  <a:lnTo>
                    <a:pt x="57252" y="352551"/>
                  </a:lnTo>
                  <a:lnTo>
                    <a:pt x="57643" y="351190"/>
                  </a:lnTo>
                  <a:close/>
                  <a:moveTo>
                    <a:pt x="8165" y="349529"/>
                  </a:moveTo>
                  <a:lnTo>
                    <a:pt x="9409" y="351135"/>
                  </a:lnTo>
                  <a:lnTo>
                    <a:pt x="10404" y="351345"/>
                  </a:lnTo>
                  <a:lnTo>
                    <a:pt x="11082" y="351355"/>
                  </a:lnTo>
                  <a:lnTo>
                    <a:pt x="11384" y="351075"/>
                  </a:lnTo>
                  <a:lnTo>
                    <a:pt x="12568" y="351271"/>
                  </a:lnTo>
                  <a:lnTo>
                    <a:pt x="14347" y="352557"/>
                  </a:lnTo>
                  <a:lnTo>
                    <a:pt x="14705" y="353253"/>
                  </a:lnTo>
                  <a:lnTo>
                    <a:pt x="15932" y="353609"/>
                  </a:lnTo>
                  <a:lnTo>
                    <a:pt x="16360" y="354330"/>
                  </a:lnTo>
                  <a:lnTo>
                    <a:pt x="14941" y="356576"/>
                  </a:lnTo>
                  <a:lnTo>
                    <a:pt x="14064" y="356618"/>
                  </a:lnTo>
                  <a:lnTo>
                    <a:pt x="13410" y="356334"/>
                  </a:lnTo>
                  <a:lnTo>
                    <a:pt x="12255" y="356579"/>
                  </a:lnTo>
                  <a:lnTo>
                    <a:pt x="11577" y="357004"/>
                  </a:lnTo>
                  <a:lnTo>
                    <a:pt x="11350" y="357937"/>
                  </a:lnTo>
                  <a:lnTo>
                    <a:pt x="11387" y="359888"/>
                  </a:lnTo>
                  <a:lnTo>
                    <a:pt x="6208" y="360279"/>
                  </a:lnTo>
                  <a:lnTo>
                    <a:pt x="5018" y="359709"/>
                  </a:lnTo>
                  <a:lnTo>
                    <a:pt x="3388" y="355268"/>
                  </a:lnTo>
                  <a:lnTo>
                    <a:pt x="3712" y="354120"/>
                  </a:lnTo>
                  <a:lnTo>
                    <a:pt x="4809" y="353630"/>
                  </a:lnTo>
                  <a:lnTo>
                    <a:pt x="5749" y="353525"/>
                  </a:lnTo>
                  <a:lnTo>
                    <a:pt x="5887" y="355919"/>
                  </a:lnTo>
                  <a:lnTo>
                    <a:pt x="7266" y="355681"/>
                  </a:lnTo>
                  <a:lnTo>
                    <a:pt x="7699" y="354103"/>
                  </a:lnTo>
                  <a:lnTo>
                    <a:pt x="7795" y="352992"/>
                  </a:lnTo>
                  <a:lnTo>
                    <a:pt x="7422" y="352431"/>
                  </a:lnTo>
                  <a:lnTo>
                    <a:pt x="6485" y="351996"/>
                  </a:lnTo>
                  <a:lnTo>
                    <a:pt x="5943" y="351250"/>
                  </a:lnTo>
                  <a:lnTo>
                    <a:pt x="6722" y="350049"/>
                  </a:lnTo>
                  <a:close/>
                  <a:moveTo>
                    <a:pt x="51039" y="347396"/>
                  </a:moveTo>
                  <a:lnTo>
                    <a:pt x="52799" y="348443"/>
                  </a:lnTo>
                  <a:lnTo>
                    <a:pt x="53760" y="349666"/>
                  </a:lnTo>
                  <a:lnTo>
                    <a:pt x="52821" y="349950"/>
                  </a:lnTo>
                  <a:lnTo>
                    <a:pt x="54412" y="351211"/>
                  </a:lnTo>
                  <a:lnTo>
                    <a:pt x="54732" y="351827"/>
                  </a:lnTo>
                  <a:lnTo>
                    <a:pt x="53123" y="351973"/>
                  </a:lnTo>
                  <a:lnTo>
                    <a:pt x="50849" y="350326"/>
                  </a:lnTo>
                  <a:lnTo>
                    <a:pt x="50562" y="349682"/>
                  </a:lnTo>
                  <a:lnTo>
                    <a:pt x="51454" y="349308"/>
                  </a:lnTo>
                  <a:lnTo>
                    <a:pt x="50865" y="347983"/>
                  </a:lnTo>
                  <a:close/>
                  <a:moveTo>
                    <a:pt x="38675" y="341784"/>
                  </a:moveTo>
                  <a:lnTo>
                    <a:pt x="39409" y="343210"/>
                  </a:lnTo>
                  <a:lnTo>
                    <a:pt x="42717" y="345409"/>
                  </a:lnTo>
                  <a:lnTo>
                    <a:pt x="42408" y="346959"/>
                  </a:lnTo>
                  <a:lnTo>
                    <a:pt x="40908" y="346787"/>
                  </a:lnTo>
                  <a:lnTo>
                    <a:pt x="39381" y="347068"/>
                  </a:lnTo>
                  <a:lnTo>
                    <a:pt x="38150" y="345529"/>
                  </a:lnTo>
                  <a:lnTo>
                    <a:pt x="37491" y="342933"/>
                  </a:lnTo>
                  <a:lnTo>
                    <a:pt x="37716" y="342374"/>
                  </a:lnTo>
                  <a:close/>
                  <a:moveTo>
                    <a:pt x="37973" y="251776"/>
                  </a:moveTo>
                  <a:lnTo>
                    <a:pt x="37651" y="252424"/>
                  </a:lnTo>
                  <a:lnTo>
                    <a:pt x="37563" y="253045"/>
                  </a:lnTo>
                  <a:lnTo>
                    <a:pt x="37800" y="253695"/>
                  </a:lnTo>
                  <a:lnTo>
                    <a:pt x="39096" y="253516"/>
                  </a:lnTo>
                  <a:lnTo>
                    <a:pt x="40841" y="252332"/>
                  </a:lnTo>
                  <a:lnTo>
                    <a:pt x="42078" y="252885"/>
                  </a:lnTo>
                  <a:lnTo>
                    <a:pt x="41938" y="254575"/>
                  </a:lnTo>
                  <a:lnTo>
                    <a:pt x="41098" y="254511"/>
                  </a:lnTo>
                  <a:lnTo>
                    <a:pt x="40867" y="254232"/>
                  </a:lnTo>
                  <a:lnTo>
                    <a:pt x="39789" y="255197"/>
                  </a:lnTo>
                  <a:lnTo>
                    <a:pt x="39597" y="255781"/>
                  </a:lnTo>
                  <a:lnTo>
                    <a:pt x="38351" y="256154"/>
                  </a:lnTo>
                  <a:lnTo>
                    <a:pt x="36049" y="254502"/>
                  </a:lnTo>
                  <a:lnTo>
                    <a:pt x="34602" y="251783"/>
                  </a:lnTo>
                  <a:close/>
                  <a:moveTo>
                    <a:pt x="116464" y="187740"/>
                  </a:moveTo>
                  <a:lnTo>
                    <a:pt x="120546" y="188858"/>
                  </a:lnTo>
                  <a:lnTo>
                    <a:pt x="121142" y="189455"/>
                  </a:lnTo>
                  <a:lnTo>
                    <a:pt x="118803" y="189902"/>
                  </a:lnTo>
                  <a:lnTo>
                    <a:pt x="117840" y="191169"/>
                  </a:lnTo>
                  <a:lnTo>
                    <a:pt x="114539" y="192361"/>
                  </a:lnTo>
                  <a:lnTo>
                    <a:pt x="111878" y="191616"/>
                  </a:lnTo>
                  <a:lnTo>
                    <a:pt x="111832" y="189306"/>
                  </a:lnTo>
                  <a:lnTo>
                    <a:pt x="113482" y="188187"/>
                  </a:lnTo>
                  <a:close/>
                  <a:moveTo>
                    <a:pt x="181957" y="0"/>
                  </a:moveTo>
                  <a:lnTo>
                    <a:pt x="185099" y="126"/>
                  </a:lnTo>
                  <a:lnTo>
                    <a:pt x="188577" y="3686"/>
                  </a:lnTo>
                  <a:lnTo>
                    <a:pt x="193483" y="7643"/>
                  </a:lnTo>
                  <a:lnTo>
                    <a:pt x="196636" y="9562"/>
                  </a:lnTo>
                  <a:lnTo>
                    <a:pt x="205230" y="13154"/>
                  </a:lnTo>
                  <a:lnTo>
                    <a:pt x="212775" y="15515"/>
                  </a:lnTo>
                  <a:lnTo>
                    <a:pt x="217016" y="23292"/>
                  </a:lnTo>
                  <a:lnTo>
                    <a:pt x="214926" y="26382"/>
                  </a:lnTo>
                  <a:lnTo>
                    <a:pt x="213885" y="27446"/>
                  </a:lnTo>
                  <a:lnTo>
                    <a:pt x="210195" y="30516"/>
                  </a:lnTo>
                  <a:lnTo>
                    <a:pt x="206245" y="34840"/>
                  </a:lnTo>
                  <a:lnTo>
                    <a:pt x="205943" y="37090"/>
                  </a:lnTo>
                  <a:lnTo>
                    <a:pt x="207254" y="39357"/>
                  </a:lnTo>
                  <a:lnTo>
                    <a:pt x="208889" y="40855"/>
                  </a:lnTo>
                  <a:lnTo>
                    <a:pt x="207409" y="41332"/>
                  </a:lnTo>
                  <a:lnTo>
                    <a:pt x="202838" y="43215"/>
                  </a:lnTo>
                  <a:lnTo>
                    <a:pt x="200048" y="44485"/>
                  </a:lnTo>
                  <a:lnTo>
                    <a:pt x="196688" y="45416"/>
                  </a:lnTo>
                  <a:lnTo>
                    <a:pt x="197560" y="46649"/>
                  </a:lnTo>
                  <a:lnTo>
                    <a:pt x="203142" y="46910"/>
                  </a:lnTo>
                  <a:lnTo>
                    <a:pt x="204002" y="47260"/>
                  </a:lnTo>
                  <a:lnTo>
                    <a:pt x="204621" y="47894"/>
                  </a:lnTo>
                  <a:lnTo>
                    <a:pt x="204727" y="48907"/>
                  </a:lnTo>
                  <a:lnTo>
                    <a:pt x="204161" y="50542"/>
                  </a:lnTo>
                  <a:lnTo>
                    <a:pt x="198130" y="59538"/>
                  </a:lnTo>
                  <a:lnTo>
                    <a:pt x="197940" y="61428"/>
                  </a:lnTo>
                  <a:lnTo>
                    <a:pt x="199918" y="66676"/>
                  </a:lnTo>
                  <a:lnTo>
                    <a:pt x="202682" y="72845"/>
                  </a:lnTo>
                  <a:lnTo>
                    <a:pt x="211037" y="75582"/>
                  </a:lnTo>
                  <a:lnTo>
                    <a:pt x="217247" y="77717"/>
                  </a:lnTo>
                  <a:lnTo>
                    <a:pt x="221236" y="82760"/>
                  </a:lnTo>
                  <a:lnTo>
                    <a:pt x="227811" y="89390"/>
                  </a:lnTo>
                  <a:lnTo>
                    <a:pt x="231297" y="91862"/>
                  </a:lnTo>
                  <a:lnTo>
                    <a:pt x="231493" y="92629"/>
                  </a:lnTo>
                  <a:lnTo>
                    <a:pt x="230456" y="97183"/>
                  </a:lnTo>
                  <a:lnTo>
                    <a:pt x="226241" y="101735"/>
                  </a:lnTo>
                  <a:lnTo>
                    <a:pt x="222298" y="105565"/>
                  </a:lnTo>
                  <a:lnTo>
                    <a:pt x="218217" y="110170"/>
                  </a:lnTo>
                  <a:lnTo>
                    <a:pt x="215025" y="114087"/>
                  </a:lnTo>
                  <a:lnTo>
                    <a:pt x="211568" y="118772"/>
                  </a:lnTo>
                  <a:lnTo>
                    <a:pt x="211171" y="120288"/>
                  </a:lnTo>
                  <a:lnTo>
                    <a:pt x="211108" y="121719"/>
                  </a:lnTo>
                  <a:lnTo>
                    <a:pt x="211702" y="123300"/>
                  </a:lnTo>
                  <a:lnTo>
                    <a:pt x="216129" y="129002"/>
                  </a:lnTo>
                  <a:lnTo>
                    <a:pt x="217852" y="131908"/>
                  </a:lnTo>
                  <a:lnTo>
                    <a:pt x="219912" y="135045"/>
                  </a:lnTo>
                  <a:lnTo>
                    <a:pt x="221680" y="138458"/>
                  </a:lnTo>
                  <a:lnTo>
                    <a:pt x="222706" y="141510"/>
                  </a:lnTo>
                  <a:lnTo>
                    <a:pt x="224479" y="144480"/>
                  </a:lnTo>
                  <a:lnTo>
                    <a:pt x="225581" y="145996"/>
                  </a:lnTo>
                  <a:lnTo>
                    <a:pt x="227411" y="148118"/>
                  </a:lnTo>
                  <a:lnTo>
                    <a:pt x="229621" y="151271"/>
                  </a:lnTo>
                  <a:lnTo>
                    <a:pt x="230355" y="153765"/>
                  </a:lnTo>
                  <a:lnTo>
                    <a:pt x="233691" y="162396"/>
                  </a:lnTo>
                  <a:lnTo>
                    <a:pt x="234028" y="164590"/>
                  </a:lnTo>
                  <a:lnTo>
                    <a:pt x="233864" y="166212"/>
                  </a:lnTo>
                  <a:lnTo>
                    <a:pt x="232398" y="166611"/>
                  </a:lnTo>
                  <a:lnTo>
                    <a:pt x="229161" y="166869"/>
                  </a:lnTo>
                  <a:lnTo>
                    <a:pt x="225652" y="167931"/>
                  </a:lnTo>
                  <a:lnTo>
                    <a:pt x="225475" y="168288"/>
                  </a:lnTo>
                  <a:lnTo>
                    <a:pt x="227764" y="170314"/>
                  </a:lnTo>
                  <a:lnTo>
                    <a:pt x="225742" y="173770"/>
                  </a:lnTo>
                  <a:lnTo>
                    <a:pt x="225451" y="178707"/>
                  </a:lnTo>
                  <a:lnTo>
                    <a:pt x="223292" y="181294"/>
                  </a:lnTo>
                  <a:lnTo>
                    <a:pt x="223088" y="181895"/>
                  </a:lnTo>
                  <a:lnTo>
                    <a:pt x="223186" y="182397"/>
                  </a:lnTo>
                  <a:lnTo>
                    <a:pt x="223568" y="182789"/>
                  </a:lnTo>
                  <a:lnTo>
                    <a:pt x="227567" y="183479"/>
                  </a:lnTo>
                  <a:lnTo>
                    <a:pt x="227913" y="184180"/>
                  </a:lnTo>
                  <a:lnTo>
                    <a:pt x="227930" y="185629"/>
                  </a:lnTo>
                  <a:lnTo>
                    <a:pt x="227573" y="186967"/>
                  </a:lnTo>
                  <a:lnTo>
                    <a:pt x="225565" y="187959"/>
                  </a:lnTo>
                  <a:lnTo>
                    <a:pt x="223408" y="189427"/>
                  </a:lnTo>
                  <a:lnTo>
                    <a:pt x="222931" y="190776"/>
                  </a:lnTo>
                  <a:lnTo>
                    <a:pt x="223004" y="191980"/>
                  </a:lnTo>
                  <a:lnTo>
                    <a:pt x="223741" y="194013"/>
                  </a:lnTo>
                  <a:lnTo>
                    <a:pt x="225159" y="196379"/>
                  </a:lnTo>
                  <a:lnTo>
                    <a:pt x="226963" y="197863"/>
                  </a:lnTo>
                  <a:lnTo>
                    <a:pt x="233367" y="199267"/>
                  </a:lnTo>
                  <a:lnTo>
                    <a:pt x="234194" y="200428"/>
                  </a:lnTo>
                  <a:lnTo>
                    <a:pt x="234546" y="202018"/>
                  </a:lnTo>
                  <a:lnTo>
                    <a:pt x="234412" y="203569"/>
                  </a:lnTo>
                  <a:lnTo>
                    <a:pt x="231437" y="206669"/>
                  </a:lnTo>
                  <a:lnTo>
                    <a:pt x="231460" y="207860"/>
                  </a:lnTo>
                  <a:lnTo>
                    <a:pt x="232682" y="210740"/>
                  </a:lnTo>
                  <a:lnTo>
                    <a:pt x="234147" y="213485"/>
                  </a:lnTo>
                  <a:lnTo>
                    <a:pt x="240394" y="216455"/>
                  </a:lnTo>
                  <a:lnTo>
                    <a:pt x="242545" y="218082"/>
                  </a:lnTo>
                  <a:lnTo>
                    <a:pt x="243117" y="219376"/>
                  </a:lnTo>
                  <a:lnTo>
                    <a:pt x="243430" y="221460"/>
                  </a:lnTo>
                  <a:lnTo>
                    <a:pt x="243389" y="223717"/>
                  </a:lnTo>
                  <a:lnTo>
                    <a:pt x="242899" y="225719"/>
                  </a:lnTo>
                  <a:lnTo>
                    <a:pt x="240940" y="228298"/>
                  </a:lnTo>
                  <a:lnTo>
                    <a:pt x="236406" y="233375"/>
                  </a:lnTo>
                  <a:lnTo>
                    <a:pt x="231847" y="235344"/>
                  </a:lnTo>
                  <a:lnTo>
                    <a:pt x="231569" y="235771"/>
                  </a:lnTo>
                  <a:lnTo>
                    <a:pt x="232981" y="237391"/>
                  </a:lnTo>
                  <a:lnTo>
                    <a:pt x="241011" y="243873"/>
                  </a:lnTo>
                  <a:lnTo>
                    <a:pt x="246246" y="246900"/>
                  </a:lnTo>
                  <a:lnTo>
                    <a:pt x="253311" y="250978"/>
                  </a:lnTo>
                  <a:lnTo>
                    <a:pt x="257868" y="254194"/>
                  </a:lnTo>
                  <a:lnTo>
                    <a:pt x="259340" y="256505"/>
                  </a:lnTo>
                  <a:lnTo>
                    <a:pt x="261314" y="259071"/>
                  </a:lnTo>
                  <a:lnTo>
                    <a:pt x="263532" y="261166"/>
                  </a:lnTo>
                  <a:lnTo>
                    <a:pt x="265130" y="262982"/>
                  </a:lnTo>
                  <a:lnTo>
                    <a:pt x="265732" y="264150"/>
                  </a:lnTo>
                  <a:lnTo>
                    <a:pt x="265676" y="265405"/>
                  </a:lnTo>
                  <a:lnTo>
                    <a:pt x="263538" y="269185"/>
                  </a:lnTo>
                  <a:lnTo>
                    <a:pt x="262324" y="272102"/>
                  </a:lnTo>
                  <a:lnTo>
                    <a:pt x="260185" y="276371"/>
                  </a:lnTo>
                  <a:lnTo>
                    <a:pt x="257997" y="279345"/>
                  </a:lnTo>
                  <a:lnTo>
                    <a:pt x="252448" y="284759"/>
                  </a:lnTo>
                  <a:lnTo>
                    <a:pt x="244264" y="291477"/>
                  </a:lnTo>
                  <a:lnTo>
                    <a:pt x="242363" y="293506"/>
                  </a:lnTo>
                  <a:lnTo>
                    <a:pt x="238533" y="297034"/>
                  </a:lnTo>
                  <a:lnTo>
                    <a:pt x="231977" y="304096"/>
                  </a:lnTo>
                  <a:lnTo>
                    <a:pt x="230279" y="305652"/>
                  </a:lnTo>
                  <a:lnTo>
                    <a:pt x="224905" y="311263"/>
                  </a:lnTo>
                  <a:lnTo>
                    <a:pt x="222456" y="313045"/>
                  </a:lnTo>
                  <a:lnTo>
                    <a:pt x="220532" y="314710"/>
                  </a:lnTo>
                  <a:lnTo>
                    <a:pt x="215209" y="319993"/>
                  </a:lnTo>
                  <a:lnTo>
                    <a:pt x="209489" y="323994"/>
                  </a:lnTo>
                  <a:lnTo>
                    <a:pt x="203874" y="327703"/>
                  </a:lnTo>
                  <a:lnTo>
                    <a:pt x="202190" y="329581"/>
                  </a:lnTo>
                  <a:lnTo>
                    <a:pt x="200095" y="331012"/>
                  </a:lnTo>
                  <a:lnTo>
                    <a:pt x="197595" y="332372"/>
                  </a:lnTo>
                  <a:lnTo>
                    <a:pt x="196541" y="333134"/>
                  </a:lnTo>
                  <a:lnTo>
                    <a:pt x="190892" y="338191"/>
                  </a:lnTo>
                  <a:lnTo>
                    <a:pt x="183058" y="345191"/>
                  </a:lnTo>
                  <a:lnTo>
                    <a:pt x="182261" y="345300"/>
                  </a:lnTo>
                  <a:lnTo>
                    <a:pt x="180221" y="346429"/>
                  </a:lnTo>
                  <a:lnTo>
                    <a:pt x="177031" y="346702"/>
                  </a:lnTo>
                  <a:lnTo>
                    <a:pt x="175645" y="347565"/>
                  </a:lnTo>
                  <a:lnTo>
                    <a:pt x="170769" y="345106"/>
                  </a:lnTo>
                  <a:lnTo>
                    <a:pt x="169959" y="344947"/>
                  </a:lnTo>
                  <a:lnTo>
                    <a:pt x="167092" y="345557"/>
                  </a:lnTo>
                  <a:lnTo>
                    <a:pt x="164340" y="347344"/>
                  </a:lnTo>
                  <a:lnTo>
                    <a:pt x="159261" y="347890"/>
                  </a:lnTo>
                  <a:lnTo>
                    <a:pt x="156739" y="348469"/>
                  </a:lnTo>
                  <a:lnTo>
                    <a:pt x="155131" y="349294"/>
                  </a:lnTo>
                  <a:lnTo>
                    <a:pt x="154800" y="347341"/>
                  </a:lnTo>
                  <a:lnTo>
                    <a:pt x="155495" y="344862"/>
                  </a:lnTo>
                  <a:lnTo>
                    <a:pt x="156614" y="343208"/>
                  </a:lnTo>
                  <a:lnTo>
                    <a:pt x="156718" y="342130"/>
                  </a:lnTo>
                  <a:lnTo>
                    <a:pt x="155897" y="342242"/>
                  </a:lnTo>
                  <a:lnTo>
                    <a:pt x="154271" y="344669"/>
                  </a:lnTo>
                  <a:lnTo>
                    <a:pt x="153401" y="347500"/>
                  </a:lnTo>
                  <a:lnTo>
                    <a:pt x="151660" y="348922"/>
                  </a:lnTo>
                  <a:lnTo>
                    <a:pt x="147834" y="349503"/>
                  </a:lnTo>
                  <a:lnTo>
                    <a:pt x="144105" y="347230"/>
                  </a:lnTo>
                  <a:lnTo>
                    <a:pt x="142334" y="347253"/>
                  </a:lnTo>
                  <a:lnTo>
                    <a:pt x="143446" y="348881"/>
                  </a:lnTo>
                  <a:lnTo>
                    <a:pt x="144198" y="350667"/>
                  </a:lnTo>
                  <a:lnTo>
                    <a:pt x="144100" y="351667"/>
                  </a:lnTo>
                  <a:lnTo>
                    <a:pt x="142112" y="351491"/>
                  </a:lnTo>
                  <a:lnTo>
                    <a:pt x="139898" y="352561"/>
                  </a:lnTo>
                  <a:lnTo>
                    <a:pt x="137957" y="354123"/>
                  </a:lnTo>
                  <a:lnTo>
                    <a:pt x="137015" y="354126"/>
                  </a:lnTo>
                  <a:lnTo>
                    <a:pt x="135711" y="351943"/>
                  </a:lnTo>
                  <a:lnTo>
                    <a:pt x="133318" y="352962"/>
                  </a:lnTo>
                  <a:lnTo>
                    <a:pt x="131274" y="354332"/>
                  </a:lnTo>
                  <a:lnTo>
                    <a:pt x="127119" y="354760"/>
                  </a:lnTo>
                  <a:lnTo>
                    <a:pt x="124642" y="356559"/>
                  </a:lnTo>
                  <a:lnTo>
                    <a:pt x="120259" y="357772"/>
                  </a:lnTo>
                  <a:lnTo>
                    <a:pt x="117851" y="357743"/>
                  </a:lnTo>
                  <a:lnTo>
                    <a:pt x="112362" y="359203"/>
                  </a:lnTo>
                  <a:lnTo>
                    <a:pt x="110537" y="361452"/>
                  </a:lnTo>
                  <a:lnTo>
                    <a:pt x="108937" y="362279"/>
                  </a:lnTo>
                  <a:lnTo>
                    <a:pt x="106659" y="361583"/>
                  </a:lnTo>
                  <a:lnTo>
                    <a:pt x="99641" y="362679"/>
                  </a:lnTo>
                  <a:lnTo>
                    <a:pt x="92932" y="364116"/>
                  </a:lnTo>
                  <a:lnTo>
                    <a:pt x="90077" y="364034"/>
                  </a:lnTo>
                  <a:lnTo>
                    <a:pt x="87222" y="363437"/>
                  </a:lnTo>
                  <a:lnTo>
                    <a:pt x="84197" y="365433"/>
                  </a:lnTo>
                  <a:lnTo>
                    <a:pt x="80984" y="368101"/>
                  </a:lnTo>
                  <a:lnTo>
                    <a:pt x="77442" y="369053"/>
                  </a:lnTo>
                  <a:lnTo>
                    <a:pt x="76173" y="368712"/>
                  </a:lnTo>
                  <a:lnTo>
                    <a:pt x="77187" y="367314"/>
                  </a:lnTo>
                  <a:lnTo>
                    <a:pt x="79531" y="365865"/>
                  </a:lnTo>
                  <a:lnTo>
                    <a:pt x="81139" y="363900"/>
                  </a:lnTo>
                  <a:lnTo>
                    <a:pt x="81360" y="362261"/>
                  </a:lnTo>
                  <a:lnTo>
                    <a:pt x="80254" y="361617"/>
                  </a:lnTo>
                  <a:lnTo>
                    <a:pt x="78744" y="361420"/>
                  </a:lnTo>
                  <a:lnTo>
                    <a:pt x="76842" y="359723"/>
                  </a:lnTo>
                  <a:lnTo>
                    <a:pt x="75019" y="356041"/>
                  </a:lnTo>
                  <a:lnTo>
                    <a:pt x="74032" y="355838"/>
                  </a:lnTo>
                  <a:lnTo>
                    <a:pt x="73532" y="356806"/>
                  </a:lnTo>
                  <a:lnTo>
                    <a:pt x="72972" y="359630"/>
                  </a:lnTo>
                  <a:lnTo>
                    <a:pt x="72404" y="360443"/>
                  </a:lnTo>
                  <a:lnTo>
                    <a:pt x="71439" y="361089"/>
                  </a:lnTo>
                  <a:lnTo>
                    <a:pt x="70280" y="361739"/>
                  </a:lnTo>
                  <a:lnTo>
                    <a:pt x="69148" y="362056"/>
                  </a:lnTo>
                  <a:lnTo>
                    <a:pt x="65091" y="362017"/>
                  </a:lnTo>
                  <a:lnTo>
                    <a:pt x="64557" y="360593"/>
                  </a:lnTo>
                  <a:lnTo>
                    <a:pt x="64557" y="359997"/>
                  </a:lnTo>
                  <a:lnTo>
                    <a:pt x="65276" y="358120"/>
                  </a:lnTo>
                  <a:lnTo>
                    <a:pt x="64648" y="357792"/>
                  </a:lnTo>
                  <a:lnTo>
                    <a:pt x="65246" y="356319"/>
                  </a:lnTo>
                  <a:lnTo>
                    <a:pt x="66203" y="356398"/>
                  </a:lnTo>
                  <a:lnTo>
                    <a:pt x="67336" y="356180"/>
                  </a:lnTo>
                  <a:lnTo>
                    <a:pt x="67904" y="355422"/>
                  </a:lnTo>
                  <a:lnTo>
                    <a:pt x="67861" y="354517"/>
                  </a:lnTo>
                  <a:lnTo>
                    <a:pt x="66285" y="354282"/>
                  </a:lnTo>
                  <a:lnTo>
                    <a:pt x="66188" y="353664"/>
                  </a:lnTo>
                  <a:lnTo>
                    <a:pt x="67593" y="351083"/>
                  </a:lnTo>
                  <a:lnTo>
                    <a:pt x="67794" y="350369"/>
                  </a:lnTo>
                  <a:lnTo>
                    <a:pt x="67250" y="350221"/>
                  </a:lnTo>
                  <a:lnTo>
                    <a:pt x="66369" y="350502"/>
                  </a:lnTo>
                  <a:lnTo>
                    <a:pt x="60562" y="349692"/>
                  </a:lnTo>
                  <a:lnTo>
                    <a:pt x="53400" y="346385"/>
                  </a:lnTo>
                  <a:lnTo>
                    <a:pt x="51638" y="346214"/>
                  </a:lnTo>
                  <a:lnTo>
                    <a:pt x="50554" y="343257"/>
                  </a:lnTo>
                  <a:lnTo>
                    <a:pt x="48826" y="343632"/>
                  </a:lnTo>
                  <a:lnTo>
                    <a:pt x="46308" y="345363"/>
                  </a:lnTo>
                  <a:lnTo>
                    <a:pt x="44419" y="344048"/>
                  </a:lnTo>
                  <a:lnTo>
                    <a:pt x="42389" y="343182"/>
                  </a:lnTo>
                  <a:lnTo>
                    <a:pt x="41827" y="341828"/>
                  </a:lnTo>
                  <a:lnTo>
                    <a:pt x="41856" y="339829"/>
                  </a:lnTo>
                  <a:lnTo>
                    <a:pt x="41681" y="337469"/>
                  </a:lnTo>
                  <a:lnTo>
                    <a:pt x="41126" y="334704"/>
                  </a:lnTo>
                  <a:lnTo>
                    <a:pt x="40720" y="330768"/>
                  </a:lnTo>
                  <a:lnTo>
                    <a:pt x="41100" y="327687"/>
                  </a:lnTo>
                  <a:lnTo>
                    <a:pt x="42719" y="325403"/>
                  </a:lnTo>
                  <a:lnTo>
                    <a:pt x="43341" y="323944"/>
                  </a:lnTo>
                  <a:lnTo>
                    <a:pt x="44101" y="320215"/>
                  </a:lnTo>
                  <a:lnTo>
                    <a:pt x="44272" y="315839"/>
                  </a:lnTo>
                  <a:lnTo>
                    <a:pt x="43842" y="314347"/>
                  </a:lnTo>
                  <a:lnTo>
                    <a:pt x="43950" y="313354"/>
                  </a:lnTo>
                  <a:lnTo>
                    <a:pt x="45242" y="313354"/>
                  </a:lnTo>
                  <a:lnTo>
                    <a:pt x="44961" y="312502"/>
                  </a:lnTo>
                  <a:lnTo>
                    <a:pt x="44393" y="312035"/>
                  </a:lnTo>
                  <a:lnTo>
                    <a:pt x="43765" y="311065"/>
                  </a:lnTo>
                  <a:lnTo>
                    <a:pt x="44300" y="310551"/>
                  </a:lnTo>
                  <a:lnTo>
                    <a:pt x="45846" y="310514"/>
                  </a:lnTo>
                  <a:lnTo>
                    <a:pt x="45971" y="310187"/>
                  </a:lnTo>
                  <a:lnTo>
                    <a:pt x="46146" y="309723"/>
                  </a:lnTo>
                  <a:lnTo>
                    <a:pt x="44950" y="307170"/>
                  </a:lnTo>
                  <a:lnTo>
                    <a:pt x="44812" y="305952"/>
                  </a:lnTo>
                  <a:lnTo>
                    <a:pt x="43151" y="302250"/>
                  </a:lnTo>
                  <a:lnTo>
                    <a:pt x="41257" y="298735"/>
                  </a:lnTo>
                  <a:lnTo>
                    <a:pt x="38407" y="296188"/>
                  </a:lnTo>
                  <a:lnTo>
                    <a:pt x="39418" y="291988"/>
                  </a:lnTo>
                  <a:lnTo>
                    <a:pt x="40569" y="288184"/>
                  </a:lnTo>
                  <a:lnTo>
                    <a:pt x="40340" y="286349"/>
                  </a:lnTo>
                  <a:lnTo>
                    <a:pt x="39899" y="284114"/>
                  </a:lnTo>
                  <a:lnTo>
                    <a:pt x="36410" y="281660"/>
                  </a:lnTo>
                  <a:lnTo>
                    <a:pt x="35891" y="278196"/>
                  </a:lnTo>
                  <a:lnTo>
                    <a:pt x="35038" y="274472"/>
                  </a:lnTo>
                  <a:lnTo>
                    <a:pt x="35360" y="272185"/>
                  </a:lnTo>
                  <a:lnTo>
                    <a:pt x="35928" y="270433"/>
                  </a:lnTo>
                  <a:lnTo>
                    <a:pt x="37075" y="268687"/>
                  </a:lnTo>
                  <a:lnTo>
                    <a:pt x="42864" y="263167"/>
                  </a:lnTo>
                  <a:lnTo>
                    <a:pt x="43218" y="260279"/>
                  </a:lnTo>
                  <a:lnTo>
                    <a:pt x="47142" y="260069"/>
                  </a:lnTo>
                  <a:lnTo>
                    <a:pt x="45321" y="257484"/>
                  </a:lnTo>
                  <a:lnTo>
                    <a:pt x="44892" y="256031"/>
                  </a:lnTo>
                  <a:lnTo>
                    <a:pt x="44801" y="254334"/>
                  </a:lnTo>
                  <a:lnTo>
                    <a:pt x="50446" y="253171"/>
                  </a:lnTo>
                  <a:lnTo>
                    <a:pt x="52553" y="254126"/>
                  </a:lnTo>
                  <a:lnTo>
                    <a:pt x="57520" y="252946"/>
                  </a:lnTo>
                  <a:lnTo>
                    <a:pt x="61929" y="250636"/>
                  </a:lnTo>
                  <a:lnTo>
                    <a:pt x="61851" y="249407"/>
                  </a:lnTo>
                  <a:lnTo>
                    <a:pt x="61174" y="248306"/>
                  </a:lnTo>
                  <a:lnTo>
                    <a:pt x="60238" y="246185"/>
                  </a:lnTo>
                  <a:lnTo>
                    <a:pt x="60901" y="245596"/>
                  </a:lnTo>
                  <a:lnTo>
                    <a:pt x="62510" y="246029"/>
                  </a:lnTo>
                  <a:lnTo>
                    <a:pt x="61772" y="244974"/>
                  </a:lnTo>
                  <a:lnTo>
                    <a:pt x="61906" y="243861"/>
                  </a:lnTo>
                  <a:lnTo>
                    <a:pt x="63661" y="244324"/>
                  </a:lnTo>
                  <a:lnTo>
                    <a:pt x="66527" y="241214"/>
                  </a:lnTo>
                  <a:lnTo>
                    <a:pt x="66630" y="238835"/>
                  </a:lnTo>
                  <a:lnTo>
                    <a:pt x="71582" y="237590"/>
                  </a:lnTo>
                  <a:lnTo>
                    <a:pt x="77291" y="232724"/>
                  </a:lnTo>
                  <a:lnTo>
                    <a:pt x="79926" y="231207"/>
                  </a:lnTo>
                  <a:lnTo>
                    <a:pt x="82471" y="230108"/>
                  </a:lnTo>
                  <a:lnTo>
                    <a:pt x="87894" y="225229"/>
                  </a:lnTo>
                  <a:lnTo>
                    <a:pt x="90215" y="225002"/>
                  </a:lnTo>
                  <a:lnTo>
                    <a:pt x="91409" y="221706"/>
                  </a:lnTo>
                  <a:lnTo>
                    <a:pt x="96020" y="217312"/>
                  </a:lnTo>
                  <a:lnTo>
                    <a:pt x="97421" y="216749"/>
                  </a:lnTo>
                  <a:lnTo>
                    <a:pt x="99576" y="212779"/>
                  </a:lnTo>
                  <a:lnTo>
                    <a:pt x="105238" y="208180"/>
                  </a:lnTo>
                  <a:lnTo>
                    <a:pt x="108827" y="202302"/>
                  </a:lnTo>
                  <a:lnTo>
                    <a:pt x="110807" y="200210"/>
                  </a:lnTo>
                  <a:lnTo>
                    <a:pt x="111420" y="197980"/>
                  </a:lnTo>
                  <a:lnTo>
                    <a:pt x="113625" y="197791"/>
                  </a:lnTo>
                  <a:lnTo>
                    <a:pt x="115614" y="196151"/>
                  </a:lnTo>
                  <a:lnTo>
                    <a:pt x="119917" y="195007"/>
                  </a:lnTo>
                  <a:lnTo>
                    <a:pt x="124165" y="195324"/>
                  </a:lnTo>
                  <a:lnTo>
                    <a:pt x="125934" y="196102"/>
                  </a:lnTo>
                  <a:lnTo>
                    <a:pt x="127568" y="195855"/>
                  </a:lnTo>
                  <a:lnTo>
                    <a:pt x="127404" y="193846"/>
                  </a:lnTo>
                  <a:lnTo>
                    <a:pt x="126238" y="192604"/>
                  </a:lnTo>
                  <a:lnTo>
                    <a:pt x="127190" y="191411"/>
                  </a:lnTo>
                  <a:lnTo>
                    <a:pt x="129436" y="190506"/>
                  </a:lnTo>
                  <a:lnTo>
                    <a:pt x="129207" y="188505"/>
                  </a:lnTo>
                  <a:lnTo>
                    <a:pt x="128719" y="187300"/>
                  </a:lnTo>
                  <a:lnTo>
                    <a:pt x="126853" y="185694"/>
                  </a:lnTo>
                  <a:lnTo>
                    <a:pt x="127782" y="182092"/>
                  </a:lnTo>
                  <a:lnTo>
                    <a:pt x="128004" y="178137"/>
                  </a:lnTo>
                  <a:lnTo>
                    <a:pt x="128888" y="173559"/>
                  </a:lnTo>
                  <a:lnTo>
                    <a:pt x="126542" y="171129"/>
                  </a:lnTo>
                  <a:lnTo>
                    <a:pt x="117644" y="166987"/>
                  </a:lnTo>
                  <a:lnTo>
                    <a:pt x="115983" y="167131"/>
                  </a:lnTo>
                  <a:lnTo>
                    <a:pt x="114007" y="166611"/>
                  </a:lnTo>
                  <a:lnTo>
                    <a:pt x="111943" y="163467"/>
                  </a:lnTo>
                  <a:lnTo>
                    <a:pt x="112865" y="160750"/>
                  </a:lnTo>
                  <a:lnTo>
                    <a:pt x="112971" y="159748"/>
                  </a:lnTo>
                  <a:lnTo>
                    <a:pt x="112165" y="159778"/>
                  </a:lnTo>
                  <a:lnTo>
                    <a:pt x="110861" y="161103"/>
                  </a:lnTo>
                  <a:lnTo>
                    <a:pt x="108023" y="162617"/>
                  </a:lnTo>
                  <a:lnTo>
                    <a:pt x="104335" y="161455"/>
                  </a:lnTo>
                  <a:lnTo>
                    <a:pt x="102521" y="161713"/>
                  </a:lnTo>
                  <a:lnTo>
                    <a:pt x="100168" y="154976"/>
                  </a:lnTo>
                  <a:lnTo>
                    <a:pt x="98965" y="152396"/>
                  </a:lnTo>
                  <a:lnTo>
                    <a:pt x="97035" y="149175"/>
                  </a:lnTo>
                  <a:lnTo>
                    <a:pt x="93588" y="147600"/>
                  </a:lnTo>
                  <a:lnTo>
                    <a:pt x="92914" y="146709"/>
                  </a:lnTo>
                  <a:lnTo>
                    <a:pt x="92457" y="145343"/>
                  </a:lnTo>
                  <a:lnTo>
                    <a:pt x="92307" y="143444"/>
                  </a:lnTo>
                  <a:lnTo>
                    <a:pt x="91871" y="140631"/>
                  </a:lnTo>
                  <a:lnTo>
                    <a:pt x="92053" y="138321"/>
                  </a:lnTo>
                  <a:lnTo>
                    <a:pt x="92476" y="136943"/>
                  </a:lnTo>
                  <a:lnTo>
                    <a:pt x="93961" y="136017"/>
                  </a:lnTo>
                  <a:lnTo>
                    <a:pt x="96110" y="133403"/>
                  </a:lnTo>
                  <a:lnTo>
                    <a:pt x="96559" y="131501"/>
                  </a:lnTo>
                  <a:lnTo>
                    <a:pt x="96743" y="128581"/>
                  </a:lnTo>
                  <a:lnTo>
                    <a:pt x="97732" y="126028"/>
                  </a:lnTo>
                  <a:lnTo>
                    <a:pt x="98831" y="124736"/>
                  </a:lnTo>
                  <a:lnTo>
                    <a:pt x="98555" y="123708"/>
                  </a:lnTo>
                  <a:lnTo>
                    <a:pt x="97797" y="122236"/>
                  </a:lnTo>
                  <a:lnTo>
                    <a:pt x="96194" y="120145"/>
                  </a:lnTo>
                  <a:lnTo>
                    <a:pt x="93754" y="117593"/>
                  </a:lnTo>
                  <a:lnTo>
                    <a:pt x="91949" y="115149"/>
                  </a:lnTo>
                  <a:lnTo>
                    <a:pt x="91157" y="112862"/>
                  </a:lnTo>
                  <a:lnTo>
                    <a:pt x="90749" y="110816"/>
                  </a:lnTo>
                  <a:lnTo>
                    <a:pt x="90815" y="108953"/>
                  </a:lnTo>
                  <a:lnTo>
                    <a:pt x="91491" y="107684"/>
                  </a:lnTo>
                  <a:lnTo>
                    <a:pt x="93798" y="106085"/>
                  </a:lnTo>
                  <a:lnTo>
                    <a:pt x="94106" y="105406"/>
                  </a:lnTo>
                  <a:lnTo>
                    <a:pt x="93193" y="101868"/>
                  </a:lnTo>
                  <a:lnTo>
                    <a:pt x="91584" y="101223"/>
                  </a:lnTo>
                  <a:lnTo>
                    <a:pt x="88848" y="100880"/>
                  </a:lnTo>
                  <a:lnTo>
                    <a:pt x="87322" y="100851"/>
                  </a:lnTo>
                  <a:lnTo>
                    <a:pt x="87030" y="100464"/>
                  </a:lnTo>
                  <a:lnTo>
                    <a:pt x="86955" y="99751"/>
                  </a:lnTo>
                  <a:lnTo>
                    <a:pt x="87263" y="98297"/>
                  </a:lnTo>
                  <a:lnTo>
                    <a:pt x="88127" y="96629"/>
                  </a:lnTo>
                  <a:lnTo>
                    <a:pt x="88846" y="95566"/>
                  </a:lnTo>
                  <a:lnTo>
                    <a:pt x="88941" y="94664"/>
                  </a:lnTo>
                  <a:lnTo>
                    <a:pt x="88032" y="91575"/>
                  </a:lnTo>
                  <a:lnTo>
                    <a:pt x="87758" y="87780"/>
                  </a:lnTo>
                  <a:lnTo>
                    <a:pt x="88069" y="84803"/>
                  </a:lnTo>
                  <a:lnTo>
                    <a:pt x="90967" y="82604"/>
                  </a:lnTo>
                  <a:lnTo>
                    <a:pt x="91098" y="81800"/>
                  </a:lnTo>
                  <a:lnTo>
                    <a:pt x="87458" y="79410"/>
                  </a:lnTo>
                  <a:lnTo>
                    <a:pt x="84832" y="76697"/>
                  </a:lnTo>
                  <a:lnTo>
                    <a:pt x="84016" y="75112"/>
                  </a:lnTo>
                  <a:lnTo>
                    <a:pt x="81007" y="74872"/>
                  </a:lnTo>
                  <a:lnTo>
                    <a:pt x="79135" y="70260"/>
                  </a:lnTo>
                  <a:lnTo>
                    <a:pt x="76427" y="68010"/>
                  </a:lnTo>
                  <a:lnTo>
                    <a:pt x="73745" y="66065"/>
                  </a:lnTo>
                  <a:lnTo>
                    <a:pt x="72160" y="65159"/>
                  </a:lnTo>
                  <a:lnTo>
                    <a:pt x="62866" y="62360"/>
                  </a:lnTo>
                  <a:lnTo>
                    <a:pt x="59174" y="61827"/>
                  </a:lnTo>
                  <a:lnTo>
                    <a:pt x="54803" y="60192"/>
                  </a:lnTo>
                  <a:lnTo>
                    <a:pt x="51547" y="58137"/>
                  </a:lnTo>
                  <a:lnTo>
                    <a:pt x="48757" y="56814"/>
                  </a:lnTo>
                  <a:lnTo>
                    <a:pt x="46369" y="55182"/>
                  </a:lnTo>
                  <a:lnTo>
                    <a:pt x="43039" y="53654"/>
                  </a:lnTo>
                  <a:lnTo>
                    <a:pt x="42087" y="52347"/>
                  </a:lnTo>
                  <a:lnTo>
                    <a:pt x="38491" y="49924"/>
                  </a:lnTo>
                  <a:lnTo>
                    <a:pt x="36803" y="48328"/>
                  </a:lnTo>
                  <a:lnTo>
                    <a:pt x="30946" y="45309"/>
                  </a:lnTo>
                  <a:lnTo>
                    <a:pt x="30735" y="44117"/>
                  </a:lnTo>
                  <a:lnTo>
                    <a:pt x="30692" y="42966"/>
                  </a:lnTo>
                  <a:lnTo>
                    <a:pt x="30428" y="42488"/>
                  </a:lnTo>
                  <a:lnTo>
                    <a:pt x="24392" y="40278"/>
                  </a:lnTo>
                  <a:lnTo>
                    <a:pt x="25580" y="39013"/>
                  </a:lnTo>
                  <a:lnTo>
                    <a:pt x="30299" y="38937"/>
                  </a:lnTo>
                  <a:lnTo>
                    <a:pt x="34201" y="40088"/>
                  </a:lnTo>
                  <a:lnTo>
                    <a:pt x="35058" y="39596"/>
                  </a:lnTo>
                  <a:lnTo>
                    <a:pt x="35574" y="38573"/>
                  </a:lnTo>
                  <a:lnTo>
                    <a:pt x="33911" y="34464"/>
                  </a:lnTo>
                  <a:lnTo>
                    <a:pt x="34209" y="33393"/>
                  </a:lnTo>
                  <a:lnTo>
                    <a:pt x="35926" y="32102"/>
                  </a:lnTo>
                  <a:lnTo>
                    <a:pt x="38647" y="31074"/>
                  </a:lnTo>
                  <a:lnTo>
                    <a:pt x="42946" y="30925"/>
                  </a:lnTo>
                  <a:lnTo>
                    <a:pt x="45876" y="31077"/>
                  </a:lnTo>
                  <a:lnTo>
                    <a:pt x="46496" y="31189"/>
                  </a:lnTo>
                  <a:lnTo>
                    <a:pt x="50873" y="35711"/>
                  </a:lnTo>
                  <a:lnTo>
                    <a:pt x="54626" y="40113"/>
                  </a:lnTo>
                  <a:lnTo>
                    <a:pt x="56622" y="41986"/>
                  </a:lnTo>
                  <a:lnTo>
                    <a:pt x="61502" y="47283"/>
                  </a:lnTo>
                  <a:lnTo>
                    <a:pt x="63327" y="50342"/>
                  </a:lnTo>
                  <a:lnTo>
                    <a:pt x="63946" y="52530"/>
                  </a:lnTo>
                  <a:lnTo>
                    <a:pt x="65931" y="52516"/>
                  </a:lnTo>
                  <a:lnTo>
                    <a:pt x="72793" y="53475"/>
                  </a:lnTo>
                  <a:lnTo>
                    <a:pt x="78557" y="54282"/>
                  </a:lnTo>
                  <a:lnTo>
                    <a:pt x="80163" y="55505"/>
                  </a:lnTo>
                  <a:lnTo>
                    <a:pt x="84137" y="55259"/>
                  </a:lnTo>
                  <a:lnTo>
                    <a:pt x="87198" y="54156"/>
                  </a:lnTo>
                  <a:lnTo>
                    <a:pt x="92605" y="52761"/>
                  </a:lnTo>
                  <a:lnTo>
                    <a:pt x="94055" y="51044"/>
                  </a:lnTo>
                  <a:lnTo>
                    <a:pt x="95855" y="49212"/>
                  </a:lnTo>
                  <a:lnTo>
                    <a:pt x="99026" y="49500"/>
                  </a:lnTo>
                  <a:lnTo>
                    <a:pt x="102491" y="50949"/>
                  </a:lnTo>
                  <a:lnTo>
                    <a:pt x="106425" y="52851"/>
                  </a:lnTo>
                  <a:lnTo>
                    <a:pt x="109930" y="53731"/>
                  </a:lnTo>
                  <a:lnTo>
                    <a:pt x="114633" y="55111"/>
                  </a:lnTo>
                  <a:lnTo>
                    <a:pt x="116827" y="56893"/>
                  </a:lnTo>
                  <a:lnTo>
                    <a:pt x="119900" y="57401"/>
                  </a:lnTo>
                  <a:lnTo>
                    <a:pt x="123117" y="55620"/>
                  </a:lnTo>
                  <a:lnTo>
                    <a:pt x="125018" y="50779"/>
                  </a:lnTo>
                  <a:lnTo>
                    <a:pt x="126704" y="48616"/>
                  </a:lnTo>
                  <a:lnTo>
                    <a:pt x="129093" y="47028"/>
                  </a:lnTo>
                  <a:lnTo>
                    <a:pt x="131829" y="46327"/>
                  </a:lnTo>
                  <a:lnTo>
                    <a:pt x="133917" y="46073"/>
                  </a:lnTo>
                  <a:lnTo>
                    <a:pt x="135495" y="44837"/>
                  </a:lnTo>
                  <a:lnTo>
                    <a:pt x="137743" y="42089"/>
                  </a:lnTo>
                  <a:lnTo>
                    <a:pt x="138182" y="38755"/>
                  </a:lnTo>
                  <a:lnTo>
                    <a:pt x="137750" y="32718"/>
                  </a:lnTo>
                  <a:lnTo>
                    <a:pt x="138160" y="30723"/>
                  </a:lnTo>
                  <a:lnTo>
                    <a:pt x="139996" y="27454"/>
                  </a:lnTo>
                  <a:lnTo>
                    <a:pt x="142457" y="18764"/>
                  </a:lnTo>
                  <a:lnTo>
                    <a:pt x="143563" y="16253"/>
                  </a:lnTo>
                  <a:lnTo>
                    <a:pt x="144910" y="14724"/>
                  </a:lnTo>
                  <a:lnTo>
                    <a:pt x="146761" y="13814"/>
                  </a:lnTo>
                  <a:lnTo>
                    <a:pt x="150123" y="11169"/>
                  </a:lnTo>
                  <a:lnTo>
                    <a:pt x="154925" y="5923"/>
                  </a:lnTo>
                  <a:lnTo>
                    <a:pt x="156227" y="5477"/>
                  </a:lnTo>
                  <a:lnTo>
                    <a:pt x="159676" y="5211"/>
                  </a:lnTo>
                  <a:lnTo>
                    <a:pt x="163967" y="5406"/>
                  </a:lnTo>
                  <a:lnTo>
                    <a:pt x="167823" y="6331"/>
                  </a:lnTo>
                  <a:lnTo>
                    <a:pt x="168240" y="6260"/>
                  </a:lnTo>
                  <a:lnTo>
                    <a:pt x="169968" y="5778"/>
                  </a:lnTo>
                  <a:lnTo>
                    <a:pt x="173116" y="4145"/>
                  </a:lnTo>
                  <a:lnTo>
                    <a:pt x="178504" y="89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8" name="ee4p_FR_1_15912">
              <a:extLst>
                <a:ext uri="{FF2B5EF4-FFF2-40B4-BE49-F238E27FC236}">
                  <a16:creationId xmlns:a16="http://schemas.microsoft.com/office/drawing/2014/main" id="{BB07C393-4386-A38E-87AA-5A222CE3A50B}"/>
                </a:ext>
              </a:extLst>
            </p:cNvPr>
            <p:cNvSpPr>
              <a:spLocks noChangeAspect="1"/>
            </p:cNvSpPr>
            <p:nvPr>
              <p:custDataLst>
                <p:tags r:id="rId30"/>
              </p:custDataLst>
            </p:nvPr>
          </p:nvSpPr>
          <p:spPr>
            <a:xfrm>
              <a:off x="3354242" y="4405245"/>
              <a:ext cx="1255163" cy="1067650"/>
            </a:xfrm>
            <a:custGeom>
              <a:avLst/>
              <a:gdLst>
                <a:gd name="connsiteX0" fmla="*/ 313500 w 316622"/>
                <a:gd name="connsiteY0" fmla="*/ 225790 h 269321"/>
                <a:gd name="connsiteX1" fmla="*/ 314562 w 316622"/>
                <a:gd name="connsiteY1" fmla="*/ 226875 h 269321"/>
                <a:gd name="connsiteX2" fmla="*/ 314508 w 316622"/>
                <a:gd name="connsiteY2" fmla="*/ 227834 h 269321"/>
                <a:gd name="connsiteX3" fmla="*/ 314901 w 316622"/>
                <a:gd name="connsiteY3" fmla="*/ 230102 h 269321"/>
                <a:gd name="connsiteX4" fmla="*/ 314940 w 316622"/>
                <a:gd name="connsiteY4" fmla="*/ 231576 h 269321"/>
                <a:gd name="connsiteX5" fmla="*/ 314361 w 316622"/>
                <a:gd name="connsiteY5" fmla="*/ 235501 h 269321"/>
                <a:gd name="connsiteX6" fmla="*/ 314782 w 316622"/>
                <a:gd name="connsiteY6" fmla="*/ 236649 h 269321"/>
                <a:gd name="connsiteX7" fmla="*/ 315581 w 316622"/>
                <a:gd name="connsiteY7" fmla="*/ 237450 h 269321"/>
                <a:gd name="connsiteX8" fmla="*/ 315953 w 316622"/>
                <a:gd name="connsiteY8" fmla="*/ 238329 h 269321"/>
                <a:gd name="connsiteX9" fmla="*/ 316622 w 316622"/>
                <a:gd name="connsiteY9" fmla="*/ 248763 h 269321"/>
                <a:gd name="connsiteX10" fmla="*/ 316495 w 316622"/>
                <a:gd name="connsiteY10" fmla="*/ 249592 h 269321"/>
                <a:gd name="connsiteX11" fmla="*/ 313791 w 316622"/>
                <a:gd name="connsiteY11" fmla="*/ 253771 h 269321"/>
                <a:gd name="connsiteX12" fmla="*/ 313182 w 316622"/>
                <a:gd name="connsiteY12" fmla="*/ 254996 h 269321"/>
                <a:gd name="connsiteX13" fmla="*/ 313048 w 316622"/>
                <a:gd name="connsiteY13" fmla="*/ 260165 h 269321"/>
                <a:gd name="connsiteX14" fmla="*/ 312593 w 316622"/>
                <a:gd name="connsiteY14" fmla="*/ 261552 h 269321"/>
                <a:gd name="connsiteX15" fmla="*/ 311634 w 316622"/>
                <a:gd name="connsiteY15" fmla="*/ 262920 h 269321"/>
                <a:gd name="connsiteX16" fmla="*/ 309922 w 316622"/>
                <a:gd name="connsiteY16" fmla="*/ 267337 h 269321"/>
                <a:gd name="connsiteX17" fmla="*/ 308434 w 316622"/>
                <a:gd name="connsiteY17" fmla="*/ 269321 h 269321"/>
                <a:gd name="connsiteX18" fmla="*/ 304385 w 316622"/>
                <a:gd name="connsiteY18" fmla="*/ 266901 h 269321"/>
                <a:gd name="connsiteX19" fmla="*/ 301997 w 316622"/>
                <a:gd name="connsiteY19" fmla="*/ 265854 h 269321"/>
                <a:gd name="connsiteX20" fmla="*/ 300826 w 316622"/>
                <a:gd name="connsiteY20" fmla="*/ 264725 h 269321"/>
                <a:gd name="connsiteX21" fmla="*/ 300062 w 316622"/>
                <a:gd name="connsiteY21" fmla="*/ 263945 h 269321"/>
                <a:gd name="connsiteX22" fmla="*/ 300554 w 316622"/>
                <a:gd name="connsiteY22" fmla="*/ 262905 h 269321"/>
                <a:gd name="connsiteX23" fmla="*/ 301643 w 316622"/>
                <a:gd name="connsiteY23" fmla="*/ 261824 h 269321"/>
                <a:gd name="connsiteX24" fmla="*/ 301815 w 316622"/>
                <a:gd name="connsiteY24" fmla="*/ 260973 h 269321"/>
                <a:gd name="connsiteX25" fmla="*/ 299254 w 316622"/>
                <a:gd name="connsiteY25" fmla="*/ 260009 h 269321"/>
                <a:gd name="connsiteX26" fmla="*/ 298082 w 316622"/>
                <a:gd name="connsiteY26" fmla="*/ 259365 h 269321"/>
                <a:gd name="connsiteX27" fmla="*/ 298097 w 316622"/>
                <a:gd name="connsiteY27" fmla="*/ 258237 h 269321"/>
                <a:gd name="connsiteX28" fmla="*/ 298982 w 316622"/>
                <a:gd name="connsiteY28" fmla="*/ 256476 h 269321"/>
                <a:gd name="connsiteX29" fmla="*/ 298578 w 316622"/>
                <a:gd name="connsiteY29" fmla="*/ 255025 h 269321"/>
                <a:gd name="connsiteX30" fmla="*/ 297101 w 316622"/>
                <a:gd name="connsiteY30" fmla="*/ 255099 h 269321"/>
                <a:gd name="connsiteX31" fmla="*/ 295957 w 316622"/>
                <a:gd name="connsiteY31" fmla="*/ 254877 h 269321"/>
                <a:gd name="connsiteX32" fmla="*/ 295808 w 316622"/>
                <a:gd name="connsiteY32" fmla="*/ 254123 h 269321"/>
                <a:gd name="connsiteX33" fmla="*/ 296654 w 316622"/>
                <a:gd name="connsiteY33" fmla="*/ 253156 h 269321"/>
                <a:gd name="connsiteX34" fmla="*/ 297740 w 316622"/>
                <a:gd name="connsiteY34" fmla="*/ 251893 h 269321"/>
                <a:gd name="connsiteX35" fmla="*/ 297706 w 316622"/>
                <a:gd name="connsiteY35" fmla="*/ 250499 h 269321"/>
                <a:gd name="connsiteX36" fmla="*/ 296393 w 316622"/>
                <a:gd name="connsiteY36" fmla="*/ 249898 h 269321"/>
                <a:gd name="connsiteX37" fmla="*/ 295203 w 316622"/>
                <a:gd name="connsiteY37" fmla="*/ 248765 h 269321"/>
                <a:gd name="connsiteX38" fmla="*/ 294726 w 316622"/>
                <a:gd name="connsiteY38" fmla="*/ 247224 h 269321"/>
                <a:gd name="connsiteX39" fmla="*/ 295648 w 316622"/>
                <a:gd name="connsiteY39" fmla="*/ 246169 h 269321"/>
                <a:gd name="connsiteX40" fmla="*/ 297142 w 316622"/>
                <a:gd name="connsiteY40" fmla="*/ 245488 h 269321"/>
                <a:gd name="connsiteX41" fmla="*/ 296045 w 316622"/>
                <a:gd name="connsiteY41" fmla="*/ 243907 h 269321"/>
                <a:gd name="connsiteX42" fmla="*/ 295305 w 316622"/>
                <a:gd name="connsiteY42" fmla="*/ 243872 h 269321"/>
                <a:gd name="connsiteX43" fmla="*/ 294713 w 316622"/>
                <a:gd name="connsiteY43" fmla="*/ 243526 h 269321"/>
                <a:gd name="connsiteX44" fmla="*/ 295197 w 316622"/>
                <a:gd name="connsiteY44" fmla="*/ 242791 h 269321"/>
                <a:gd name="connsiteX45" fmla="*/ 296358 w 316622"/>
                <a:gd name="connsiteY45" fmla="*/ 241692 h 269321"/>
                <a:gd name="connsiteX46" fmla="*/ 297974 w 316622"/>
                <a:gd name="connsiteY46" fmla="*/ 238406 h 269321"/>
                <a:gd name="connsiteX47" fmla="*/ 300224 w 316622"/>
                <a:gd name="connsiteY47" fmla="*/ 236854 h 269321"/>
                <a:gd name="connsiteX48" fmla="*/ 304206 w 316622"/>
                <a:gd name="connsiteY48" fmla="*/ 235855 h 269321"/>
                <a:gd name="connsiteX49" fmla="*/ 305283 w 316622"/>
                <a:gd name="connsiteY49" fmla="*/ 235418 h 269321"/>
                <a:gd name="connsiteX50" fmla="*/ 306272 w 316622"/>
                <a:gd name="connsiteY50" fmla="*/ 234261 h 269321"/>
                <a:gd name="connsiteX51" fmla="*/ 307367 w 316622"/>
                <a:gd name="connsiteY51" fmla="*/ 233515 h 269321"/>
                <a:gd name="connsiteX52" fmla="*/ 308697 w 316622"/>
                <a:gd name="connsiteY52" fmla="*/ 233614 h 269321"/>
                <a:gd name="connsiteX53" fmla="*/ 309924 w 316622"/>
                <a:gd name="connsiteY53" fmla="*/ 234061 h 269321"/>
                <a:gd name="connsiteX54" fmla="*/ 310680 w 316622"/>
                <a:gd name="connsiteY54" fmla="*/ 234537 h 269321"/>
                <a:gd name="connsiteX55" fmla="*/ 311247 w 316622"/>
                <a:gd name="connsiteY55" fmla="*/ 234042 h 269321"/>
                <a:gd name="connsiteX56" fmla="*/ 311800 w 316622"/>
                <a:gd name="connsiteY56" fmla="*/ 232606 h 269321"/>
                <a:gd name="connsiteX57" fmla="*/ 311461 w 316622"/>
                <a:gd name="connsiteY57" fmla="*/ 231344 h 269321"/>
                <a:gd name="connsiteX58" fmla="*/ 311636 w 316622"/>
                <a:gd name="connsiteY58" fmla="*/ 227872 h 269321"/>
                <a:gd name="connsiteX59" fmla="*/ 312349 w 316622"/>
                <a:gd name="connsiteY59" fmla="*/ 225900 h 269321"/>
                <a:gd name="connsiteX60" fmla="*/ 74603 w 316622"/>
                <a:gd name="connsiteY60" fmla="*/ 143377 h 269321"/>
                <a:gd name="connsiteX61" fmla="*/ 76893 w 316622"/>
                <a:gd name="connsiteY61" fmla="*/ 144695 h 269321"/>
                <a:gd name="connsiteX62" fmla="*/ 79254 w 316622"/>
                <a:gd name="connsiteY62" fmla="*/ 147418 h 269321"/>
                <a:gd name="connsiteX63" fmla="*/ 78474 w 316622"/>
                <a:gd name="connsiteY63" fmla="*/ 149829 h 269321"/>
                <a:gd name="connsiteX64" fmla="*/ 76999 w 316622"/>
                <a:gd name="connsiteY64" fmla="*/ 147609 h 269321"/>
                <a:gd name="connsiteX65" fmla="*/ 75044 w 316622"/>
                <a:gd name="connsiteY65" fmla="*/ 145662 h 269321"/>
                <a:gd name="connsiteX66" fmla="*/ 74598 w 316622"/>
                <a:gd name="connsiteY66" fmla="*/ 143859 h 269321"/>
                <a:gd name="connsiteX67" fmla="*/ 161140 w 316622"/>
                <a:gd name="connsiteY67" fmla="*/ 0 h 269321"/>
                <a:gd name="connsiteX68" fmla="*/ 161386 w 316622"/>
                <a:gd name="connsiteY68" fmla="*/ 1392 h 269321"/>
                <a:gd name="connsiteX69" fmla="*/ 162243 w 316622"/>
                <a:gd name="connsiteY69" fmla="*/ 3172 h 269321"/>
                <a:gd name="connsiteX70" fmla="*/ 162833 w 316622"/>
                <a:gd name="connsiteY70" fmla="*/ 4145 h 269321"/>
                <a:gd name="connsiteX71" fmla="*/ 162343 w 316622"/>
                <a:gd name="connsiteY71" fmla="*/ 5415 h 269321"/>
                <a:gd name="connsiteX72" fmla="*/ 162729 w 316622"/>
                <a:gd name="connsiteY72" fmla="*/ 6460 h 269321"/>
                <a:gd name="connsiteX73" fmla="*/ 164329 w 316622"/>
                <a:gd name="connsiteY73" fmla="*/ 8341 h 269321"/>
                <a:gd name="connsiteX74" fmla="*/ 166324 w 316622"/>
                <a:gd name="connsiteY74" fmla="*/ 10112 h 269321"/>
                <a:gd name="connsiteX75" fmla="*/ 168102 w 316622"/>
                <a:gd name="connsiteY75" fmla="*/ 11243 h 269321"/>
                <a:gd name="connsiteX76" fmla="*/ 168603 w 316622"/>
                <a:gd name="connsiteY76" fmla="*/ 11120 h 269321"/>
                <a:gd name="connsiteX77" fmla="*/ 169920 w 316622"/>
                <a:gd name="connsiteY77" fmla="*/ 10798 h 269321"/>
                <a:gd name="connsiteX78" fmla="*/ 172150 w 316622"/>
                <a:gd name="connsiteY78" fmla="*/ 9638 h 269321"/>
                <a:gd name="connsiteX79" fmla="*/ 174008 w 316622"/>
                <a:gd name="connsiteY79" fmla="*/ 9273 h 269321"/>
                <a:gd name="connsiteX80" fmla="*/ 175070 w 316622"/>
                <a:gd name="connsiteY80" fmla="*/ 10162 h 269321"/>
                <a:gd name="connsiteX81" fmla="*/ 175670 w 316622"/>
                <a:gd name="connsiteY81" fmla="*/ 10663 h 269321"/>
                <a:gd name="connsiteX82" fmla="*/ 176841 w 316622"/>
                <a:gd name="connsiteY82" fmla="*/ 12664 h 269321"/>
                <a:gd name="connsiteX83" fmla="*/ 177169 w 316622"/>
                <a:gd name="connsiteY83" fmla="*/ 14752 h 269321"/>
                <a:gd name="connsiteX84" fmla="*/ 177689 w 316622"/>
                <a:gd name="connsiteY84" fmla="*/ 16484 h 269321"/>
                <a:gd name="connsiteX85" fmla="*/ 178637 w 316622"/>
                <a:gd name="connsiteY85" fmla="*/ 17186 h 269321"/>
                <a:gd name="connsiteX86" fmla="*/ 182192 w 316622"/>
                <a:gd name="connsiteY86" fmla="*/ 17416 h 269321"/>
                <a:gd name="connsiteX87" fmla="*/ 184811 w 316622"/>
                <a:gd name="connsiteY87" fmla="*/ 18058 h 269321"/>
                <a:gd name="connsiteX88" fmla="*/ 185504 w 316622"/>
                <a:gd name="connsiteY88" fmla="*/ 18639 h 269321"/>
                <a:gd name="connsiteX89" fmla="*/ 186400 w 316622"/>
                <a:gd name="connsiteY89" fmla="*/ 22482 h 269321"/>
                <a:gd name="connsiteX90" fmla="*/ 186888 w 316622"/>
                <a:gd name="connsiteY90" fmla="*/ 23025 h 269321"/>
                <a:gd name="connsiteX91" fmla="*/ 187541 w 316622"/>
                <a:gd name="connsiteY91" fmla="*/ 22572 h 269321"/>
                <a:gd name="connsiteX92" fmla="*/ 188186 w 316622"/>
                <a:gd name="connsiteY92" fmla="*/ 21940 h 269321"/>
                <a:gd name="connsiteX93" fmla="*/ 189082 w 316622"/>
                <a:gd name="connsiteY93" fmla="*/ 21839 h 269321"/>
                <a:gd name="connsiteX94" fmla="*/ 190620 w 316622"/>
                <a:gd name="connsiteY94" fmla="*/ 22083 h 269321"/>
                <a:gd name="connsiteX95" fmla="*/ 192645 w 316622"/>
                <a:gd name="connsiteY95" fmla="*/ 22159 h 269321"/>
                <a:gd name="connsiteX96" fmla="*/ 194734 w 316622"/>
                <a:gd name="connsiteY96" fmla="*/ 22582 h 269321"/>
                <a:gd name="connsiteX97" fmla="*/ 197618 w 316622"/>
                <a:gd name="connsiteY97" fmla="*/ 24750 h 269321"/>
                <a:gd name="connsiteX98" fmla="*/ 197508 w 316622"/>
                <a:gd name="connsiteY98" fmla="*/ 25465 h 269321"/>
                <a:gd name="connsiteX99" fmla="*/ 196945 w 316622"/>
                <a:gd name="connsiteY99" fmla="*/ 26720 h 269321"/>
                <a:gd name="connsiteX100" fmla="*/ 196748 w 316622"/>
                <a:gd name="connsiteY100" fmla="*/ 27721 h 269321"/>
                <a:gd name="connsiteX101" fmla="*/ 197245 w 316622"/>
                <a:gd name="connsiteY101" fmla="*/ 28123 h 269321"/>
                <a:gd name="connsiteX102" fmla="*/ 198007 w 316622"/>
                <a:gd name="connsiteY102" fmla="*/ 29156 h 269321"/>
                <a:gd name="connsiteX103" fmla="*/ 197824 w 316622"/>
                <a:gd name="connsiteY103" fmla="*/ 30350 h 269321"/>
                <a:gd name="connsiteX104" fmla="*/ 197081 w 316622"/>
                <a:gd name="connsiteY104" fmla="*/ 31186 h 269321"/>
                <a:gd name="connsiteX105" fmla="*/ 196783 w 316622"/>
                <a:gd name="connsiteY105" fmla="*/ 31875 h 269321"/>
                <a:gd name="connsiteX106" fmla="*/ 196787 w 316622"/>
                <a:gd name="connsiteY106" fmla="*/ 32323 h 269321"/>
                <a:gd name="connsiteX107" fmla="*/ 197059 w 316622"/>
                <a:gd name="connsiteY107" fmla="*/ 32695 h 269321"/>
                <a:gd name="connsiteX108" fmla="*/ 197651 w 316622"/>
                <a:gd name="connsiteY108" fmla="*/ 33022 h 269321"/>
                <a:gd name="connsiteX109" fmla="*/ 201911 w 316622"/>
                <a:gd name="connsiteY109" fmla="*/ 33463 h 269321"/>
                <a:gd name="connsiteX110" fmla="*/ 205809 w 316622"/>
                <a:gd name="connsiteY110" fmla="*/ 33022 h 269321"/>
                <a:gd name="connsiteX111" fmla="*/ 208266 w 316622"/>
                <a:gd name="connsiteY111" fmla="*/ 31805 h 269321"/>
                <a:gd name="connsiteX112" fmla="*/ 208685 w 316622"/>
                <a:gd name="connsiteY112" fmla="*/ 30522 h 269321"/>
                <a:gd name="connsiteX113" fmla="*/ 209383 w 316622"/>
                <a:gd name="connsiteY113" fmla="*/ 29072 h 269321"/>
                <a:gd name="connsiteX114" fmla="*/ 210847 w 316622"/>
                <a:gd name="connsiteY114" fmla="*/ 27858 h 269321"/>
                <a:gd name="connsiteX115" fmla="*/ 211860 w 316622"/>
                <a:gd name="connsiteY115" fmla="*/ 27450 h 269321"/>
                <a:gd name="connsiteX116" fmla="*/ 212786 w 316622"/>
                <a:gd name="connsiteY116" fmla="*/ 27950 h 269321"/>
                <a:gd name="connsiteX117" fmla="*/ 211227 w 316622"/>
                <a:gd name="connsiteY117" fmla="*/ 33042 h 269321"/>
                <a:gd name="connsiteX118" fmla="*/ 212365 w 316622"/>
                <a:gd name="connsiteY118" fmla="*/ 34342 h 269321"/>
                <a:gd name="connsiteX119" fmla="*/ 212533 w 316622"/>
                <a:gd name="connsiteY119" fmla="*/ 36284 h 269321"/>
                <a:gd name="connsiteX120" fmla="*/ 212941 w 316622"/>
                <a:gd name="connsiteY120" fmla="*/ 37983 h 269321"/>
                <a:gd name="connsiteX121" fmla="*/ 214334 w 316622"/>
                <a:gd name="connsiteY121" fmla="*/ 37951 h 269321"/>
                <a:gd name="connsiteX122" fmla="*/ 216023 w 316622"/>
                <a:gd name="connsiteY122" fmla="*/ 38265 h 269321"/>
                <a:gd name="connsiteX123" fmla="*/ 217219 w 316622"/>
                <a:gd name="connsiteY123" fmla="*/ 38893 h 269321"/>
                <a:gd name="connsiteX124" fmla="*/ 218614 w 316622"/>
                <a:gd name="connsiteY124" fmla="*/ 39902 h 269321"/>
                <a:gd name="connsiteX125" fmla="*/ 220625 w 316622"/>
                <a:gd name="connsiteY125" fmla="*/ 40829 h 269321"/>
                <a:gd name="connsiteX126" fmla="*/ 222035 w 316622"/>
                <a:gd name="connsiteY126" fmla="*/ 41155 h 269321"/>
                <a:gd name="connsiteX127" fmla="*/ 222546 w 316622"/>
                <a:gd name="connsiteY127" fmla="*/ 41929 h 269321"/>
                <a:gd name="connsiteX128" fmla="*/ 223686 w 316622"/>
                <a:gd name="connsiteY128" fmla="*/ 42825 h 269321"/>
                <a:gd name="connsiteX129" fmla="*/ 225481 w 316622"/>
                <a:gd name="connsiteY129" fmla="*/ 44702 h 269321"/>
                <a:gd name="connsiteX130" fmla="*/ 227087 w 316622"/>
                <a:gd name="connsiteY130" fmla="*/ 45954 h 269321"/>
                <a:gd name="connsiteX131" fmla="*/ 227863 w 316622"/>
                <a:gd name="connsiteY131" fmla="*/ 45949 h 269321"/>
                <a:gd name="connsiteX132" fmla="*/ 229359 w 316622"/>
                <a:gd name="connsiteY132" fmla="*/ 45456 h 269321"/>
                <a:gd name="connsiteX133" fmla="*/ 231579 w 316622"/>
                <a:gd name="connsiteY133" fmla="*/ 45140 h 269321"/>
                <a:gd name="connsiteX134" fmla="*/ 233332 w 316622"/>
                <a:gd name="connsiteY134" fmla="*/ 45167 h 269321"/>
                <a:gd name="connsiteX135" fmla="*/ 234078 w 316622"/>
                <a:gd name="connsiteY135" fmla="*/ 46120 h 269321"/>
                <a:gd name="connsiteX136" fmla="*/ 235801 w 316622"/>
                <a:gd name="connsiteY136" fmla="*/ 46560 h 269321"/>
                <a:gd name="connsiteX137" fmla="*/ 236410 w 316622"/>
                <a:gd name="connsiteY137" fmla="*/ 46910 h 269321"/>
                <a:gd name="connsiteX138" fmla="*/ 237086 w 316622"/>
                <a:gd name="connsiteY138" fmla="*/ 47567 h 269321"/>
                <a:gd name="connsiteX139" fmla="*/ 238234 w 316622"/>
                <a:gd name="connsiteY139" fmla="*/ 47831 h 269321"/>
                <a:gd name="connsiteX140" fmla="*/ 239621 w 316622"/>
                <a:gd name="connsiteY140" fmla="*/ 47567 h 269321"/>
                <a:gd name="connsiteX141" fmla="*/ 240633 w 316622"/>
                <a:gd name="connsiteY141" fmla="*/ 46690 h 269321"/>
                <a:gd name="connsiteX142" fmla="*/ 241985 w 316622"/>
                <a:gd name="connsiteY142" fmla="*/ 46297 h 269321"/>
                <a:gd name="connsiteX143" fmla="*/ 243337 w 316622"/>
                <a:gd name="connsiteY143" fmla="*/ 46428 h 269321"/>
                <a:gd name="connsiteX144" fmla="*/ 244114 w 316622"/>
                <a:gd name="connsiteY144" fmla="*/ 46910 h 269321"/>
                <a:gd name="connsiteX145" fmla="*/ 245596 w 316622"/>
                <a:gd name="connsiteY145" fmla="*/ 47622 h 269321"/>
                <a:gd name="connsiteX146" fmla="*/ 246434 w 316622"/>
                <a:gd name="connsiteY146" fmla="*/ 47467 h 269321"/>
                <a:gd name="connsiteX147" fmla="*/ 248111 w 316622"/>
                <a:gd name="connsiteY147" fmla="*/ 47905 h 269321"/>
                <a:gd name="connsiteX148" fmla="*/ 249796 w 316622"/>
                <a:gd name="connsiteY148" fmla="*/ 49287 h 269321"/>
                <a:gd name="connsiteX149" fmla="*/ 250504 w 316622"/>
                <a:gd name="connsiteY149" fmla="*/ 50676 h 269321"/>
                <a:gd name="connsiteX150" fmla="*/ 250689 w 316622"/>
                <a:gd name="connsiteY150" fmla="*/ 51435 h 269321"/>
                <a:gd name="connsiteX151" fmla="*/ 251417 w 316622"/>
                <a:gd name="connsiteY151" fmla="*/ 52260 h 269321"/>
                <a:gd name="connsiteX152" fmla="*/ 254244 w 316622"/>
                <a:gd name="connsiteY152" fmla="*/ 55987 h 269321"/>
                <a:gd name="connsiteX153" fmla="*/ 255147 w 316622"/>
                <a:gd name="connsiteY153" fmla="*/ 56171 h 269321"/>
                <a:gd name="connsiteX154" fmla="*/ 256129 w 316622"/>
                <a:gd name="connsiteY154" fmla="*/ 55606 h 269321"/>
                <a:gd name="connsiteX155" fmla="*/ 256766 w 316622"/>
                <a:gd name="connsiteY155" fmla="*/ 54805 h 269321"/>
                <a:gd name="connsiteX156" fmla="*/ 257688 w 316622"/>
                <a:gd name="connsiteY156" fmla="*/ 54645 h 269321"/>
                <a:gd name="connsiteX157" fmla="*/ 259172 w 316622"/>
                <a:gd name="connsiteY157" fmla="*/ 55014 h 269321"/>
                <a:gd name="connsiteX158" fmla="*/ 260126 w 316622"/>
                <a:gd name="connsiteY158" fmla="*/ 55436 h 269321"/>
                <a:gd name="connsiteX159" fmla="*/ 260584 w 316622"/>
                <a:gd name="connsiteY159" fmla="*/ 57049 h 269321"/>
                <a:gd name="connsiteX160" fmla="*/ 260906 w 316622"/>
                <a:gd name="connsiteY160" fmla="*/ 57356 h 269321"/>
                <a:gd name="connsiteX161" fmla="*/ 261547 w 316622"/>
                <a:gd name="connsiteY161" fmla="*/ 57009 h 269321"/>
                <a:gd name="connsiteX162" fmla="*/ 262690 w 316622"/>
                <a:gd name="connsiteY162" fmla="*/ 56932 h 269321"/>
                <a:gd name="connsiteX163" fmla="*/ 264514 w 316622"/>
                <a:gd name="connsiteY163" fmla="*/ 57330 h 269321"/>
                <a:gd name="connsiteX164" fmla="*/ 267023 w 316622"/>
                <a:gd name="connsiteY164" fmla="*/ 56875 h 269321"/>
                <a:gd name="connsiteX165" fmla="*/ 269031 w 316622"/>
                <a:gd name="connsiteY165" fmla="*/ 56202 h 269321"/>
                <a:gd name="connsiteX166" fmla="*/ 270057 w 316622"/>
                <a:gd name="connsiteY166" fmla="*/ 56227 h 269321"/>
                <a:gd name="connsiteX167" fmla="*/ 271713 w 316622"/>
                <a:gd name="connsiteY167" fmla="*/ 58108 h 269321"/>
                <a:gd name="connsiteX168" fmla="*/ 273603 w 316622"/>
                <a:gd name="connsiteY168" fmla="*/ 58811 h 269321"/>
                <a:gd name="connsiteX169" fmla="*/ 277766 w 316622"/>
                <a:gd name="connsiteY169" fmla="*/ 59378 h 269321"/>
                <a:gd name="connsiteX170" fmla="*/ 282234 w 316622"/>
                <a:gd name="connsiteY170" fmla="*/ 60262 h 269321"/>
                <a:gd name="connsiteX171" fmla="*/ 283989 w 316622"/>
                <a:gd name="connsiteY171" fmla="*/ 60976 h 269321"/>
                <a:gd name="connsiteX172" fmla="*/ 285188 w 316622"/>
                <a:gd name="connsiteY172" fmla="*/ 61327 h 269321"/>
                <a:gd name="connsiteX173" fmla="*/ 285309 w 316622"/>
                <a:gd name="connsiteY173" fmla="*/ 63812 h 269321"/>
                <a:gd name="connsiteX174" fmla="*/ 284948 w 316622"/>
                <a:gd name="connsiteY174" fmla="*/ 64187 h 269321"/>
                <a:gd name="connsiteX175" fmla="*/ 280498 w 316622"/>
                <a:gd name="connsiteY175" fmla="*/ 69161 h 269321"/>
                <a:gd name="connsiteX176" fmla="*/ 278623 w 316622"/>
                <a:gd name="connsiteY176" fmla="*/ 70938 h 269321"/>
                <a:gd name="connsiteX177" fmla="*/ 277669 w 316622"/>
                <a:gd name="connsiteY177" fmla="*/ 73471 h 269321"/>
                <a:gd name="connsiteX178" fmla="*/ 277013 w 316622"/>
                <a:gd name="connsiteY178" fmla="*/ 77352 h 269321"/>
                <a:gd name="connsiteX179" fmla="*/ 275698 w 316622"/>
                <a:gd name="connsiteY179" fmla="*/ 81034 h 269321"/>
                <a:gd name="connsiteX180" fmla="*/ 273728 w 316622"/>
                <a:gd name="connsiteY180" fmla="*/ 84519 h 269321"/>
                <a:gd name="connsiteX181" fmla="*/ 273011 w 316622"/>
                <a:gd name="connsiteY181" fmla="*/ 87132 h 269321"/>
                <a:gd name="connsiteX182" fmla="*/ 273549 w 316622"/>
                <a:gd name="connsiteY182" fmla="*/ 88874 h 269321"/>
                <a:gd name="connsiteX183" fmla="*/ 273212 w 316622"/>
                <a:gd name="connsiteY183" fmla="*/ 91607 h 269321"/>
                <a:gd name="connsiteX184" fmla="*/ 272003 w 316622"/>
                <a:gd name="connsiteY184" fmla="*/ 95326 h 269321"/>
                <a:gd name="connsiteX185" fmla="*/ 271800 w 316622"/>
                <a:gd name="connsiteY185" fmla="*/ 98132 h 269321"/>
                <a:gd name="connsiteX186" fmla="*/ 272597 w 316622"/>
                <a:gd name="connsiteY186" fmla="*/ 100025 h 269321"/>
                <a:gd name="connsiteX187" fmla="*/ 273707 w 316622"/>
                <a:gd name="connsiteY187" fmla="*/ 100413 h 269321"/>
                <a:gd name="connsiteX188" fmla="*/ 271037 w 316622"/>
                <a:gd name="connsiteY188" fmla="*/ 101687 h 269321"/>
                <a:gd name="connsiteX189" fmla="*/ 270429 w 316622"/>
                <a:gd name="connsiteY189" fmla="*/ 102801 h 269321"/>
                <a:gd name="connsiteX190" fmla="*/ 269381 w 316622"/>
                <a:gd name="connsiteY190" fmla="*/ 104274 h 269321"/>
                <a:gd name="connsiteX191" fmla="*/ 267682 w 316622"/>
                <a:gd name="connsiteY191" fmla="*/ 104893 h 269321"/>
                <a:gd name="connsiteX192" fmla="*/ 265970 w 316622"/>
                <a:gd name="connsiteY192" fmla="*/ 105098 h 269321"/>
                <a:gd name="connsiteX193" fmla="*/ 264585 w 316622"/>
                <a:gd name="connsiteY193" fmla="*/ 104903 h 269321"/>
                <a:gd name="connsiteX194" fmla="*/ 263797 w 316622"/>
                <a:gd name="connsiteY194" fmla="*/ 104315 h 269321"/>
                <a:gd name="connsiteX195" fmla="*/ 263836 w 316622"/>
                <a:gd name="connsiteY195" fmla="*/ 103767 h 269321"/>
                <a:gd name="connsiteX196" fmla="*/ 263102 w 316622"/>
                <a:gd name="connsiteY196" fmla="*/ 103301 h 269321"/>
                <a:gd name="connsiteX197" fmla="*/ 261275 w 316622"/>
                <a:gd name="connsiteY197" fmla="*/ 103315 h 269321"/>
                <a:gd name="connsiteX198" fmla="*/ 259394 w 316622"/>
                <a:gd name="connsiteY198" fmla="*/ 104328 h 269321"/>
                <a:gd name="connsiteX199" fmla="*/ 257891 w 316622"/>
                <a:gd name="connsiteY199" fmla="*/ 105982 h 269321"/>
                <a:gd name="connsiteX200" fmla="*/ 258358 w 316622"/>
                <a:gd name="connsiteY200" fmla="*/ 106907 h 269321"/>
                <a:gd name="connsiteX201" fmla="*/ 259742 w 316622"/>
                <a:gd name="connsiteY201" fmla="*/ 107151 h 269321"/>
                <a:gd name="connsiteX202" fmla="*/ 260107 w 316622"/>
                <a:gd name="connsiteY202" fmla="*/ 107517 h 269321"/>
                <a:gd name="connsiteX203" fmla="*/ 260107 w 316622"/>
                <a:gd name="connsiteY203" fmla="*/ 107992 h 269321"/>
                <a:gd name="connsiteX204" fmla="*/ 259619 w 316622"/>
                <a:gd name="connsiteY204" fmla="*/ 108564 h 269321"/>
                <a:gd name="connsiteX205" fmla="*/ 259034 w 316622"/>
                <a:gd name="connsiteY205" fmla="*/ 109541 h 269321"/>
                <a:gd name="connsiteX206" fmla="*/ 256129 w 316622"/>
                <a:gd name="connsiteY206" fmla="*/ 112450 h 269321"/>
                <a:gd name="connsiteX207" fmla="*/ 253197 w 316622"/>
                <a:gd name="connsiteY207" fmla="*/ 115382 h 269321"/>
                <a:gd name="connsiteX208" fmla="*/ 252728 w 316622"/>
                <a:gd name="connsiteY208" fmla="*/ 116268 h 269321"/>
                <a:gd name="connsiteX209" fmla="*/ 251798 w 316622"/>
                <a:gd name="connsiteY209" fmla="*/ 116887 h 269321"/>
                <a:gd name="connsiteX210" fmla="*/ 248070 w 316622"/>
                <a:gd name="connsiteY210" fmla="*/ 118450 h 269321"/>
                <a:gd name="connsiteX211" fmla="*/ 247680 w 316622"/>
                <a:gd name="connsiteY211" fmla="*/ 119076 h 269321"/>
                <a:gd name="connsiteX212" fmla="*/ 247468 w 316622"/>
                <a:gd name="connsiteY212" fmla="*/ 121685 h 269321"/>
                <a:gd name="connsiteX213" fmla="*/ 247051 w 316622"/>
                <a:gd name="connsiteY213" fmla="*/ 123826 h 269321"/>
                <a:gd name="connsiteX214" fmla="*/ 244287 w 316622"/>
                <a:gd name="connsiteY214" fmla="*/ 125839 h 269321"/>
                <a:gd name="connsiteX215" fmla="*/ 241536 w 316622"/>
                <a:gd name="connsiteY215" fmla="*/ 127842 h 269321"/>
                <a:gd name="connsiteX216" fmla="*/ 240849 w 316622"/>
                <a:gd name="connsiteY216" fmla="*/ 129065 h 269321"/>
                <a:gd name="connsiteX217" fmla="*/ 240348 w 316622"/>
                <a:gd name="connsiteY217" fmla="*/ 130480 h 269321"/>
                <a:gd name="connsiteX218" fmla="*/ 239485 w 316622"/>
                <a:gd name="connsiteY218" fmla="*/ 132076 h 269321"/>
                <a:gd name="connsiteX219" fmla="*/ 239314 w 316622"/>
                <a:gd name="connsiteY219" fmla="*/ 132919 h 269321"/>
                <a:gd name="connsiteX220" fmla="*/ 240707 w 316622"/>
                <a:gd name="connsiteY220" fmla="*/ 134293 h 269321"/>
                <a:gd name="connsiteX221" fmla="*/ 240545 w 316622"/>
                <a:gd name="connsiteY221" fmla="*/ 135429 h 269321"/>
                <a:gd name="connsiteX222" fmla="*/ 240102 w 316622"/>
                <a:gd name="connsiteY222" fmla="*/ 137043 h 269321"/>
                <a:gd name="connsiteX223" fmla="*/ 238780 w 316622"/>
                <a:gd name="connsiteY223" fmla="*/ 138186 h 269321"/>
                <a:gd name="connsiteX224" fmla="*/ 237319 w 316622"/>
                <a:gd name="connsiteY224" fmla="*/ 138834 h 269321"/>
                <a:gd name="connsiteX225" fmla="*/ 237351 w 316622"/>
                <a:gd name="connsiteY225" fmla="*/ 140590 h 269321"/>
                <a:gd name="connsiteX226" fmla="*/ 238129 w 316622"/>
                <a:gd name="connsiteY226" fmla="*/ 140836 h 269321"/>
                <a:gd name="connsiteX227" fmla="*/ 239897 w 316622"/>
                <a:gd name="connsiteY227" fmla="*/ 140706 h 269321"/>
                <a:gd name="connsiteX228" fmla="*/ 242391 w 316622"/>
                <a:gd name="connsiteY228" fmla="*/ 139432 h 269321"/>
                <a:gd name="connsiteX229" fmla="*/ 244017 w 316622"/>
                <a:gd name="connsiteY229" fmla="*/ 137794 h 269321"/>
                <a:gd name="connsiteX230" fmla="*/ 243059 w 316622"/>
                <a:gd name="connsiteY230" fmla="*/ 136238 h 269321"/>
                <a:gd name="connsiteX231" fmla="*/ 242940 w 316622"/>
                <a:gd name="connsiteY231" fmla="*/ 135933 h 269321"/>
                <a:gd name="connsiteX232" fmla="*/ 243171 w 316622"/>
                <a:gd name="connsiteY232" fmla="*/ 135568 h 269321"/>
                <a:gd name="connsiteX233" fmla="*/ 245099 w 316622"/>
                <a:gd name="connsiteY233" fmla="*/ 133875 h 269321"/>
                <a:gd name="connsiteX234" fmla="*/ 247466 w 316622"/>
                <a:gd name="connsiteY234" fmla="*/ 132854 h 269321"/>
                <a:gd name="connsiteX235" fmla="*/ 250767 w 316622"/>
                <a:gd name="connsiteY235" fmla="*/ 132664 h 269321"/>
                <a:gd name="connsiteX236" fmla="*/ 254745 w 316622"/>
                <a:gd name="connsiteY236" fmla="*/ 133263 h 269321"/>
                <a:gd name="connsiteX237" fmla="*/ 255142 w 316622"/>
                <a:gd name="connsiteY237" fmla="*/ 133516 h 269321"/>
                <a:gd name="connsiteX238" fmla="*/ 254950 w 316622"/>
                <a:gd name="connsiteY238" fmla="*/ 134554 h 269321"/>
                <a:gd name="connsiteX239" fmla="*/ 255321 w 316622"/>
                <a:gd name="connsiteY239" fmla="*/ 136085 h 269321"/>
                <a:gd name="connsiteX240" fmla="*/ 256043 w 316622"/>
                <a:gd name="connsiteY240" fmla="*/ 137159 h 269321"/>
                <a:gd name="connsiteX241" fmla="*/ 255054 w 316622"/>
                <a:gd name="connsiteY241" fmla="*/ 140205 h 269321"/>
                <a:gd name="connsiteX242" fmla="*/ 255797 w 316622"/>
                <a:gd name="connsiteY242" fmla="*/ 141159 h 269321"/>
                <a:gd name="connsiteX243" fmla="*/ 256954 w 316622"/>
                <a:gd name="connsiteY243" fmla="*/ 142299 h 269321"/>
                <a:gd name="connsiteX244" fmla="*/ 257822 w 316622"/>
                <a:gd name="connsiteY244" fmla="*/ 143340 h 269321"/>
                <a:gd name="connsiteX245" fmla="*/ 259070 w 316622"/>
                <a:gd name="connsiteY245" fmla="*/ 144296 h 269321"/>
                <a:gd name="connsiteX246" fmla="*/ 260180 w 316622"/>
                <a:gd name="connsiteY246" fmla="*/ 145906 h 269321"/>
                <a:gd name="connsiteX247" fmla="*/ 260560 w 316622"/>
                <a:gd name="connsiteY247" fmla="*/ 146818 h 269321"/>
                <a:gd name="connsiteX248" fmla="*/ 258785 w 316622"/>
                <a:gd name="connsiteY248" fmla="*/ 148402 h 269321"/>
                <a:gd name="connsiteX249" fmla="*/ 255771 w 316622"/>
                <a:gd name="connsiteY249" fmla="*/ 149886 h 269321"/>
                <a:gd name="connsiteX250" fmla="*/ 255432 w 316622"/>
                <a:gd name="connsiteY250" fmla="*/ 150836 h 269321"/>
                <a:gd name="connsiteX251" fmla="*/ 255471 w 316622"/>
                <a:gd name="connsiteY251" fmla="*/ 151916 h 269321"/>
                <a:gd name="connsiteX252" fmla="*/ 255810 w 316622"/>
                <a:gd name="connsiteY252" fmla="*/ 152765 h 269321"/>
                <a:gd name="connsiteX253" fmla="*/ 257472 w 316622"/>
                <a:gd name="connsiteY253" fmla="*/ 153857 h 269321"/>
                <a:gd name="connsiteX254" fmla="*/ 259263 w 316622"/>
                <a:gd name="connsiteY254" fmla="*/ 156327 h 269321"/>
                <a:gd name="connsiteX255" fmla="*/ 260396 w 316622"/>
                <a:gd name="connsiteY255" fmla="*/ 158528 h 269321"/>
                <a:gd name="connsiteX256" fmla="*/ 262881 w 316622"/>
                <a:gd name="connsiteY256" fmla="*/ 160637 h 269321"/>
                <a:gd name="connsiteX257" fmla="*/ 263486 w 316622"/>
                <a:gd name="connsiteY257" fmla="*/ 161261 h 269321"/>
                <a:gd name="connsiteX258" fmla="*/ 263331 w 316622"/>
                <a:gd name="connsiteY258" fmla="*/ 161788 h 269321"/>
                <a:gd name="connsiteX259" fmla="*/ 262676 w 316622"/>
                <a:gd name="connsiteY259" fmla="*/ 162686 h 269321"/>
                <a:gd name="connsiteX260" fmla="*/ 261826 w 316622"/>
                <a:gd name="connsiteY260" fmla="*/ 165676 h 269321"/>
                <a:gd name="connsiteX261" fmla="*/ 260811 w 316622"/>
                <a:gd name="connsiteY261" fmla="*/ 166151 h 269321"/>
                <a:gd name="connsiteX262" fmla="*/ 259679 w 316622"/>
                <a:gd name="connsiteY262" fmla="*/ 166344 h 269321"/>
                <a:gd name="connsiteX263" fmla="*/ 256607 w 316622"/>
                <a:gd name="connsiteY263" fmla="*/ 168532 h 269321"/>
                <a:gd name="connsiteX264" fmla="*/ 255237 w 316622"/>
                <a:gd name="connsiteY264" fmla="*/ 168267 h 269321"/>
                <a:gd name="connsiteX265" fmla="*/ 253290 w 316622"/>
                <a:gd name="connsiteY265" fmla="*/ 168295 h 269321"/>
                <a:gd name="connsiteX266" fmla="*/ 251862 w 316622"/>
                <a:gd name="connsiteY266" fmla="*/ 169016 h 269321"/>
                <a:gd name="connsiteX267" fmla="*/ 252018 w 316622"/>
                <a:gd name="connsiteY267" fmla="*/ 170378 h 269321"/>
                <a:gd name="connsiteX268" fmla="*/ 253270 w 316622"/>
                <a:gd name="connsiteY268" fmla="*/ 171624 h 269321"/>
                <a:gd name="connsiteX269" fmla="*/ 254006 w 316622"/>
                <a:gd name="connsiteY269" fmla="*/ 172980 h 269321"/>
                <a:gd name="connsiteX270" fmla="*/ 254304 w 316622"/>
                <a:gd name="connsiteY270" fmla="*/ 174390 h 269321"/>
                <a:gd name="connsiteX271" fmla="*/ 255695 w 316622"/>
                <a:gd name="connsiteY271" fmla="*/ 175434 h 269321"/>
                <a:gd name="connsiteX272" fmla="*/ 257647 w 316622"/>
                <a:gd name="connsiteY272" fmla="*/ 176058 h 269321"/>
                <a:gd name="connsiteX273" fmla="*/ 258764 w 316622"/>
                <a:gd name="connsiteY273" fmla="*/ 176100 h 269321"/>
                <a:gd name="connsiteX274" fmla="*/ 259494 w 316622"/>
                <a:gd name="connsiteY274" fmla="*/ 176475 h 269321"/>
                <a:gd name="connsiteX275" fmla="*/ 259932 w 316622"/>
                <a:gd name="connsiteY275" fmla="*/ 176958 h 269321"/>
                <a:gd name="connsiteX276" fmla="*/ 260772 w 316622"/>
                <a:gd name="connsiteY276" fmla="*/ 179974 h 269321"/>
                <a:gd name="connsiteX277" fmla="*/ 260269 w 316622"/>
                <a:gd name="connsiteY277" fmla="*/ 180730 h 269321"/>
                <a:gd name="connsiteX278" fmla="*/ 259217 w 316622"/>
                <a:gd name="connsiteY278" fmla="*/ 181052 h 269321"/>
                <a:gd name="connsiteX279" fmla="*/ 258589 w 316622"/>
                <a:gd name="connsiteY279" fmla="*/ 182291 h 269321"/>
                <a:gd name="connsiteX280" fmla="*/ 257334 w 316622"/>
                <a:gd name="connsiteY280" fmla="*/ 184118 h 269321"/>
                <a:gd name="connsiteX281" fmla="*/ 256622 w 316622"/>
                <a:gd name="connsiteY281" fmla="*/ 185583 h 269321"/>
                <a:gd name="connsiteX282" fmla="*/ 257410 w 316622"/>
                <a:gd name="connsiteY282" fmla="*/ 186872 h 269321"/>
                <a:gd name="connsiteX283" fmla="*/ 257746 w 316622"/>
                <a:gd name="connsiteY283" fmla="*/ 187826 h 269321"/>
                <a:gd name="connsiteX284" fmla="*/ 257325 w 316622"/>
                <a:gd name="connsiteY284" fmla="*/ 188808 h 269321"/>
                <a:gd name="connsiteX285" fmla="*/ 257887 w 316622"/>
                <a:gd name="connsiteY285" fmla="*/ 190337 h 269321"/>
                <a:gd name="connsiteX286" fmla="*/ 259370 w 316622"/>
                <a:gd name="connsiteY286" fmla="*/ 191849 h 269321"/>
                <a:gd name="connsiteX287" fmla="*/ 263398 w 316622"/>
                <a:gd name="connsiteY287" fmla="*/ 193974 h 269321"/>
                <a:gd name="connsiteX288" fmla="*/ 267138 w 316622"/>
                <a:gd name="connsiteY288" fmla="*/ 195701 h 269321"/>
                <a:gd name="connsiteX289" fmla="*/ 268295 w 316622"/>
                <a:gd name="connsiteY289" fmla="*/ 195988 h 269321"/>
                <a:gd name="connsiteX290" fmla="*/ 273348 w 316622"/>
                <a:gd name="connsiteY290" fmla="*/ 194877 h 269321"/>
                <a:gd name="connsiteX291" fmla="*/ 274184 w 316622"/>
                <a:gd name="connsiteY291" fmla="*/ 194973 h 269321"/>
                <a:gd name="connsiteX292" fmla="*/ 274799 w 316622"/>
                <a:gd name="connsiteY292" fmla="*/ 196296 h 269321"/>
                <a:gd name="connsiteX293" fmla="*/ 275067 w 316622"/>
                <a:gd name="connsiteY293" fmla="*/ 197186 h 269321"/>
                <a:gd name="connsiteX294" fmla="*/ 274499 w 316622"/>
                <a:gd name="connsiteY294" fmla="*/ 198527 h 269321"/>
                <a:gd name="connsiteX295" fmla="*/ 273132 w 316622"/>
                <a:gd name="connsiteY295" fmla="*/ 200372 h 269321"/>
                <a:gd name="connsiteX296" fmla="*/ 271651 w 316622"/>
                <a:gd name="connsiteY296" fmla="*/ 201842 h 269321"/>
                <a:gd name="connsiteX297" fmla="*/ 270753 w 316622"/>
                <a:gd name="connsiteY297" fmla="*/ 203091 h 269321"/>
                <a:gd name="connsiteX298" fmla="*/ 270940 w 316622"/>
                <a:gd name="connsiteY298" fmla="*/ 204224 h 269321"/>
                <a:gd name="connsiteX299" fmla="*/ 270999 w 316622"/>
                <a:gd name="connsiteY299" fmla="*/ 205731 h 269321"/>
                <a:gd name="connsiteX300" fmla="*/ 269794 w 316622"/>
                <a:gd name="connsiteY300" fmla="*/ 206182 h 269321"/>
                <a:gd name="connsiteX301" fmla="*/ 269755 w 316622"/>
                <a:gd name="connsiteY301" fmla="*/ 205884 h 269321"/>
                <a:gd name="connsiteX302" fmla="*/ 269258 w 316622"/>
                <a:gd name="connsiteY302" fmla="*/ 205630 h 269321"/>
                <a:gd name="connsiteX303" fmla="*/ 268829 w 316622"/>
                <a:gd name="connsiteY303" fmla="*/ 205780 h 269321"/>
                <a:gd name="connsiteX304" fmla="*/ 268498 w 316622"/>
                <a:gd name="connsiteY304" fmla="*/ 206107 h 269321"/>
                <a:gd name="connsiteX305" fmla="*/ 268446 w 316622"/>
                <a:gd name="connsiteY305" fmla="*/ 206687 h 269321"/>
                <a:gd name="connsiteX306" fmla="*/ 265877 w 316622"/>
                <a:gd name="connsiteY306" fmla="*/ 207649 h 269321"/>
                <a:gd name="connsiteX307" fmla="*/ 264106 w 316622"/>
                <a:gd name="connsiteY307" fmla="*/ 208646 h 269321"/>
                <a:gd name="connsiteX308" fmla="*/ 257103 w 316622"/>
                <a:gd name="connsiteY308" fmla="*/ 214594 h 269321"/>
                <a:gd name="connsiteX309" fmla="*/ 253827 w 316622"/>
                <a:gd name="connsiteY309" fmla="*/ 216336 h 269321"/>
                <a:gd name="connsiteX310" fmla="*/ 253182 w 316622"/>
                <a:gd name="connsiteY310" fmla="*/ 217385 h 269321"/>
                <a:gd name="connsiteX311" fmla="*/ 252514 w 316622"/>
                <a:gd name="connsiteY311" fmla="*/ 219345 h 269321"/>
                <a:gd name="connsiteX312" fmla="*/ 250590 w 316622"/>
                <a:gd name="connsiteY312" fmla="*/ 221026 h 269321"/>
                <a:gd name="connsiteX313" fmla="*/ 248906 w 316622"/>
                <a:gd name="connsiteY313" fmla="*/ 221825 h 269321"/>
                <a:gd name="connsiteX314" fmla="*/ 244734 w 316622"/>
                <a:gd name="connsiteY314" fmla="*/ 222646 h 269321"/>
                <a:gd name="connsiteX315" fmla="*/ 240545 w 316622"/>
                <a:gd name="connsiteY315" fmla="*/ 224426 h 269321"/>
                <a:gd name="connsiteX316" fmla="*/ 238658 w 316622"/>
                <a:gd name="connsiteY316" fmla="*/ 223659 h 269321"/>
                <a:gd name="connsiteX317" fmla="*/ 233769 w 316622"/>
                <a:gd name="connsiteY317" fmla="*/ 223741 h 269321"/>
                <a:gd name="connsiteX318" fmla="*/ 230720 w 316622"/>
                <a:gd name="connsiteY318" fmla="*/ 221596 h 269321"/>
                <a:gd name="connsiteX319" fmla="*/ 224859 w 316622"/>
                <a:gd name="connsiteY319" fmla="*/ 220235 h 269321"/>
                <a:gd name="connsiteX320" fmla="*/ 222950 w 316622"/>
                <a:gd name="connsiteY320" fmla="*/ 217107 h 269321"/>
                <a:gd name="connsiteX321" fmla="*/ 220281 w 316622"/>
                <a:gd name="connsiteY321" fmla="*/ 216904 h 269321"/>
                <a:gd name="connsiteX322" fmla="*/ 218532 w 316622"/>
                <a:gd name="connsiteY322" fmla="*/ 216998 h 269321"/>
                <a:gd name="connsiteX323" fmla="*/ 217487 w 316622"/>
                <a:gd name="connsiteY323" fmla="*/ 216524 h 269321"/>
                <a:gd name="connsiteX324" fmla="*/ 217215 w 316622"/>
                <a:gd name="connsiteY324" fmla="*/ 215456 h 269321"/>
                <a:gd name="connsiteX325" fmla="*/ 217191 w 316622"/>
                <a:gd name="connsiteY325" fmla="*/ 214427 h 269321"/>
                <a:gd name="connsiteX326" fmla="*/ 215339 w 316622"/>
                <a:gd name="connsiteY326" fmla="*/ 214901 h 269321"/>
                <a:gd name="connsiteX327" fmla="*/ 213922 w 316622"/>
                <a:gd name="connsiteY327" fmla="*/ 214901 h 269321"/>
                <a:gd name="connsiteX328" fmla="*/ 213077 w 316622"/>
                <a:gd name="connsiteY328" fmla="*/ 215313 h 269321"/>
                <a:gd name="connsiteX329" fmla="*/ 212410 w 316622"/>
                <a:gd name="connsiteY329" fmla="*/ 215789 h 269321"/>
                <a:gd name="connsiteX330" fmla="*/ 211622 w 316622"/>
                <a:gd name="connsiteY330" fmla="*/ 215485 h 269321"/>
                <a:gd name="connsiteX331" fmla="*/ 211164 w 316622"/>
                <a:gd name="connsiteY331" fmla="*/ 215587 h 269321"/>
                <a:gd name="connsiteX332" fmla="*/ 211205 w 316622"/>
                <a:gd name="connsiteY332" fmla="*/ 216193 h 269321"/>
                <a:gd name="connsiteX333" fmla="*/ 209504 w 316622"/>
                <a:gd name="connsiteY333" fmla="*/ 216344 h 269321"/>
                <a:gd name="connsiteX334" fmla="*/ 207660 w 316622"/>
                <a:gd name="connsiteY334" fmla="*/ 215973 h 269321"/>
                <a:gd name="connsiteX335" fmla="*/ 202818 w 316622"/>
                <a:gd name="connsiteY335" fmla="*/ 214355 h 269321"/>
                <a:gd name="connsiteX336" fmla="*/ 202075 w 316622"/>
                <a:gd name="connsiteY336" fmla="*/ 214108 h 269321"/>
                <a:gd name="connsiteX337" fmla="*/ 198715 w 316622"/>
                <a:gd name="connsiteY337" fmla="*/ 213482 h 269321"/>
                <a:gd name="connsiteX338" fmla="*/ 197357 w 316622"/>
                <a:gd name="connsiteY338" fmla="*/ 212836 h 269321"/>
                <a:gd name="connsiteX339" fmla="*/ 196258 w 316622"/>
                <a:gd name="connsiteY339" fmla="*/ 211236 h 269321"/>
                <a:gd name="connsiteX340" fmla="*/ 195418 w 316622"/>
                <a:gd name="connsiteY340" fmla="*/ 210730 h 269321"/>
                <a:gd name="connsiteX341" fmla="*/ 194921 w 316622"/>
                <a:gd name="connsiteY341" fmla="*/ 210427 h 269321"/>
                <a:gd name="connsiteX342" fmla="*/ 191786 w 316622"/>
                <a:gd name="connsiteY342" fmla="*/ 211235 h 269321"/>
                <a:gd name="connsiteX343" fmla="*/ 190698 w 316622"/>
                <a:gd name="connsiteY343" fmla="*/ 212494 h 269321"/>
                <a:gd name="connsiteX344" fmla="*/ 188998 w 316622"/>
                <a:gd name="connsiteY344" fmla="*/ 213967 h 269321"/>
                <a:gd name="connsiteX345" fmla="*/ 177370 w 316622"/>
                <a:gd name="connsiteY345" fmla="*/ 221183 h 269321"/>
                <a:gd name="connsiteX346" fmla="*/ 175247 w 316622"/>
                <a:gd name="connsiteY346" fmla="*/ 224201 h 269321"/>
                <a:gd name="connsiteX347" fmla="*/ 172790 w 316622"/>
                <a:gd name="connsiteY347" fmla="*/ 228639 h 269321"/>
                <a:gd name="connsiteX348" fmla="*/ 172598 w 316622"/>
                <a:gd name="connsiteY348" fmla="*/ 230707 h 269321"/>
                <a:gd name="connsiteX349" fmla="*/ 173656 w 316622"/>
                <a:gd name="connsiteY349" fmla="*/ 237309 h 269321"/>
                <a:gd name="connsiteX350" fmla="*/ 176020 w 316622"/>
                <a:gd name="connsiteY350" fmla="*/ 240769 h 269321"/>
                <a:gd name="connsiteX351" fmla="*/ 176320 w 316622"/>
                <a:gd name="connsiteY351" fmla="*/ 241569 h 269321"/>
                <a:gd name="connsiteX352" fmla="*/ 175010 w 316622"/>
                <a:gd name="connsiteY352" fmla="*/ 241573 h 269321"/>
                <a:gd name="connsiteX353" fmla="*/ 172809 w 316622"/>
                <a:gd name="connsiteY353" fmla="*/ 241141 h 269321"/>
                <a:gd name="connsiteX354" fmla="*/ 170982 w 316622"/>
                <a:gd name="connsiteY354" fmla="*/ 240607 h 269321"/>
                <a:gd name="connsiteX355" fmla="*/ 169244 w 316622"/>
                <a:gd name="connsiteY355" fmla="*/ 240905 h 269321"/>
                <a:gd name="connsiteX356" fmla="*/ 167569 w 316622"/>
                <a:gd name="connsiteY356" fmla="*/ 241620 h 269321"/>
                <a:gd name="connsiteX357" fmla="*/ 166104 w 316622"/>
                <a:gd name="connsiteY357" fmla="*/ 242052 h 269321"/>
                <a:gd name="connsiteX358" fmla="*/ 165053 w 316622"/>
                <a:gd name="connsiteY358" fmla="*/ 242173 h 269321"/>
                <a:gd name="connsiteX359" fmla="*/ 164349 w 316622"/>
                <a:gd name="connsiteY359" fmla="*/ 242585 h 269321"/>
                <a:gd name="connsiteX360" fmla="*/ 164012 w 316622"/>
                <a:gd name="connsiteY360" fmla="*/ 243409 h 269321"/>
                <a:gd name="connsiteX361" fmla="*/ 163943 w 316622"/>
                <a:gd name="connsiteY361" fmla="*/ 243985 h 269321"/>
                <a:gd name="connsiteX362" fmla="*/ 162092 w 316622"/>
                <a:gd name="connsiteY362" fmla="*/ 243843 h 269321"/>
                <a:gd name="connsiteX363" fmla="*/ 157812 w 316622"/>
                <a:gd name="connsiteY363" fmla="*/ 242658 h 269321"/>
                <a:gd name="connsiteX364" fmla="*/ 153964 w 316622"/>
                <a:gd name="connsiteY364" fmla="*/ 241841 h 269321"/>
                <a:gd name="connsiteX365" fmla="*/ 151708 w 316622"/>
                <a:gd name="connsiteY365" fmla="*/ 242770 h 269321"/>
                <a:gd name="connsiteX366" fmla="*/ 150256 w 316622"/>
                <a:gd name="connsiteY366" fmla="*/ 243638 h 269321"/>
                <a:gd name="connsiteX367" fmla="*/ 149235 w 316622"/>
                <a:gd name="connsiteY367" fmla="*/ 243505 h 269321"/>
                <a:gd name="connsiteX368" fmla="*/ 148460 w 316622"/>
                <a:gd name="connsiteY368" fmla="*/ 242592 h 269321"/>
                <a:gd name="connsiteX369" fmla="*/ 147940 w 316622"/>
                <a:gd name="connsiteY369" fmla="*/ 241698 h 269321"/>
                <a:gd name="connsiteX370" fmla="*/ 146432 w 316622"/>
                <a:gd name="connsiteY370" fmla="*/ 240878 h 269321"/>
                <a:gd name="connsiteX371" fmla="*/ 143034 w 316622"/>
                <a:gd name="connsiteY371" fmla="*/ 239645 h 269321"/>
                <a:gd name="connsiteX372" fmla="*/ 143208 w 316622"/>
                <a:gd name="connsiteY372" fmla="*/ 239050 h 269321"/>
                <a:gd name="connsiteX373" fmla="*/ 143789 w 316622"/>
                <a:gd name="connsiteY373" fmla="*/ 238220 h 269321"/>
                <a:gd name="connsiteX374" fmla="*/ 143772 w 316622"/>
                <a:gd name="connsiteY374" fmla="*/ 237708 h 269321"/>
                <a:gd name="connsiteX375" fmla="*/ 143118 w 316622"/>
                <a:gd name="connsiteY375" fmla="*/ 236947 h 269321"/>
                <a:gd name="connsiteX376" fmla="*/ 139985 w 316622"/>
                <a:gd name="connsiteY376" fmla="*/ 236130 h 269321"/>
                <a:gd name="connsiteX377" fmla="*/ 138508 w 316622"/>
                <a:gd name="connsiteY377" fmla="*/ 235924 h 269321"/>
                <a:gd name="connsiteX378" fmla="*/ 137568 w 316622"/>
                <a:gd name="connsiteY378" fmla="*/ 236486 h 269321"/>
                <a:gd name="connsiteX379" fmla="*/ 136892 w 316622"/>
                <a:gd name="connsiteY379" fmla="*/ 237174 h 269321"/>
                <a:gd name="connsiteX380" fmla="*/ 135147 w 316622"/>
                <a:gd name="connsiteY380" fmla="*/ 234643 h 269321"/>
                <a:gd name="connsiteX381" fmla="*/ 133906 w 316622"/>
                <a:gd name="connsiteY381" fmla="*/ 234128 h 269321"/>
                <a:gd name="connsiteX382" fmla="*/ 132027 w 316622"/>
                <a:gd name="connsiteY382" fmla="*/ 234043 h 269321"/>
                <a:gd name="connsiteX383" fmla="*/ 129879 w 316622"/>
                <a:gd name="connsiteY383" fmla="*/ 233270 h 269321"/>
                <a:gd name="connsiteX384" fmla="*/ 127643 w 316622"/>
                <a:gd name="connsiteY384" fmla="*/ 232283 h 269321"/>
                <a:gd name="connsiteX385" fmla="*/ 122213 w 316622"/>
                <a:gd name="connsiteY385" fmla="*/ 230703 h 269321"/>
                <a:gd name="connsiteX386" fmla="*/ 120718 w 316622"/>
                <a:gd name="connsiteY386" fmla="*/ 230514 h 269321"/>
                <a:gd name="connsiteX387" fmla="*/ 120120 w 316622"/>
                <a:gd name="connsiteY387" fmla="*/ 230764 h 269321"/>
                <a:gd name="connsiteX388" fmla="*/ 119721 w 316622"/>
                <a:gd name="connsiteY388" fmla="*/ 231709 h 269321"/>
                <a:gd name="connsiteX389" fmla="*/ 119505 w 316622"/>
                <a:gd name="connsiteY389" fmla="*/ 234377 h 269321"/>
                <a:gd name="connsiteX390" fmla="*/ 119276 w 316622"/>
                <a:gd name="connsiteY390" fmla="*/ 234672 h 269321"/>
                <a:gd name="connsiteX391" fmla="*/ 116756 w 316622"/>
                <a:gd name="connsiteY391" fmla="*/ 234761 h 269321"/>
                <a:gd name="connsiteX392" fmla="*/ 113651 w 316622"/>
                <a:gd name="connsiteY392" fmla="*/ 234390 h 269321"/>
                <a:gd name="connsiteX393" fmla="*/ 112228 w 316622"/>
                <a:gd name="connsiteY393" fmla="*/ 234574 h 269321"/>
                <a:gd name="connsiteX394" fmla="*/ 110958 w 316622"/>
                <a:gd name="connsiteY394" fmla="*/ 234583 h 269321"/>
                <a:gd name="connsiteX395" fmla="*/ 109762 w 316622"/>
                <a:gd name="connsiteY395" fmla="*/ 233877 h 269321"/>
                <a:gd name="connsiteX396" fmla="*/ 104399 w 316622"/>
                <a:gd name="connsiteY396" fmla="*/ 234685 h 269321"/>
                <a:gd name="connsiteX397" fmla="*/ 103507 w 316622"/>
                <a:gd name="connsiteY397" fmla="*/ 234291 h 269321"/>
                <a:gd name="connsiteX398" fmla="*/ 102212 w 316622"/>
                <a:gd name="connsiteY398" fmla="*/ 233086 h 269321"/>
                <a:gd name="connsiteX399" fmla="*/ 100769 w 316622"/>
                <a:gd name="connsiteY399" fmla="*/ 232114 h 269321"/>
                <a:gd name="connsiteX400" fmla="*/ 99647 w 316622"/>
                <a:gd name="connsiteY400" fmla="*/ 231615 h 269321"/>
                <a:gd name="connsiteX401" fmla="*/ 98691 w 316622"/>
                <a:gd name="connsiteY401" fmla="*/ 231043 h 269321"/>
                <a:gd name="connsiteX402" fmla="*/ 97822 w 316622"/>
                <a:gd name="connsiteY402" fmla="*/ 230950 h 269321"/>
                <a:gd name="connsiteX403" fmla="*/ 96499 w 316622"/>
                <a:gd name="connsiteY403" fmla="*/ 231504 h 269321"/>
                <a:gd name="connsiteX404" fmla="*/ 94670 w 316622"/>
                <a:gd name="connsiteY404" fmla="*/ 231739 h 269321"/>
                <a:gd name="connsiteX405" fmla="*/ 93152 w 316622"/>
                <a:gd name="connsiteY405" fmla="*/ 231667 h 269321"/>
                <a:gd name="connsiteX406" fmla="*/ 92342 w 316622"/>
                <a:gd name="connsiteY406" fmla="*/ 231748 h 269321"/>
                <a:gd name="connsiteX407" fmla="*/ 88942 w 316622"/>
                <a:gd name="connsiteY407" fmla="*/ 228789 h 269321"/>
                <a:gd name="connsiteX408" fmla="*/ 88445 w 316622"/>
                <a:gd name="connsiteY408" fmla="*/ 227979 h 269321"/>
                <a:gd name="connsiteX409" fmla="*/ 86752 w 316622"/>
                <a:gd name="connsiteY409" fmla="*/ 227754 h 269321"/>
                <a:gd name="connsiteX410" fmla="*/ 84660 w 316622"/>
                <a:gd name="connsiteY410" fmla="*/ 227718 h 269321"/>
                <a:gd name="connsiteX411" fmla="*/ 79317 w 316622"/>
                <a:gd name="connsiteY411" fmla="*/ 225799 h 269321"/>
                <a:gd name="connsiteX412" fmla="*/ 76885 w 316622"/>
                <a:gd name="connsiteY412" fmla="*/ 224768 h 269321"/>
                <a:gd name="connsiteX413" fmla="*/ 76529 w 316622"/>
                <a:gd name="connsiteY413" fmla="*/ 224155 h 269321"/>
                <a:gd name="connsiteX414" fmla="*/ 76562 w 316622"/>
                <a:gd name="connsiteY414" fmla="*/ 223659 h 269321"/>
                <a:gd name="connsiteX415" fmla="*/ 76147 w 316622"/>
                <a:gd name="connsiteY415" fmla="*/ 223766 h 269321"/>
                <a:gd name="connsiteX416" fmla="*/ 75397 w 316622"/>
                <a:gd name="connsiteY416" fmla="*/ 224643 h 269321"/>
                <a:gd name="connsiteX417" fmla="*/ 75004 w 316622"/>
                <a:gd name="connsiteY417" fmla="*/ 225358 h 269321"/>
                <a:gd name="connsiteX418" fmla="*/ 74484 w 316622"/>
                <a:gd name="connsiteY418" fmla="*/ 225492 h 269321"/>
                <a:gd name="connsiteX419" fmla="*/ 73716 w 316622"/>
                <a:gd name="connsiteY419" fmla="*/ 225381 h 269321"/>
                <a:gd name="connsiteX420" fmla="*/ 73007 w 316622"/>
                <a:gd name="connsiteY420" fmla="*/ 224978 h 269321"/>
                <a:gd name="connsiteX421" fmla="*/ 72573 w 316622"/>
                <a:gd name="connsiteY421" fmla="*/ 224459 h 269321"/>
                <a:gd name="connsiteX422" fmla="*/ 73038 w 316622"/>
                <a:gd name="connsiteY422" fmla="*/ 223551 h 269321"/>
                <a:gd name="connsiteX423" fmla="*/ 73852 w 316622"/>
                <a:gd name="connsiteY423" fmla="*/ 222367 h 269321"/>
                <a:gd name="connsiteX424" fmla="*/ 74190 w 316622"/>
                <a:gd name="connsiteY424" fmla="*/ 221078 h 269321"/>
                <a:gd name="connsiteX425" fmla="*/ 74116 w 316622"/>
                <a:gd name="connsiteY425" fmla="*/ 219924 h 269321"/>
                <a:gd name="connsiteX426" fmla="*/ 72766 w 316622"/>
                <a:gd name="connsiteY426" fmla="*/ 219183 h 269321"/>
                <a:gd name="connsiteX427" fmla="*/ 70781 w 316622"/>
                <a:gd name="connsiteY427" fmla="*/ 218874 h 269321"/>
                <a:gd name="connsiteX428" fmla="*/ 69329 w 316622"/>
                <a:gd name="connsiteY428" fmla="*/ 218786 h 269321"/>
                <a:gd name="connsiteX429" fmla="*/ 67434 w 316622"/>
                <a:gd name="connsiteY429" fmla="*/ 218126 h 269321"/>
                <a:gd name="connsiteX430" fmla="*/ 66541 w 316622"/>
                <a:gd name="connsiteY430" fmla="*/ 217650 h 269321"/>
                <a:gd name="connsiteX431" fmla="*/ 65668 w 316622"/>
                <a:gd name="connsiteY431" fmla="*/ 216364 h 269321"/>
                <a:gd name="connsiteX432" fmla="*/ 65639 w 316622"/>
                <a:gd name="connsiteY432" fmla="*/ 215428 h 269321"/>
                <a:gd name="connsiteX433" fmla="*/ 69234 w 316622"/>
                <a:gd name="connsiteY433" fmla="*/ 214602 h 269321"/>
                <a:gd name="connsiteX434" fmla="*/ 72476 w 316622"/>
                <a:gd name="connsiteY434" fmla="*/ 211216 h 269321"/>
                <a:gd name="connsiteX435" fmla="*/ 75546 w 316622"/>
                <a:gd name="connsiteY435" fmla="*/ 198890 h 269321"/>
                <a:gd name="connsiteX436" fmla="*/ 77768 w 316622"/>
                <a:gd name="connsiteY436" fmla="*/ 184245 h 269321"/>
                <a:gd name="connsiteX437" fmla="*/ 79420 w 316622"/>
                <a:gd name="connsiteY437" fmla="*/ 181469 h 269321"/>
                <a:gd name="connsiteX438" fmla="*/ 81495 w 316622"/>
                <a:gd name="connsiteY438" fmla="*/ 180706 h 269321"/>
                <a:gd name="connsiteX439" fmla="*/ 79817 w 316622"/>
                <a:gd name="connsiteY439" fmla="*/ 178684 h 269321"/>
                <a:gd name="connsiteX440" fmla="*/ 78766 w 316622"/>
                <a:gd name="connsiteY440" fmla="*/ 179708 h 269321"/>
                <a:gd name="connsiteX441" fmla="*/ 78325 w 316622"/>
                <a:gd name="connsiteY441" fmla="*/ 180794 h 269321"/>
                <a:gd name="connsiteX442" fmla="*/ 77775 w 316622"/>
                <a:gd name="connsiteY442" fmla="*/ 181336 h 269321"/>
                <a:gd name="connsiteX443" fmla="*/ 79016 w 316622"/>
                <a:gd name="connsiteY443" fmla="*/ 167825 h 269321"/>
                <a:gd name="connsiteX444" fmla="*/ 79901 w 316622"/>
                <a:gd name="connsiteY444" fmla="*/ 162861 h 269321"/>
                <a:gd name="connsiteX445" fmla="*/ 81406 w 316622"/>
                <a:gd name="connsiteY445" fmla="*/ 157650 h 269321"/>
                <a:gd name="connsiteX446" fmla="*/ 84485 w 316622"/>
                <a:gd name="connsiteY446" fmla="*/ 159720 h 269321"/>
                <a:gd name="connsiteX447" fmla="*/ 87037 w 316622"/>
                <a:gd name="connsiteY447" fmla="*/ 161817 h 269321"/>
                <a:gd name="connsiteX448" fmla="*/ 88357 w 316622"/>
                <a:gd name="connsiteY448" fmla="*/ 163636 h 269321"/>
                <a:gd name="connsiteX449" fmla="*/ 90027 w 316622"/>
                <a:gd name="connsiteY449" fmla="*/ 169686 h 269321"/>
                <a:gd name="connsiteX450" fmla="*/ 91290 w 316622"/>
                <a:gd name="connsiteY450" fmla="*/ 170954 h 269321"/>
                <a:gd name="connsiteX451" fmla="*/ 93181 w 316622"/>
                <a:gd name="connsiteY451" fmla="*/ 172226 h 269321"/>
                <a:gd name="connsiteX452" fmla="*/ 92434 w 316622"/>
                <a:gd name="connsiteY452" fmla="*/ 170837 h 269321"/>
                <a:gd name="connsiteX453" fmla="*/ 91133 w 316622"/>
                <a:gd name="connsiteY453" fmla="*/ 169776 h 269321"/>
                <a:gd name="connsiteX454" fmla="*/ 89099 w 316622"/>
                <a:gd name="connsiteY454" fmla="*/ 161709 h 269321"/>
                <a:gd name="connsiteX455" fmla="*/ 87823 w 316622"/>
                <a:gd name="connsiteY455" fmla="*/ 159420 h 269321"/>
                <a:gd name="connsiteX456" fmla="*/ 85836 w 316622"/>
                <a:gd name="connsiteY456" fmla="*/ 157492 h 269321"/>
                <a:gd name="connsiteX457" fmla="*/ 79438 w 316622"/>
                <a:gd name="connsiteY457" fmla="*/ 153428 h 269321"/>
                <a:gd name="connsiteX458" fmla="*/ 78863 w 316622"/>
                <a:gd name="connsiteY458" fmla="*/ 152643 h 269321"/>
                <a:gd name="connsiteX459" fmla="*/ 78554 w 316622"/>
                <a:gd name="connsiteY459" fmla="*/ 151089 h 269321"/>
                <a:gd name="connsiteX460" fmla="*/ 80668 w 316622"/>
                <a:gd name="connsiteY460" fmla="*/ 151155 h 269321"/>
                <a:gd name="connsiteX461" fmla="*/ 82495 w 316622"/>
                <a:gd name="connsiteY461" fmla="*/ 151910 h 269321"/>
                <a:gd name="connsiteX462" fmla="*/ 82279 w 316622"/>
                <a:gd name="connsiteY462" fmla="*/ 151040 h 269321"/>
                <a:gd name="connsiteX463" fmla="*/ 81737 w 316622"/>
                <a:gd name="connsiteY463" fmla="*/ 150131 h 269321"/>
                <a:gd name="connsiteX464" fmla="*/ 80889 w 316622"/>
                <a:gd name="connsiteY464" fmla="*/ 146830 h 269321"/>
                <a:gd name="connsiteX465" fmla="*/ 80181 w 316622"/>
                <a:gd name="connsiteY465" fmla="*/ 139107 h 269321"/>
                <a:gd name="connsiteX466" fmla="*/ 80277 w 316622"/>
                <a:gd name="connsiteY466" fmla="*/ 137782 h 269321"/>
                <a:gd name="connsiteX467" fmla="*/ 79962 w 316622"/>
                <a:gd name="connsiteY467" fmla="*/ 136157 h 269321"/>
                <a:gd name="connsiteX468" fmla="*/ 77916 w 316622"/>
                <a:gd name="connsiteY468" fmla="*/ 135793 h 269321"/>
                <a:gd name="connsiteX469" fmla="*/ 76280 w 316622"/>
                <a:gd name="connsiteY469" fmla="*/ 135726 h 269321"/>
                <a:gd name="connsiteX470" fmla="*/ 74518 w 316622"/>
                <a:gd name="connsiteY470" fmla="*/ 135084 h 269321"/>
                <a:gd name="connsiteX471" fmla="*/ 65805 w 316622"/>
                <a:gd name="connsiteY471" fmla="*/ 130514 h 269321"/>
                <a:gd name="connsiteX472" fmla="*/ 62822 w 316622"/>
                <a:gd name="connsiteY472" fmla="*/ 125790 h 269321"/>
                <a:gd name="connsiteX473" fmla="*/ 59772 w 316622"/>
                <a:gd name="connsiteY473" fmla="*/ 122297 h 269321"/>
                <a:gd name="connsiteX474" fmla="*/ 59040 w 316622"/>
                <a:gd name="connsiteY474" fmla="*/ 120772 h 269321"/>
                <a:gd name="connsiteX475" fmla="*/ 59088 w 316622"/>
                <a:gd name="connsiteY475" fmla="*/ 119226 h 269321"/>
                <a:gd name="connsiteX476" fmla="*/ 60667 w 316622"/>
                <a:gd name="connsiteY476" fmla="*/ 115957 h 269321"/>
                <a:gd name="connsiteX477" fmla="*/ 59273 w 316622"/>
                <a:gd name="connsiteY477" fmla="*/ 113891 h 269321"/>
                <a:gd name="connsiteX478" fmla="*/ 57911 w 316622"/>
                <a:gd name="connsiteY478" fmla="*/ 113480 h 269321"/>
                <a:gd name="connsiteX479" fmla="*/ 56727 w 316622"/>
                <a:gd name="connsiteY479" fmla="*/ 112457 h 269321"/>
                <a:gd name="connsiteX480" fmla="*/ 57799 w 316622"/>
                <a:gd name="connsiteY480" fmla="*/ 110751 h 269321"/>
                <a:gd name="connsiteX481" fmla="*/ 58690 w 316622"/>
                <a:gd name="connsiteY481" fmla="*/ 109659 h 269321"/>
                <a:gd name="connsiteX482" fmla="*/ 60475 w 316622"/>
                <a:gd name="connsiteY482" fmla="*/ 109362 h 269321"/>
                <a:gd name="connsiteX483" fmla="*/ 62816 w 316622"/>
                <a:gd name="connsiteY483" fmla="*/ 109724 h 269321"/>
                <a:gd name="connsiteX484" fmla="*/ 65036 w 316622"/>
                <a:gd name="connsiteY484" fmla="*/ 110712 h 269321"/>
                <a:gd name="connsiteX485" fmla="*/ 66778 w 316622"/>
                <a:gd name="connsiteY485" fmla="*/ 110974 h 269321"/>
                <a:gd name="connsiteX486" fmla="*/ 61629 w 316622"/>
                <a:gd name="connsiteY486" fmla="*/ 108323 h 269321"/>
                <a:gd name="connsiteX487" fmla="*/ 53279 w 316622"/>
                <a:gd name="connsiteY487" fmla="*/ 109217 h 269321"/>
                <a:gd name="connsiteX488" fmla="*/ 51479 w 316622"/>
                <a:gd name="connsiteY488" fmla="*/ 108875 h 269321"/>
                <a:gd name="connsiteX489" fmla="*/ 49959 w 316622"/>
                <a:gd name="connsiteY489" fmla="*/ 108284 h 269321"/>
                <a:gd name="connsiteX490" fmla="*/ 49365 w 316622"/>
                <a:gd name="connsiteY490" fmla="*/ 106336 h 269321"/>
                <a:gd name="connsiteX491" fmla="*/ 50552 w 316622"/>
                <a:gd name="connsiteY491" fmla="*/ 105458 h 269321"/>
                <a:gd name="connsiteX492" fmla="*/ 51628 w 316622"/>
                <a:gd name="connsiteY492" fmla="*/ 103833 h 269321"/>
                <a:gd name="connsiteX493" fmla="*/ 50411 w 316622"/>
                <a:gd name="connsiteY493" fmla="*/ 102690 h 269321"/>
                <a:gd name="connsiteX494" fmla="*/ 48834 w 316622"/>
                <a:gd name="connsiteY494" fmla="*/ 102257 h 269321"/>
                <a:gd name="connsiteX495" fmla="*/ 46360 w 316622"/>
                <a:gd name="connsiteY495" fmla="*/ 102282 h 269321"/>
                <a:gd name="connsiteX496" fmla="*/ 44052 w 316622"/>
                <a:gd name="connsiteY496" fmla="*/ 102627 h 269321"/>
                <a:gd name="connsiteX497" fmla="*/ 43466 w 316622"/>
                <a:gd name="connsiteY497" fmla="*/ 101970 h 269321"/>
                <a:gd name="connsiteX498" fmla="*/ 44874 w 316622"/>
                <a:gd name="connsiteY498" fmla="*/ 100158 h 269321"/>
                <a:gd name="connsiteX499" fmla="*/ 43678 w 316622"/>
                <a:gd name="connsiteY499" fmla="*/ 99491 h 269321"/>
                <a:gd name="connsiteX500" fmla="*/ 42082 w 316622"/>
                <a:gd name="connsiteY500" fmla="*/ 99802 h 269321"/>
                <a:gd name="connsiteX501" fmla="*/ 39767 w 316622"/>
                <a:gd name="connsiteY501" fmla="*/ 100178 h 269321"/>
                <a:gd name="connsiteX502" fmla="*/ 37553 w 316622"/>
                <a:gd name="connsiteY502" fmla="*/ 99609 h 269321"/>
                <a:gd name="connsiteX503" fmla="*/ 35460 w 316622"/>
                <a:gd name="connsiteY503" fmla="*/ 97547 h 269321"/>
                <a:gd name="connsiteX504" fmla="*/ 34073 w 316622"/>
                <a:gd name="connsiteY504" fmla="*/ 97562 h 269321"/>
                <a:gd name="connsiteX505" fmla="*/ 33120 w 316622"/>
                <a:gd name="connsiteY505" fmla="*/ 97817 h 269321"/>
                <a:gd name="connsiteX506" fmla="*/ 31706 w 316622"/>
                <a:gd name="connsiteY506" fmla="*/ 97023 h 269321"/>
                <a:gd name="connsiteX507" fmla="*/ 30218 w 316622"/>
                <a:gd name="connsiteY507" fmla="*/ 96824 h 269321"/>
                <a:gd name="connsiteX508" fmla="*/ 29156 w 316622"/>
                <a:gd name="connsiteY508" fmla="*/ 97087 h 269321"/>
                <a:gd name="connsiteX509" fmla="*/ 27744 w 316622"/>
                <a:gd name="connsiteY509" fmla="*/ 95903 h 269321"/>
                <a:gd name="connsiteX510" fmla="*/ 19051 w 316622"/>
                <a:gd name="connsiteY510" fmla="*/ 93527 h 269321"/>
                <a:gd name="connsiteX511" fmla="*/ 15297 w 316622"/>
                <a:gd name="connsiteY511" fmla="*/ 93236 h 269321"/>
                <a:gd name="connsiteX512" fmla="*/ 11854 w 316622"/>
                <a:gd name="connsiteY512" fmla="*/ 94313 h 269321"/>
                <a:gd name="connsiteX513" fmla="*/ 9959 w 316622"/>
                <a:gd name="connsiteY513" fmla="*/ 93939 h 269321"/>
                <a:gd name="connsiteX514" fmla="*/ 8566 w 316622"/>
                <a:gd name="connsiteY514" fmla="*/ 92403 h 269321"/>
                <a:gd name="connsiteX515" fmla="*/ 7397 w 316622"/>
                <a:gd name="connsiteY515" fmla="*/ 89823 h 269321"/>
                <a:gd name="connsiteX516" fmla="*/ 1851 w 316622"/>
                <a:gd name="connsiteY516" fmla="*/ 87832 h 269321"/>
                <a:gd name="connsiteX517" fmla="*/ 2948 w 316622"/>
                <a:gd name="connsiteY517" fmla="*/ 86526 h 269321"/>
                <a:gd name="connsiteX518" fmla="*/ 5530 w 316622"/>
                <a:gd name="connsiteY518" fmla="*/ 86217 h 269321"/>
                <a:gd name="connsiteX519" fmla="*/ 8506 w 316622"/>
                <a:gd name="connsiteY519" fmla="*/ 85310 h 269321"/>
                <a:gd name="connsiteX520" fmla="*/ 9576 w 316622"/>
                <a:gd name="connsiteY520" fmla="*/ 84147 h 269321"/>
                <a:gd name="connsiteX521" fmla="*/ 7250 w 316622"/>
                <a:gd name="connsiteY521" fmla="*/ 82790 h 269321"/>
                <a:gd name="connsiteX522" fmla="*/ 5535 w 316622"/>
                <a:gd name="connsiteY522" fmla="*/ 82457 h 269321"/>
                <a:gd name="connsiteX523" fmla="*/ 4824 w 316622"/>
                <a:gd name="connsiteY523" fmla="*/ 81969 h 269321"/>
                <a:gd name="connsiteX524" fmla="*/ 4099 w 316622"/>
                <a:gd name="connsiteY524" fmla="*/ 80751 h 269321"/>
                <a:gd name="connsiteX525" fmla="*/ 5127 w 316622"/>
                <a:gd name="connsiteY525" fmla="*/ 80193 h 269321"/>
                <a:gd name="connsiteX526" fmla="*/ 5851 w 316622"/>
                <a:gd name="connsiteY526" fmla="*/ 80489 h 269321"/>
                <a:gd name="connsiteX527" fmla="*/ 7942 w 316622"/>
                <a:gd name="connsiteY527" fmla="*/ 80665 h 269321"/>
                <a:gd name="connsiteX528" fmla="*/ 11523 w 316622"/>
                <a:gd name="connsiteY528" fmla="*/ 80365 h 269321"/>
                <a:gd name="connsiteX529" fmla="*/ 10188 w 316622"/>
                <a:gd name="connsiteY529" fmla="*/ 79136 h 269321"/>
                <a:gd name="connsiteX530" fmla="*/ 8803 w 316622"/>
                <a:gd name="connsiteY530" fmla="*/ 78862 h 269321"/>
                <a:gd name="connsiteX531" fmla="*/ 8167 w 316622"/>
                <a:gd name="connsiteY531" fmla="*/ 78554 h 269321"/>
                <a:gd name="connsiteX532" fmla="*/ 5256 w 316622"/>
                <a:gd name="connsiteY532" fmla="*/ 78421 h 269321"/>
                <a:gd name="connsiteX533" fmla="*/ 3931 w 316622"/>
                <a:gd name="connsiteY533" fmla="*/ 78840 h 269321"/>
                <a:gd name="connsiteX534" fmla="*/ 954 w 316622"/>
                <a:gd name="connsiteY534" fmla="*/ 78681 h 269321"/>
                <a:gd name="connsiteX535" fmla="*/ 309 w 316622"/>
                <a:gd name="connsiteY535" fmla="*/ 77352 h 269321"/>
                <a:gd name="connsiteX536" fmla="*/ 0 w 316622"/>
                <a:gd name="connsiteY536" fmla="*/ 76212 h 269321"/>
                <a:gd name="connsiteX537" fmla="*/ 923 w 316622"/>
                <a:gd name="connsiteY537" fmla="*/ 73668 h 269321"/>
                <a:gd name="connsiteX538" fmla="*/ 5115 w 316622"/>
                <a:gd name="connsiteY538" fmla="*/ 71394 h 269321"/>
                <a:gd name="connsiteX539" fmla="*/ 15558 w 316622"/>
                <a:gd name="connsiteY539" fmla="*/ 68905 h 269321"/>
                <a:gd name="connsiteX540" fmla="*/ 20052 w 316622"/>
                <a:gd name="connsiteY540" fmla="*/ 69269 h 269321"/>
                <a:gd name="connsiteX541" fmla="*/ 23167 w 316622"/>
                <a:gd name="connsiteY541" fmla="*/ 68821 h 269321"/>
                <a:gd name="connsiteX542" fmla="*/ 26900 w 316622"/>
                <a:gd name="connsiteY542" fmla="*/ 67251 h 269321"/>
                <a:gd name="connsiteX543" fmla="*/ 28547 w 316622"/>
                <a:gd name="connsiteY543" fmla="*/ 65905 h 269321"/>
                <a:gd name="connsiteX544" fmla="*/ 33855 w 316622"/>
                <a:gd name="connsiteY544" fmla="*/ 65112 h 269321"/>
                <a:gd name="connsiteX545" fmla="*/ 38901 w 316622"/>
                <a:gd name="connsiteY545" fmla="*/ 66540 h 269321"/>
                <a:gd name="connsiteX546" fmla="*/ 43553 w 316622"/>
                <a:gd name="connsiteY546" fmla="*/ 71931 h 269321"/>
                <a:gd name="connsiteX547" fmla="*/ 45776 w 316622"/>
                <a:gd name="connsiteY547" fmla="*/ 73755 h 269321"/>
                <a:gd name="connsiteX548" fmla="*/ 51219 w 316622"/>
                <a:gd name="connsiteY548" fmla="*/ 70589 h 269321"/>
                <a:gd name="connsiteX549" fmla="*/ 59328 w 316622"/>
                <a:gd name="connsiteY549" fmla="*/ 70682 h 269321"/>
                <a:gd name="connsiteX550" fmla="*/ 61003 w 316622"/>
                <a:gd name="connsiteY550" fmla="*/ 72470 h 269321"/>
                <a:gd name="connsiteX551" fmla="*/ 61679 w 316622"/>
                <a:gd name="connsiteY551" fmla="*/ 70964 h 269321"/>
                <a:gd name="connsiteX552" fmla="*/ 63170 w 316622"/>
                <a:gd name="connsiteY552" fmla="*/ 69201 h 269321"/>
                <a:gd name="connsiteX553" fmla="*/ 64359 w 316622"/>
                <a:gd name="connsiteY553" fmla="*/ 70005 h 269321"/>
                <a:gd name="connsiteX554" fmla="*/ 64961 w 316622"/>
                <a:gd name="connsiteY554" fmla="*/ 71094 h 269321"/>
                <a:gd name="connsiteX555" fmla="*/ 73520 w 316622"/>
                <a:gd name="connsiteY555" fmla="*/ 70785 h 269321"/>
                <a:gd name="connsiteX556" fmla="*/ 74872 w 316622"/>
                <a:gd name="connsiteY556" fmla="*/ 70467 h 269321"/>
                <a:gd name="connsiteX557" fmla="*/ 72573 w 316622"/>
                <a:gd name="connsiteY557" fmla="*/ 69187 h 269321"/>
                <a:gd name="connsiteX558" fmla="*/ 70693 w 316622"/>
                <a:gd name="connsiteY558" fmla="*/ 66117 h 269321"/>
                <a:gd name="connsiteX559" fmla="*/ 70303 w 316622"/>
                <a:gd name="connsiteY559" fmla="*/ 54792 h 269321"/>
                <a:gd name="connsiteX560" fmla="*/ 67932 w 316622"/>
                <a:gd name="connsiteY560" fmla="*/ 51621 h 269321"/>
                <a:gd name="connsiteX561" fmla="*/ 65210 w 316622"/>
                <a:gd name="connsiteY561" fmla="*/ 46549 h 269321"/>
                <a:gd name="connsiteX562" fmla="*/ 63958 w 316622"/>
                <a:gd name="connsiteY562" fmla="*/ 43535 h 269321"/>
                <a:gd name="connsiteX563" fmla="*/ 63840 w 316622"/>
                <a:gd name="connsiteY563" fmla="*/ 42492 h 269321"/>
                <a:gd name="connsiteX564" fmla="*/ 64259 w 316622"/>
                <a:gd name="connsiteY564" fmla="*/ 40986 h 269321"/>
                <a:gd name="connsiteX565" fmla="*/ 67605 w 316622"/>
                <a:gd name="connsiteY565" fmla="*/ 41067 h 269321"/>
                <a:gd name="connsiteX566" fmla="*/ 70190 w 316622"/>
                <a:gd name="connsiteY566" fmla="*/ 41449 h 269321"/>
                <a:gd name="connsiteX567" fmla="*/ 75110 w 316622"/>
                <a:gd name="connsiteY567" fmla="*/ 40310 h 269321"/>
                <a:gd name="connsiteX568" fmla="*/ 77478 w 316622"/>
                <a:gd name="connsiteY568" fmla="*/ 41090 h 269321"/>
                <a:gd name="connsiteX569" fmla="*/ 77338 w 316622"/>
                <a:gd name="connsiteY569" fmla="*/ 43445 h 269321"/>
                <a:gd name="connsiteX570" fmla="*/ 78061 w 316622"/>
                <a:gd name="connsiteY570" fmla="*/ 46413 h 269321"/>
                <a:gd name="connsiteX571" fmla="*/ 78886 w 316622"/>
                <a:gd name="connsiteY571" fmla="*/ 47849 h 269321"/>
                <a:gd name="connsiteX572" fmla="*/ 80134 w 316622"/>
                <a:gd name="connsiteY572" fmla="*/ 49481 h 269321"/>
                <a:gd name="connsiteX573" fmla="*/ 84100 w 316622"/>
                <a:gd name="connsiteY573" fmla="*/ 49330 h 269321"/>
                <a:gd name="connsiteX574" fmla="*/ 88382 w 316622"/>
                <a:gd name="connsiteY574" fmla="*/ 50289 h 269321"/>
                <a:gd name="connsiteX575" fmla="*/ 93791 w 316622"/>
                <a:gd name="connsiteY575" fmla="*/ 50437 h 269321"/>
                <a:gd name="connsiteX576" fmla="*/ 101694 w 316622"/>
                <a:gd name="connsiteY576" fmla="*/ 52091 h 269321"/>
                <a:gd name="connsiteX577" fmla="*/ 105062 w 316622"/>
                <a:gd name="connsiteY577" fmla="*/ 51133 h 269321"/>
                <a:gd name="connsiteX578" fmla="*/ 108319 w 316622"/>
                <a:gd name="connsiteY578" fmla="*/ 49091 h 269321"/>
                <a:gd name="connsiteX579" fmla="*/ 114527 w 316622"/>
                <a:gd name="connsiteY579" fmla="*/ 47747 h 269321"/>
                <a:gd name="connsiteX580" fmla="*/ 115022 w 316622"/>
                <a:gd name="connsiteY580" fmla="*/ 47035 h 269321"/>
                <a:gd name="connsiteX581" fmla="*/ 111448 w 316622"/>
                <a:gd name="connsiteY581" fmla="*/ 47319 h 269321"/>
                <a:gd name="connsiteX582" fmla="*/ 108170 w 316622"/>
                <a:gd name="connsiteY582" fmla="*/ 46023 h 269321"/>
                <a:gd name="connsiteX583" fmla="*/ 107728 w 316622"/>
                <a:gd name="connsiteY583" fmla="*/ 44615 h 269321"/>
                <a:gd name="connsiteX584" fmla="*/ 108107 w 316622"/>
                <a:gd name="connsiteY584" fmla="*/ 43349 h 269321"/>
                <a:gd name="connsiteX585" fmla="*/ 109438 w 316622"/>
                <a:gd name="connsiteY585" fmla="*/ 40433 h 269321"/>
                <a:gd name="connsiteX586" fmla="*/ 118935 w 316622"/>
                <a:gd name="connsiteY586" fmla="*/ 35828 h 269321"/>
                <a:gd name="connsiteX587" fmla="*/ 125743 w 316622"/>
                <a:gd name="connsiteY587" fmla="*/ 34466 h 269321"/>
                <a:gd name="connsiteX588" fmla="*/ 132850 w 316622"/>
                <a:gd name="connsiteY588" fmla="*/ 31926 h 269321"/>
                <a:gd name="connsiteX589" fmla="*/ 136426 w 316622"/>
                <a:gd name="connsiteY589" fmla="*/ 29319 h 269321"/>
                <a:gd name="connsiteX590" fmla="*/ 138788 w 316622"/>
                <a:gd name="connsiteY590" fmla="*/ 25948 h 269321"/>
                <a:gd name="connsiteX591" fmla="*/ 139548 w 316622"/>
                <a:gd name="connsiteY591" fmla="*/ 25207 h 269321"/>
                <a:gd name="connsiteX592" fmla="*/ 140529 w 316622"/>
                <a:gd name="connsiteY592" fmla="*/ 24585 h 269321"/>
                <a:gd name="connsiteX593" fmla="*/ 139617 w 316622"/>
                <a:gd name="connsiteY593" fmla="*/ 23376 h 269321"/>
                <a:gd name="connsiteX594" fmla="*/ 140235 w 316622"/>
                <a:gd name="connsiteY594" fmla="*/ 10443 h 269321"/>
                <a:gd name="connsiteX595" fmla="*/ 140900 w 316622"/>
                <a:gd name="connsiteY595" fmla="*/ 8106 h 269321"/>
                <a:gd name="connsiteX596" fmla="*/ 142286 w 316622"/>
                <a:gd name="connsiteY596" fmla="*/ 6195 h 269321"/>
                <a:gd name="connsiteX597" fmla="*/ 144396 w 316622"/>
                <a:gd name="connsiteY597" fmla="*/ 4716 h 269321"/>
                <a:gd name="connsiteX598" fmla="*/ 147598 w 316622"/>
                <a:gd name="connsiteY598" fmla="*/ 3112 h 269321"/>
                <a:gd name="connsiteX599" fmla="*/ 159389 w 316622"/>
                <a:gd name="connsiteY599" fmla="*/ 895 h 26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316622" h="269321">
                  <a:moveTo>
                    <a:pt x="313500" y="225790"/>
                  </a:moveTo>
                  <a:lnTo>
                    <a:pt x="314562" y="226875"/>
                  </a:lnTo>
                  <a:lnTo>
                    <a:pt x="314508" y="227834"/>
                  </a:lnTo>
                  <a:lnTo>
                    <a:pt x="314901" y="230102"/>
                  </a:lnTo>
                  <a:lnTo>
                    <a:pt x="314940" y="231576"/>
                  </a:lnTo>
                  <a:lnTo>
                    <a:pt x="314361" y="235501"/>
                  </a:lnTo>
                  <a:lnTo>
                    <a:pt x="314782" y="236649"/>
                  </a:lnTo>
                  <a:lnTo>
                    <a:pt x="315581" y="237450"/>
                  </a:lnTo>
                  <a:lnTo>
                    <a:pt x="315953" y="238329"/>
                  </a:lnTo>
                  <a:lnTo>
                    <a:pt x="316622" y="248763"/>
                  </a:lnTo>
                  <a:lnTo>
                    <a:pt x="316495" y="249592"/>
                  </a:lnTo>
                  <a:lnTo>
                    <a:pt x="313791" y="253771"/>
                  </a:lnTo>
                  <a:lnTo>
                    <a:pt x="313182" y="254996"/>
                  </a:lnTo>
                  <a:lnTo>
                    <a:pt x="313048" y="260165"/>
                  </a:lnTo>
                  <a:lnTo>
                    <a:pt x="312593" y="261552"/>
                  </a:lnTo>
                  <a:lnTo>
                    <a:pt x="311634" y="262920"/>
                  </a:lnTo>
                  <a:lnTo>
                    <a:pt x="309922" y="267337"/>
                  </a:lnTo>
                  <a:lnTo>
                    <a:pt x="308434" y="269321"/>
                  </a:lnTo>
                  <a:lnTo>
                    <a:pt x="304385" y="266901"/>
                  </a:lnTo>
                  <a:lnTo>
                    <a:pt x="301997" y="265854"/>
                  </a:lnTo>
                  <a:lnTo>
                    <a:pt x="300826" y="264725"/>
                  </a:lnTo>
                  <a:lnTo>
                    <a:pt x="300062" y="263945"/>
                  </a:lnTo>
                  <a:lnTo>
                    <a:pt x="300554" y="262905"/>
                  </a:lnTo>
                  <a:lnTo>
                    <a:pt x="301643" y="261824"/>
                  </a:lnTo>
                  <a:lnTo>
                    <a:pt x="301815" y="260973"/>
                  </a:lnTo>
                  <a:lnTo>
                    <a:pt x="299254" y="260009"/>
                  </a:lnTo>
                  <a:lnTo>
                    <a:pt x="298082" y="259365"/>
                  </a:lnTo>
                  <a:lnTo>
                    <a:pt x="298097" y="258237"/>
                  </a:lnTo>
                  <a:lnTo>
                    <a:pt x="298982" y="256476"/>
                  </a:lnTo>
                  <a:lnTo>
                    <a:pt x="298578" y="255025"/>
                  </a:lnTo>
                  <a:lnTo>
                    <a:pt x="297101" y="255099"/>
                  </a:lnTo>
                  <a:lnTo>
                    <a:pt x="295957" y="254877"/>
                  </a:lnTo>
                  <a:lnTo>
                    <a:pt x="295808" y="254123"/>
                  </a:lnTo>
                  <a:lnTo>
                    <a:pt x="296654" y="253156"/>
                  </a:lnTo>
                  <a:lnTo>
                    <a:pt x="297740" y="251893"/>
                  </a:lnTo>
                  <a:lnTo>
                    <a:pt x="297706" y="250499"/>
                  </a:lnTo>
                  <a:lnTo>
                    <a:pt x="296393" y="249898"/>
                  </a:lnTo>
                  <a:lnTo>
                    <a:pt x="295203" y="248765"/>
                  </a:lnTo>
                  <a:lnTo>
                    <a:pt x="294726" y="247224"/>
                  </a:lnTo>
                  <a:lnTo>
                    <a:pt x="295648" y="246169"/>
                  </a:lnTo>
                  <a:lnTo>
                    <a:pt x="297142" y="245488"/>
                  </a:lnTo>
                  <a:lnTo>
                    <a:pt x="296045" y="243907"/>
                  </a:lnTo>
                  <a:lnTo>
                    <a:pt x="295305" y="243872"/>
                  </a:lnTo>
                  <a:lnTo>
                    <a:pt x="294713" y="243526"/>
                  </a:lnTo>
                  <a:lnTo>
                    <a:pt x="295197" y="242791"/>
                  </a:lnTo>
                  <a:lnTo>
                    <a:pt x="296358" y="241692"/>
                  </a:lnTo>
                  <a:lnTo>
                    <a:pt x="297974" y="238406"/>
                  </a:lnTo>
                  <a:lnTo>
                    <a:pt x="300224" y="236854"/>
                  </a:lnTo>
                  <a:lnTo>
                    <a:pt x="304206" y="235855"/>
                  </a:lnTo>
                  <a:lnTo>
                    <a:pt x="305283" y="235418"/>
                  </a:lnTo>
                  <a:lnTo>
                    <a:pt x="306272" y="234261"/>
                  </a:lnTo>
                  <a:lnTo>
                    <a:pt x="307367" y="233515"/>
                  </a:lnTo>
                  <a:lnTo>
                    <a:pt x="308697" y="233614"/>
                  </a:lnTo>
                  <a:lnTo>
                    <a:pt x="309924" y="234061"/>
                  </a:lnTo>
                  <a:lnTo>
                    <a:pt x="310680" y="234537"/>
                  </a:lnTo>
                  <a:lnTo>
                    <a:pt x="311247" y="234042"/>
                  </a:lnTo>
                  <a:lnTo>
                    <a:pt x="311800" y="232606"/>
                  </a:lnTo>
                  <a:lnTo>
                    <a:pt x="311461" y="231344"/>
                  </a:lnTo>
                  <a:lnTo>
                    <a:pt x="311636" y="227872"/>
                  </a:lnTo>
                  <a:lnTo>
                    <a:pt x="312349" y="225900"/>
                  </a:lnTo>
                  <a:close/>
                  <a:moveTo>
                    <a:pt x="74603" y="143377"/>
                  </a:moveTo>
                  <a:lnTo>
                    <a:pt x="76893" y="144695"/>
                  </a:lnTo>
                  <a:lnTo>
                    <a:pt x="79254" y="147418"/>
                  </a:lnTo>
                  <a:lnTo>
                    <a:pt x="78474" y="149829"/>
                  </a:lnTo>
                  <a:lnTo>
                    <a:pt x="76999" y="147609"/>
                  </a:lnTo>
                  <a:lnTo>
                    <a:pt x="75044" y="145662"/>
                  </a:lnTo>
                  <a:lnTo>
                    <a:pt x="74598" y="143859"/>
                  </a:lnTo>
                  <a:close/>
                  <a:moveTo>
                    <a:pt x="161140" y="0"/>
                  </a:moveTo>
                  <a:lnTo>
                    <a:pt x="161386" y="1392"/>
                  </a:lnTo>
                  <a:lnTo>
                    <a:pt x="162243" y="3172"/>
                  </a:lnTo>
                  <a:lnTo>
                    <a:pt x="162833" y="4145"/>
                  </a:lnTo>
                  <a:lnTo>
                    <a:pt x="162343" y="5415"/>
                  </a:lnTo>
                  <a:lnTo>
                    <a:pt x="162729" y="6460"/>
                  </a:lnTo>
                  <a:lnTo>
                    <a:pt x="164329" y="8341"/>
                  </a:lnTo>
                  <a:lnTo>
                    <a:pt x="166324" y="10112"/>
                  </a:lnTo>
                  <a:lnTo>
                    <a:pt x="168102" y="11243"/>
                  </a:lnTo>
                  <a:lnTo>
                    <a:pt x="168603" y="11120"/>
                  </a:lnTo>
                  <a:lnTo>
                    <a:pt x="169920" y="10798"/>
                  </a:lnTo>
                  <a:lnTo>
                    <a:pt x="172150" y="9638"/>
                  </a:lnTo>
                  <a:lnTo>
                    <a:pt x="174008" y="9273"/>
                  </a:lnTo>
                  <a:lnTo>
                    <a:pt x="175070" y="10162"/>
                  </a:lnTo>
                  <a:lnTo>
                    <a:pt x="175670" y="10663"/>
                  </a:lnTo>
                  <a:lnTo>
                    <a:pt x="176841" y="12664"/>
                  </a:lnTo>
                  <a:lnTo>
                    <a:pt x="177169" y="14752"/>
                  </a:lnTo>
                  <a:lnTo>
                    <a:pt x="177689" y="16484"/>
                  </a:lnTo>
                  <a:lnTo>
                    <a:pt x="178637" y="17186"/>
                  </a:lnTo>
                  <a:lnTo>
                    <a:pt x="182192" y="17416"/>
                  </a:lnTo>
                  <a:lnTo>
                    <a:pt x="184811" y="18058"/>
                  </a:lnTo>
                  <a:lnTo>
                    <a:pt x="185504" y="18639"/>
                  </a:lnTo>
                  <a:lnTo>
                    <a:pt x="186400" y="22482"/>
                  </a:lnTo>
                  <a:lnTo>
                    <a:pt x="186888" y="23025"/>
                  </a:lnTo>
                  <a:lnTo>
                    <a:pt x="187541" y="22572"/>
                  </a:lnTo>
                  <a:lnTo>
                    <a:pt x="188186" y="21940"/>
                  </a:lnTo>
                  <a:lnTo>
                    <a:pt x="189082" y="21839"/>
                  </a:lnTo>
                  <a:lnTo>
                    <a:pt x="190620" y="22083"/>
                  </a:lnTo>
                  <a:lnTo>
                    <a:pt x="192645" y="22159"/>
                  </a:lnTo>
                  <a:lnTo>
                    <a:pt x="194734" y="22582"/>
                  </a:lnTo>
                  <a:lnTo>
                    <a:pt x="197618" y="24750"/>
                  </a:lnTo>
                  <a:lnTo>
                    <a:pt x="197508" y="25465"/>
                  </a:lnTo>
                  <a:lnTo>
                    <a:pt x="196945" y="26720"/>
                  </a:lnTo>
                  <a:lnTo>
                    <a:pt x="196748" y="27721"/>
                  </a:lnTo>
                  <a:lnTo>
                    <a:pt x="197245" y="28123"/>
                  </a:lnTo>
                  <a:lnTo>
                    <a:pt x="198007" y="29156"/>
                  </a:lnTo>
                  <a:lnTo>
                    <a:pt x="197824" y="30350"/>
                  </a:lnTo>
                  <a:lnTo>
                    <a:pt x="197081" y="31186"/>
                  </a:lnTo>
                  <a:lnTo>
                    <a:pt x="196783" y="31875"/>
                  </a:lnTo>
                  <a:lnTo>
                    <a:pt x="196787" y="32323"/>
                  </a:lnTo>
                  <a:lnTo>
                    <a:pt x="197059" y="32695"/>
                  </a:lnTo>
                  <a:lnTo>
                    <a:pt x="197651" y="33022"/>
                  </a:lnTo>
                  <a:lnTo>
                    <a:pt x="201911" y="33463"/>
                  </a:lnTo>
                  <a:lnTo>
                    <a:pt x="205809" y="33022"/>
                  </a:lnTo>
                  <a:lnTo>
                    <a:pt x="208266" y="31805"/>
                  </a:lnTo>
                  <a:lnTo>
                    <a:pt x="208685" y="30522"/>
                  </a:lnTo>
                  <a:lnTo>
                    <a:pt x="209383" y="29072"/>
                  </a:lnTo>
                  <a:lnTo>
                    <a:pt x="210847" y="27858"/>
                  </a:lnTo>
                  <a:lnTo>
                    <a:pt x="211860" y="27450"/>
                  </a:lnTo>
                  <a:lnTo>
                    <a:pt x="212786" y="27950"/>
                  </a:lnTo>
                  <a:lnTo>
                    <a:pt x="211227" y="33042"/>
                  </a:lnTo>
                  <a:lnTo>
                    <a:pt x="212365" y="34342"/>
                  </a:lnTo>
                  <a:lnTo>
                    <a:pt x="212533" y="36284"/>
                  </a:lnTo>
                  <a:lnTo>
                    <a:pt x="212941" y="37983"/>
                  </a:lnTo>
                  <a:lnTo>
                    <a:pt x="214334" y="37951"/>
                  </a:lnTo>
                  <a:lnTo>
                    <a:pt x="216023" y="38265"/>
                  </a:lnTo>
                  <a:lnTo>
                    <a:pt x="217219" y="38893"/>
                  </a:lnTo>
                  <a:lnTo>
                    <a:pt x="218614" y="39902"/>
                  </a:lnTo>
                  <a:lnTo>
                    <a:pt x="220625" y="40829"/>
                  </a:lnTo>
                  <a:lnTo>
                    <a:pt x="222035" y="41155"/>
                  </a:lnTo>
                  <a:lnTo>
                    <a:pt x="222546" y="41929"/>
                  </a:lnTo>
                  <a:lnTo>
                    <a:pt x="223686" y="42825"/>
                  </a:lnTo>
                  <a:lnTo>
                    <a:pt x="225481" y="44702"/>
                  </a:lnTo>
                  <a:lnTo>
                    <a:pt x="227087" y="45954"/>
                  </a:lnTo>
                  <a:lnTo>
                    <a:pt x="227863" y="45949"/>
                  </a:lnTo>
                  <a:lnTo>
                    <a:pt x="229359" y="45456"/>
                  </a:lnTo>
                  <a:lnTo>
                    <a:pt x="231579" y="45140"/>
                  </a:lnTo>
                  <a:lnTo>
                    <a:pt x="233332" y="45167"/>
                  </a:lnTo>
                  <a:lnTo>
                    <a:pt x="234078" y="46120"/>
                  </a:lnTo>
                  <a:lnTo>
                    <a:pt x="235801" y="46560"/>
                  </a:lnTo>
                  <a:lnTo>
                    <a:pt x="236410" y="46910"/>
                  </a:lnTo>
                  <a:lnTo>
                    <a:pt x="237086" y="47567"/>
                  </a:lnTo>
                  <a:lnTo>
                    <a:pt x="238234" y="47831"/>
                  </a:lnTo>
                  <a:lnTo>
                    <a:pt x="239621" y="47567"/>
                  </a:lnTo>
                  <a:lnTo>
                    <a:pt x="240633" y="46690"/>
                  </a:lnTo>
                  <a:lnTo>
                    <a:pt x="241985" y="46297"/>
                  </a:lnTo>
                  <a:lnTo>
                    <a:pt x="243337" y="46428"/>
                  </a:lnTo>
                  <a:lnTo>
                    <a:pt x="244114" y="46910"/>
                  </a:lnTo>
                  <a:lnTo>
                    <a:pt x="245596" y="47622"/>
                  </a:lnTo>
                  <a:lnTo>
                    <a:pt x="246434" y="47467"/>
                  </a:lnTo>
                  <a:lnTo>
                    <a:pt x="248111" y="47905"/>
                  </a:lnTo>
                  <a:lnTo>
                    <a:pt x="249796" y="49287"/>
                  </a:lnTo>
                  <a:lnTo>
                    <a:pt x="250504" y="50676"/>
                  </a:lnTo>
                  <a:lnTo>
                    <a:pt x="250689" y="51435"/>
                  </a:lnTo>
                  <a:lnTo>
                    <a:pt x="251417" y="52260"/>
                  </a:lnTo>
                  <a:lnTo>
                    <a:pt x="254244" y="55987"/>
                  </a:lnTo>
                  <a:lnTo>
                    <a:pt x="255147" y="56171"/>
                  </a:lnTo>
                  <a:lnTo>
                    <a:pt x="256129" y="55606"/>
                  </a:lnTo>
                  <a:lnTo>
                    <a:pt x="256766" y="54805"/>
                  </a:lnTo>
                  <a:lnTo>
                    <a:pt x="257688" y="54645"/>
                  </a:lnTo>
                  <a:lnTo>
                    <a:pt x="259172" y="55014"/>
                  </a:lnTo>
                  <a:lnTo>
                    <a:pt x="260126" y="55436"/>
                  </a:lnTo>
                  <a:lnTo>
                    <a:pt x="260584" y="57049"/>
                  </a:lnTo>
                  <a:lnTo>
                    <a:pt x="260906" y="57356"/>
                  </a:lnTo>
                  <a:lnTo>
                    <a:pt x="261547" y="57009"/>
                  </a:lnTo>
                  <a:lnTo>
                    <a:pt x="262690" y="56932"/>
                  </a:lnTo>
                  <a:lnTo>
                    <a:pt x="264514" y="57330"/>
                  </a:lnTo>
                  <a:lnTo>
                    <a:pt x="267023" y="56875"/>
                  </a:lnTo>
                  <a:lnTo>
                    <a:pt x="269031" y="56202"/>
                  </a:lnTo>
                  <a:lnTo>
                    <a:pt x="270057" y="56227"/>
                  </a:lnTo>
                  <a:lnTo>
                    <a:pt x="271713" y="58108"/>
                  </a:lnTo>
                  <a:lnTo>
                    <a:pt x="273603" y="58811"/>
                  </a:lnTo>
                  <a:lnTo>
                    <a:pt x="277766" y="59378"/>
                  </a:lnTo>
                  <a:lnTo>
                    <a:pt x="282234" y="60262"/>
                  </a:lnTo>
                  <a:lnTo>
                    <a:pt x="283989" y="60976"/>
                  </a:lnTo>
                  <a:lnTo>
                    <a:pt x="285188" y="61327"/>
                  </a:lnTo>
                  <a:lnTo>
                    <a:pt x="285309" y="63812"/>
                  </a:lnTo>
                  <a:lnTo>
                    <a:pt x="284948" y="64187"/>
                  </a:lnTo>
                  <a:lnTo>
                    <a:pt x="280498" y="69161"/>
                  </a:lnTo>
                  <a:lnTo>
                    <a:pt x="278623" y="70938"/>
                  </a:lnTo>
                  <a:lnTo>
                    <a:pt x="277669" y="73471"/>
                  </a:lnTo>
                  <a:lnTo>
                    <a:pt x="277013" y="77352"/>
                  </a:lnTo>
                  <a:lnTo>
                    <a:pt x="275698" y="81034"/>
                  </a:lnTo>
                  <a:lnTo>
                    <a:pt x="273728" y="84519"/>
                  </a:lnTo>
                  <a:lnTo>
                    <a:pt x="273011" y="87132"/>
                  </a:lnTo>
                  <a:lnTo>
                    <a:pt x="273549" y="88874"/>
                  </a:lnTo>
                  <a:lnTo>
                    <a:pt x="273212" y="91607"/>
                  </a:lnTo>
                  <a:lnTo>
                    <a:pt x="272003" y="95326"/>
                  </a:lnTo>
                  <a:lnTo>
                    <a:pt x="271800" y="98132"/>
                  </a:lnTo>
                  <a:lnTo>
                    <a:pt x="272597" y="100025"/>
                  </a:lnTo>
                  <a:lnTo>
                    <a:pt x="273707" y="100413"/>
                  </a:lnTo>
                  <a:lnTo>
                    <a:pt x="271037" y="101687"/>
                  </a:lnTo>
                  <a:lnTo>
                    <a:pt x="270429" y="102801"/>
                  </a:lnTo>
                  <a:lnTo>
                    <a:pt x="269381" y="104274"/>
                  </a:lnTo>
                  <a:lnTo>
                    <a:pt x="267682" y="104893"/>
                  </a:lnTo>
                  <a:lnTo>
                    <a:pt x="265970" y="105098"/>
                  </a:lnTo>
                  <a:lnTo>
                    <a:pt x="264585" y="104903"/>
                  </a:lnTo>
                  <a:lnTo>
                    <a:pt x="263797" y="104315"/>
                  </a:lnTo>
                  <a:lnTo>
                    <a:pt x="263836" y="103767"/>
                  </a:lnTo>
                  <a:lnTo>
                    <a:pt x="263102" y="103301"/>
                  </a:lnTo>
                  <a:lnTo>
                    <a:pt x="261275" y="103315"/>
                  </a:lnTo>
                  <a:lnTo>
                    <a:pt x="259394" y="104328"/>
                  </a:lnTo>
                  <a:lnTo>
                    <a:pt x="257891" y="105982"/>
                  </a:lnTo>
                  <a:lnTo>
                    <a:pt x="258358" y="106907"/>
                  </a:lnTo>
                  <a:lnTo>
                    <a:pt x="259742" y="107151"/>
                  </a:lnTo>
                  <a:lnTo>
                    <a:pt x="260107" y="107517"/>
                  </a:lnTo>
                  <a:lnTo>
                    <a:pt x="260107" y="107992"/>
                  </a:lnTo>
                  <a:lnTo>
                    <a:pt x="259619" y="108564"/>
                  </a:lnTo>
                  <a:lnTo>
                    <a:pt x="259034" y="109541"/>
                  </a:lnTo>
                  <a:lnTo>
                    <a:pt x="256129" y="112450"/>
                  </a:lnTo>
                  <a:lnTo>
                    <a:pt x="253197" y="115382"/>
                  </a:lnTo>
                  <a:lnTo>
                    <a:pt x="252728" y="116268"/>
                  </a:lnTo>
                  <a:lnTo>
                    <a:pt x="251798" y="116887"/>
                  </a:lnTo>
                  <a:lnTo>
                    <a:pt x="248070" y="118450"/>
                  </a:lnTo>
                  <a:lnTo>
                    <a:pt x="247680" y="119076"/>
                  </a:lnTo>
                  <a:lnTo>
                    <a:pt x="247468" y="121685"/>
                  </a:lnTo>
                  <a:lnTo>
                    <a:pt x="247051" y="123826"/>
                  </a:lnTo>
                  <a:lnTo>
                    <a:pt x="244287" y="125839"/>
                  </a:lnTo>
                  <a:lnTo>
                    <a:pt x="241536" y="127842"/>
                  </a:lnTo>
                  <a:lnTo>
                    <a:pt x="240849" y="129065"/>
                  </a:lnTo>
                  <a:lnTo>
                    <a:pt x="240348" y="130480"/>
                  </a:lnTo>
                  <a:lnTo>
                    <a:pt x="239485" y="132076"/>
                  </a:lnTo>
                  <a:lnTo>
                    <a:pt x="239314" y="132919"/>
                  </a:lnTo>
                  <a:lnTo>
                    <a:pt x="240707" y="134293"/>
                  </a:lnTo>
                  <a:lnTo>
                    <a:pt x="240545" y="135429"/>
                  </a:lnTo>
                  <a:lnTo>
                    <a:pt x="240102" y="137043"/>
                  </a:lnTo>
                  <a:lnTo>
                    <a:pt x="238780" y="138186"/>
                  </a:lnTo>
                  <a:lnTo>
                    <a:pt x="237319" y="138834"/>
                  </a:lnTo>
                  <a:lnTo>
                    <a:pt x="237351" y="140590"/>
                  </a:lnTo>
                  <a:lnTo>
                    <a:pt x="238129" y="140836"/>
                  </a:lnTo>
                  <a:lnTo>
                    <a:pt x="239897" y="140706"/>
                  </a:lnTo>
                  <a:lnTo>
                    <a:pt x="242391" y="139432"/>
                  </a:lnTo>
                  <a:lnTo>
                    <a:pt x="244017" y="137794"/>
                  </a:lnTo>
                  <a:lnTo>
                    <a:pt x="243059" y="136238"/>
                  </a:lnTo>
                  <a:lnTo>
                    <a:pt x="242940" y="135933"/>
                  </a:lnTo>
                  <a:lnTo>
                    <a:pt x="243171" y="135568"/>
                  </a:lnTo>
                  <a:lnTo>
                    <a:pt x="245099" y="133875"/>
                  </a:lnTo>
                  <a:lnTo>
                    <a:pt x="247466" y="132854"/>
                  </a:lnTo>
                  <a:lnTo>
                    <a:pt x="250767" y="132664"/>
                  </a:lnTo>
                  <a:lnTo>
                    <a:pt x="254745" y="133263"/>
                  </a:lnTo>
                  <a:lnTo>
                    <a:pt x="255142" y="133516"/>
                  </a:lnTo>
                  <a:lnTo>
                    <a:pt x="254950" y="134554"/>
                  </a:lnTo>
                  <a:lnTo>
                    <a:pt x="255321" y="136085"/>
                  </a:lnTo>
                  <a:lnTo>
                    <a:pt x="256043" y="137159"/>
                  </a:lnTo>
                  <a:lnTo>
                    <a:pt x="255054" y="140205"/>
                  </a:lnTo>
                  <a:lnTo>
                    <a:pt x="255797" y="141159"/>
                  </a:lnTo>
                  <a:lnTo>
                    <a:pt x="256954" y="142299"/>
                  </a:lnTo>
                  <a:lnTo>
                    <a:pt x="257822" y="143340"/>
                  </a:lnTo>
                  <a:lnTo>
                    <a:pt x="259070" y="144296"/>
                  </a:lnTo>
                  <a:lnTo>
                    <a:pt x="260180" y="145906"/>
                  </a:lnTo>
                  <a:lnTo>
                    <a:pt x="260560" y="146818"/>
                  </a:lnTo>
                  <a:lnTo>
                    <a:pt x="258785" y="148402"/>
                  </a:lnTo>
                  <a:lnTo>
                    <a:pt x="255771" y="149886"/>
                  </a:lnTo>
                  <a:lnTo>
                    <a:pt x="255432" y="150836"/>
                  </a:lnTo>
                  <a:lnTo>
                    <a:pt x="255471" y="151916"/>
                  </a:lnTo>
                  <a:lnTo>
                    <a:pt x="255810" y="152765"/>
                  </a:lnTo>
                  <a:lnTo>
                    <a:pt x="257472" y="153857"/>
                  </a:lnTo>
                  <a:lnTo>
                    <a:pt x="259263" y="156327"/>
                  </a:lnTo>
                  <a:lnTo>
                    <a:pt x="260396" y="158528"/>
                  </a:lnTo>
                  <a:lnTo>
                    <a:pt x="262881" y="160637"/>
                  </a:lnTo>
                  <a:lnTo>
                    <a:pt x="263486" y="161261"/>
                  </a:lnTo>
                  <a:lnTo>
                    <a:pt x="263331" y="161788"/>
                  </a:lnTo>
                  <a:lnTo>
                    <a:pt x="262676" y="162686"/>
                  </a:lnTo>
                  <a:lnTo>
                    <a:pt x="261826" y="165676"/>
                  </a:lnTo>
                  <a:lnTo>
                    <a:pt x="260811" y="166151"/>
                  </a:lnTo>
                  <a:lnTo>
                    <a:pt x="259679" y="166344"/>
                  </a:lnTo>
                  <a:lnTo>
                    <a:pt x="256607" y="168532"/>
                  </a:lnTo>
                  <a:lnTo>
                    <a:pt x="255237" y="168267"/>
                  </a:lnTo>
                  <a:lnTo>
                    <a:pt x="253290" y="168295"/>
                  </a:lnTo>
                  <a:lnTo>
                    <a:pt x="251862" y="169016"/>
                  </a:lnTo>
                  <a:lnTo>
                    <a:pt x="252018" y="170378"/>
                  </a:lnTo>
                  <a:lnTo>
                    <a:pt x="253270" y="171624"/>
                  </a:lnTo>
                  <a:lnTo>
                    <a:pt x="254006" y="172980"/>
                  </a:lnTo>
                  <a:lnTo>
                    <a:pt x="254304" y="174390"/>
                  </a:lnTo>
                  <a:lnTo>
                    <a:pt x="255695" y="175434"/>
                  </a:lnTo>
                  <a:lnTo>
                    <a:pt x="257647" y="176058"/>
                  </a:lnTo>
                  <a:lnTo>
                    <a:pt x="258764" y="176100"/>
                  </a:lnTo>
                  <a:lnTo>
                    <a:pt x="259494" y="176475"/>
                  </a:lnTo>
                  <a:lnTo>
                    <a:pt x="259932" y="176958"/>
                  </a:lnTo>
                  <a:lnTo>
                    <a:pt x="260772" y="179974"/>
                  </a:lnTo>
                  <a:lnTo>
                    <a:pt x="260269" y="180730"/>
                  </a:lnTo>
                  <a:lnTo>
                    <a:pt x="259217" y="181052"/>
                  </a:lnTo>
                  <a:lnTo>
                    <a:pt x="258589" y="182291"/>
                  </a:lnTo>
                  <a:lnTo>
                    <a:pt x="257334" y="184118"/>
                  </a:lnTo>
                  <a:lnTo>
                    <a:pt x="256622" y="185583"/>
                  </a:lnTo>
                  <a:lnTo>
                    <a:pt x="257410" y="186872"/>
                  </a:lnTo>
                  <a:lnTo>
                    <a:pt x="257746" y="187826"/>
                  </a:lnTo>
                  <a:lnTo>
                    <a:pt x="257325" y="188808"/>
                  </a:lnTo>
                  <a:lnTo>
                    <a:pt x="257887" y="190337"/>
                  </a:lnTo>
                  <a:lnTo>
                    <a:pt x="259370" y="191849"/>
                  </a:lnTo>
                  <a:lnTo>
                    <a:pt x="263398" y="193974"/>
                  </a:lnTo>
                  <a:lnTo>
                    <a:pt x="267138" y="195701"/>
                  </a:lnTo>
                  <a:lnTo>
                    <a:pt x="268295" y="195988"/>
                  </a:lnTo>
                  <a:lnTo>
                    <a:pt x="273348" y="194877"/>
                  </a:lnTo>
                  <a:lnTo>
                    <a:pt x="274184" y="194973"/>
                  </a:lnTo>
                  <a:lnTo>
                    <a:pt x="274799" y="196296"/>
                  </a:lnTo>
                  <a:lnTo>
                    <a:pt x="275067" y="197186"/>
                  </a:lnTo>
                  <a:lnTo>
                    <a:pt x="274499" y="198527"/>
                  </a:lnTo>
                  <a:lnTo>
                    <a:pt x="273132" y="200372"/>
                  </a:lnTo>
                  <a:lnTo>
                    <a:pt x="271651" y="201842"/>
                  </a:lnTo>
                  <a:lnTo>
                    <a:pt x="270753" y="203091"/>
                  </a:lnTo>
                  <a:lnTo>
                    <a:pt x="270940" y="204224"/>
                  </a:lnTo>
                  <a:lnTo>
                    <a:pt x="270999" y="205731"/>
                  </a:lnTo>
                  <a:lnTo>
                    <a:pt x="269794" y="206182"/>
                  </a:lnTo>
                  <a:lnTo>
                    <a:pt x="269755" y="205884"/>
                  </a:lnTo>
                  <a:lnTo>
                    <a:pt x="269258" y="205630"/>
                  </a:lnTo>
                  <a:lnTo>
                    <a:pt x="268829" y="205780"/>
                  </a:lnTo>
                  <a:lnTo>
                    <a:pt x="268498" y="206107"/>
                  </a:lnTo>
                  <a:lnTo>
                    <a:pt x="268446" y="206687"/>
                  </a:lnTo>
                  <a:lnTo>
                    <a:pt x="265877" y="207649"/>
                  </a:lnTo>
                  <a:lnTo>
                    <a:pt x="264106" y="208646"/>
                  </a:lnTo>
                  <a:lnTo>
                    <a:pt x="257103" y="214594"/>
                  </a:lnTo>
                  <a:lnTo>
                    <a:pt x="253827" y="216336"/>
                  </a:lnTo>
                  <a:lnTo>
                    <a:pt x="253182" y="217385"/>
                  </a:lnTo>
                  <a:lnTo>
                    <a:pt x="252514" y="219345"/>
                  </a:lnTo>
                  <a:lnTo>
                    <a:pt x="250590" y="221026"/>
                  </a:lnTo>
                  <a:lnTo>
                    <a:pt x="248906" y="221825"/>
                  </a:lnTo>
                  <a:lnTo>
                    <a:pt x="244734" y="222646"/>
                  </a:lnTo>
                  <a:lnTo>
                    <a:pt x="240545" y="224426"/>
                  </a:lnTo>
                  <a:lnTo>
                    <a:pt x="238658" y="223659"/>
                  </a:lnTo>
                  <a:lnTo>
                    <a:pt x="233769" y="223741"/>
                  </a:lnTo>
                  <a:lnTo>
                    <a:pt x="230720" y="221596"/>
                  </a:lnTo>
                  <a:lnTo>
                    <a:pt x="224859" y="220235"/>
                  </a:lnTo>
                  <a:lnTo>
                    <a:pt x="222950" y="217107"/>
                  </a:lnTo>
                  <a:lnTo>
                    <a:pt x="220281" y="216904"/>
                  </a:lnTo>
                  <a:lnTo>
                    <a:pt x="218532" y="216998"/>
                  </a:lnTo>
                  <a:lnTo>
                    <a:pt x="217487" y="216524"/>
                  </a:lnTo>
                  <a:lnTo>
                    <a:pt x="217215" y="215456"/>
                  </a:lnTo>
                  <a:lnTo>
                    <a:pt x="217191" y="214427"/>
                  </a:lnTo>
                  <a:lnTo>
                    <a:pt x="215339" y="214901"/>
                  </a:lnTo>
                  <a:lnTo>
                    <a:pt x="213922" y="214901"/>
                  </a:lnTo>
                  <a:lnTo>
                    <a:pt x="213077" y="215313"/>
                  </a:lnTo>
                  <a:lnTo>
                    <a:pt x="212410" y="215789"/>
                  </a:lnTo>
                  <a:lnTo>
                    <a:pt x="211622" y="215485"/>
                  </a:lnTo>
                  <a:lnTo>
                    <a:pt x="211164" y="215587"/>
                  </a:lnTo>
                  <a:lnTo>
                    <a:pt x="211205" y="216193"/>
                  </a:lnTo>
                  <a:lnTo>
                    <a:pt x="209504" y="216344"/>
                  </a:lnTo>
                  <a:lnTo>
                    <a:pt x="207660" y="215973"/>
                  </a:lnTo>
                  <a:lnTo>
                    <a:pt x="202818" y="214355"/>
                  </a:lnTo>
                  <a:lnTo>
                    <a:pt x="202075" y="214108"/>
                  </a:lnTo>
                  <a:lnTo>
                    <a:pt x="198715" y="213482"/>
                  </a:lnTo>
                  <a:lnTo>
                    <a:pt x="197357" y="212836"/>
                  </a:lnTo>
                  <a:lnTo>
                    <a:pt x="196258" y="211236"/>
                  </a:lnTo>
                  <a:lnTo>
                    <a:pt x="195418" y="210730"/>
                  </a:lnTo>
                  <a:lnTo>
                    <a:pt x="194921" y="210427"/>
                  </a:lnTo>
                  <a:lnTo>
                    <a:pt x="191786" y="211235"/>
                  </a:lnTo>
                  <a:lnTo>
                    <a:pt x="190698" y="212494"/>
                  </a:lnTo>
                  <a:lnTo>
                    <a:pt x="188998" y="213967"/>
                  </a:lnTo>
                  <a:lnTo>
                    <a:pt x="177370" y="221183"/>
                  </a:lnTo>
                  <a:lnTo>
                    <a:pt x="175247" y="224201"/>
                  </a:lnTo>
                  <a:lnTo>
                    <a:pt x="172790" y="228639"/>
                  </a:lnTo>
                  <a:lnTo>
                    <a:pt x="172598" y="230707"/>
                  </a:lnTo>
                  <a:lnTo>
                    <a:pt x="173656" y="237309"/>
                  </a:lnTo>
                  <a:lnTo>
                    <a:pt x="176020" y="240769"/>
                  </a:lnTo>
                  <a:lnTo>
                    <a:pt x="176320" y="241569"/>
                  </a:lnTo>
                  <a:lnTo>
                    <a:pt x="175010" y="241573"/>
                  </a:lnTo>
                  <a:lnTo>
                    <a:pt x="172809" y="241141"/>
                  </a:lnTo>
                  <a:lnTo>
                    <a:pt x="170982" y="240607"/>
                  </a:lnTo>
                  <a:lnTo>
                    <a:pt x="169244" y="240905"/>
                  </a:lnTo>
                  <a:lnTo>
                    <a:pt x="167569" y="241620"/>
                  </a:lnTo>
                  <a:lnTo>
                    <a:pt x="166104" y="242052"/>
                  </a:lnTo>
                  <a:lnTo>
                    <a:pt x="165053" y="242173"/>
                  </a:lnTo>
                  <a:lnTo>
                    <a:pt x="164349" y="242585"/>
                  </a:lnTo>
                  <a:lnTo>
                    <a:pt x="164012" y="243409"/>
                  </a:lnTo>
                  <a:lnTo>
                    <a:pt x="163943" y="243985"/>
                  </a:lnTo>
                  <a:lnTo>
                    <a:pt x="162092" y="243843"/>
                  </a:lnTo>
                  <a:lnTo>
                    <a:pt x="157812" y="242658"/>
                  </a:lnTo>
                  <a:lnTo>
                    <a:pt x="153964" y="241841"/>
                  </a:lnTo>
                  <a:lnTo>
                    <a:pt x="151708" y="242770"/>
                  </a:lnTo>
                  <a:lnTo>
                    <a:pt x="150256" y="243638"/>
                  </a:lnTo>
                  <a:lnTo>
                    <a:pt x="149235" y="243505"/>
                  </a:lnTo>
                  <a:lnTo>
                    <a:pt x="148460" y="242592"/>
                  </a:lnTo>
                  <a:lnTo>
                    <a:pt x="147940" y="241698"/>
                  </a:lnTo>
                  <a:lnTo>
                    <a:pt x="146432" y="240878"/>
                  </a:lnTo>
                  <a:lnTo>
                    <a:pt x="143034" y="239645"/>
                  </a:lnTo>
                  <a:lnTo>
                    <a:pt x="143208" y="239050"/>
                  </a:lnTo>
                  <a:lnTo>
                    <a:pt x="143789" y="238220"/>
                  </a:lnTo>
                  <a:lnTo>
                    <a:pt x="143772" y="237708"/>
                  </a:lnTo>
                  <a:lnTo>
                    <a:pt x="143118" y="236947"/>
                  </a:lnTo>
                  <a:lnTo>
                    <a:pt x="139985" y="236130"/>
                  </a:lnTo>
                  <a:lnTo>
                    <a:pt x="138508" y="235924"/>
                  </a:lnTo>
                  <a:lnTo>
                    <a:pt x="137568" y="236486"/>
                  </a:lnTo>
                  <a:lnTo>
                    <a:pt x="136892" y="237174"/>
                  </a:lnTo>
                  <a:lnTo>
                    <a:pt x="135147" y="234643"/>
                  </a:lnTo>
                  <a:lnTo>
                    <a:pt x="133906" y="234128"/>
                  </a:lnTo>
                  <a:lnTo>
                    <a:pt x="132027" y="234043"/>
                  </a:lnTo>
                  <a:lnTo>
                    <a:pt x="129879" y="233270"/>
                  </a:lnTo>
                  <a:lnTo>
                    <a:pt x="127643" y="232283"/>
                  </a:lnTo>
                  <a:lnTo>
                    <a:pt x="122213" y="230703"/>
                  </a:lnTo>
                  <a:lnTo>
                    <a:pt x="120718" y="230514"/>
                  </a:lnTo>
                  <a:lnTo>
                    <a:pt x="120120" y="230764"/>
                  </a:lnTo>
                  <a:lnTo>
                    <a:pt x="119721" y="231709"/>
                  </a:lnTo>
                  <a:lnTo>
                    <a:pt x="119505" y="234377"/>
                  </a:lnTo>
                  <a:lnTo>
                    <a:pt x="119276" y="234672"/>
                  </a:lnTo>
                  <a:lnTo>
                    <a:pt x="116756" y="234761"/>
                  </a:lnTo>
                  <a:lnTo>
                    <a:pt x="113651" y="234390"/>
                  </a:lnTo>
                  <a:lnTo>
                    <a:pt x="112228" y="234574"/>
                  </a:lnTo>
                  <a:lnTo>
                    <a:pt x="110958" y="234583"/>
                  </a:lnTo>
                  <a:lnTo>
                    <a:pt x="109762" y="233877"/>
                  </a:lnTo>
                  <a:lnTo>
                    <a:pt x="104399" y="234685"/>
                  </a:lnTo>
                  <a:lnTo>
                    <a:pt x="103507" y="234291"/>
                  </a:lnTo>
                  <a:lnTo>
                    <a:pt x="102212" y="233086"/>
                  </a:lnTo>
                  <a:lnTo>
                    <a:pt x="100769" y="232114"/>
                  </a:lnTo>
                  <a:lnTo>
                    <a:pt x="99647" y="231615"/>
                  </a:lnTo>
                  <a:lnTo>
                    <a:pt x="98691" y="231043"/>
                  </a:lnTo>
                  <a:lnTo>
                    <a:pt x="97822" y="230950"/>
                  </a:lnTo>
                  <a:lnTo>
                    <a:pt x="96499" y="231504"/>
                  </a:lnTo>
                  <a:lnTo>
                    <a:pt x="94670" y="231739"/>
                  </a:lnTo>
                  <a:lnTo>
                    <a:pt x="93152" y="231667"/>
                  </a:lnTo>
                  <a:lnTo>
                    <a:pt x="92342" y="231748"/>
                  </a:lnTo>
                  <a:lnTo>
                    <a:pt x="88942" y="228789"/>
                  </a:lnTo>
                  <a:lnTo>
                    <a:pt x="88445" y="227979"/>
                  </a:lnTo>
                  <a:lnTo>
                    <a:pt x="86752" y="227754"/>
                  </a:lnTo>
                  <a:lnTo>
                    <a:pt x="84660" y="227718"/>
                  </a:lnTo>
                  <a:lnTo>
                    <a:pt x="79317" y="225799"/>
                  </a:lnTo>
                  <a:lnTo>
                    <a:pt x="76885" y="224768"/>
                  </a:lnTo>
                  <a:lnTo>
                    <a:pt x="76529" y="224155"/>
                  </a:lnTo>
                  <a:lnTo>
                    <a:pt x="76562" y="223659"/>
                  </a:lnTo>
                  <a:lnTo>
                    <a:pt x="76147" y="223766"/>
                  </a:lnTo>
                  <a:lnTo>
                    <a:pt x="75397" y="224643"/>
                  </a:lnTo>
                  <a:lnTo>
                    <a:pt x="75004" y="225358"/>
                  </a:lnTo>
                  <a:lnTo>
                    <a:pt x="74484" y="225492"/>
                  </a:lnTo>
                  <a:lnTo>
                    <a:pt x="73716" y="225381"/>
                  </a:lnTo>
                  <a:lnTo>
                    <a:pt x="73007" y="224978"/>
                  </a:lnTo>
                  <a:lnTo>
                    <a:pt x="72573" y="224459"/>
                  </a:lnTo>
                  <a:lnTo>
                    <a:pt x="73038" y="223551"/>
                  </a:lnTo>
                  <a:lnTo>
                    <a:pt x="73852" y="222367"/>
                  </a:lnTo>
                  <a:lnTo>
                    <a:pt x="74190" y="221078"/>
                  </a:lnTo>
                  <a:lnTo>
                    <a:pt x="74116" y="219924"/>
                  </a:lnTo>
                  <a:lnTo>
                    <a:pt x="72766" y="219183"/>
                  </a:lnTo>
                  <a:lnTo>
                    <a:pt x="70781" y="218874"/>
                  </a:lnTo>
                  <a:lnTo>
                    <a:pt x="69329" y="218786"/>
                  </a:lnTo>
                  <a:lnTo>
                    <a:pt x="67434" y="218126"/>
                  </a:lnTo>
                  <a:lnTo>
                    <a:pt x="66541" y="217650"/>
                  </a:lnTo>
                  <a:lnTo>
                    <a:pt x="65668" y="216364"/>
                  </a:lnTo>
                  <a:lnTo>
                    <a:pt x="65639" y="215428"/>
                  </a:lnTo>
                  <a:lnTo>
                    <a:pt x="69234" y="214602"/>
                  </a:lnTo>
                  <a:lnTo>
                    <a:pt x="72476" y="211216"/>
                  </a:lnTo>
                  <a:lnTo>
                    <a:pt x="75546" y="198890"/>
                  </a:lnTo>
                  <a:lnTo>
                    <a:pt x="77768" y="184245"/>
                  </a:lnTo>
                  <a:lnTo>
                    <a:pt x="79420" y="181469"/>
                  </a:lnTo>
                  <a:lnTo>
                    <a:pt x="81495" y="180706"/>
                  </a:lnTo>
                  <a:lnTo>
                    <a:pt x="79817" y="178684"/>
                  </a:lnTo>
                  <a:lnTo>
                    <a:pt x="78766" y="179708"/>
                  </a:lnTo>
                  <a:lnTo>
                    <a:pt x="78325" y="180794"/>
                  </a:lnTo>
                  <a:lnTo>
                    <a:pt x="77775" y="181336"/>
                  </a:lnTo>
                  <a:lnTo>
                    <a:pt x="79016" y="167825"/>
                  </a:lnTo>
                  <a:lnTo>
                    <a:pt x="79901" y="162861"/>
                  </a:lnTo>
                  <a:lnTo>
                    <a:pt x="81406" y="157650"/>
                  </a:lnTo>
                  <a:lnTo>
                    <a:pt x="84485" y="159720"/>
                  </a:lnTo>
                  <a:lnTo>
                    <a:pt x="87037" y="161817"/>
                  </a:lnTo>
                  <a:lnTo>
                    <a:pt x="88357" y="163636"/>
                  </a:lnTo>
                  <a:lnTo>
                    <a:pt x="90027" y="169686"/>
                  </a:lnTo>
                  <a:lnTo>
                    <a:pt x="91290" y="170954"/>
                  </a:lnTo>
                  <a:lnTo>
                    <a:pt x="93181" y="172226"/>
                  </a:lnTo>
                  <a:lnTo>
                    <a:pt x="92434" y="170837"/>
                  </a:lnTo>
                  <a:lnTo>
                    <a:pt x="91133" y="169776"/>
                  </a:lnTo>
                  <a:lnTo>
                    <a:pt x="89099" y="161709"/>
                  </a:lnTo>
                  <a:lnTo>
                    <a:pt x="87823" y="159420"/>
                  </a:lnTo>
                  <a:lnTo>
                    <a:pt x="85836" y="157492"/>
                  </a:lnTo>
                  <a:lnTo>
                    <a:pt x="79438" y="153428"/>
                  </a:lnTo>
                  <a:lnTo>
                    <a:pt x="78863" y="152643"/>
                  </a:lnTo>
                  <a:lnTo>
                    <a:pt x="78554" y="151089"/>
                  </a:lnTo>
                  <a:lnTo>
                    <a:pt x="80668" y="151155"/>
                  </a:lnTo>
                  <a:lnTo>
                    <a:pt x="82495" y="151910"/>
                  </a:lnTo>
                  <a:lnTo>
                    <a:pt x="82279" y="151040"/>
                  </a:lnTo>
                  <a:lnTo>
                    <a:pt x="81737" y="150131"/>
                  </a:lnTo>
                  <a:lnTo>
                    <a:pt x="80889" y="146830"/>
                  </a:lnTo>
                  <a:lnTo>
                    <a:pt x="80181" y="139107"/>
                  </a:lnTo>
                  <a:lnTo>
                    <a:pt x="80277" y="137782"/>
                  </a:lnTo>
                  <a:lnTo>
                    <a:pt x="79962" y="136157"/>
                  </a:lnTo>
                  <a:lnTo>
                    <a:pt x="77916" y="135793"/>
                  </a:lnTo>
                  <a:lnTo>
                    <a:pt x="76280" y="135726"/>
                  </a:lnTo>
                  <a:lnTo>
                    <a:pt x="74518" y="135084"/>
                  </a:lnTo>
                  <a:lnTo>
                    <a:pt x="65805" y="130514"/>
                  </a:lnTo>
                  <a:lnTo>
                    <a:pt x="62822" y="125790"/>
                  </a:lnTo>
                  <a:lnTo>
                    <a:pt x="59772" y="122297"/>
                  </a:lnTo>
                  <a:lnTo>
                    <a:pt x="59040" y="120772"/>
                  </a:lnTo>
                  <a:lnTo>
                    <a:pt x="59088" y="119226"/>
                  </a:lnTo>
                  <a:lnTo>
                    <a:pt x="60667" y="115957"/>
                  </a:lnTo>
                  <a:lnTo>
                    <a:pt x="59273" y="113891"/>
                  </a:lnTo>
                  <a:lnTo>
                    <a:pt x="57911" y="113480"/>
                  </a:lnTo>
                  <a:lnTo>
                    <a:pt x="56727" y="112457"/>
                  </a:lnTo>
                  <a:lnTo>
                    <a:pt x="57799" y="110751"/>
                  </a:lnTo>
                  <a:lnTo>
                    <a:pt x="58690" y="109659"/>
                  </a:lnTo>
                  <a:lnTo>
                    <a:pt x="60475" y="109362"/>
                  </a:lnTo>
                  <a:lnTo>
                    <a:pt x="62816" y="109724"/>
                  </a:lnTo>
                  <a:lnTo>
                    <a:pt x="65036" y="110712"/>
                  </a:lnTo>
                  <a:lnTo>
                    <a:pt x="66778" y="110974"/>
                  </a:lnTo>
                  <a:lnTo>
                    <a:pt x="61629" y="108323"/>
                  </a:lnTo>
                  <a:lnTo>
                    <a:pt x="53279" y="109217"/>
                  </a:lnTo>
                  <a:lnTo>
                    <a:pt x="51479" y="108875"/>
                  </a:lnTo>
                  <a:lnTo>
                    <a:pt x="49959" y="108284"/>
                  </a:lnTo>
                  <a:lnTo>
                    <a:pt x="49365" y="106336"/>
                  </a:lnTo>
                  <a:lnTo>
                    <a:pt x="50552" y="105458"/>
                  </a:lnTo>
                  <a:lnTo>
                    <a:pt x="51628" y="103833"/>
                  </a:lnTo>
                  <a:lnTo>
                    <a:pt x="50411" y="102690"/>
                  </a:lnTo>
                  <a:lnTo>
                    <a:pt x="48834" y="102257"/>
                  </a:lnTo>
                  <a:lnTo>
                    <a:pt x="46360" y="102282"/>
                  </a:lnTo>
                  <a:lnTo>
                    <a:pt x="44052" y="102627"/>
                  </a:lnTo>
                  <a:lnTo>
                    <a:pt x="43466" y="101970"/>
                  </a:lnTo>
                  <a:lnTo>
                    <a:pt x="44874" y="100158"/>
                  </a:lnTo>
                  <a:lnTo>
                    <a:pt x="43678" y="99491"/>
                  </a:lnTo>
                  <a:lnTo>
                    <a:pt x="42082" y="99802"/>
                  </a:lnTo>
                  <a:lnTo>
                    <a:pt x="39767" y="100178"/>
                  </a:lnTo>
                  <a:lnTo>
                    <a:pt x="37553" y="99609"/>
                  </a:lnTo>
                  <a:lnTo>
                    <a:pt x="35460" y="97547"/>
                  </a:lnTo>
                  <a:lnTo>
                    <a:pt x="34073" y="97562"/>
                  </a:lnTo>
                  <a:lnTo>
                    <a:pt x="33120" y="97817"/>
                  </a:lnTo>
                  <a:lnTo>
                    <a:pt x="31706" y="97023"/>
                  </a:lnTo>
                  <a:lnTo>
                    <a:pt x="30218" y="96824"/>
                  </a:lnTo>
                  <a:lnTo>
                    <a:pt x="29156" y="97087"/>
                  </a:lnTo>
                  <a:lnTo>
                    <a:pt x="27744" y="95903"/>
                  </a:lnTo>
                  <a:lnTo>
                    <a:pt x="19051" y="93527"/>
                  </a:lnTo>
                  <a:lnTo>
                    <a:pt x="15297" y="93236"/>
                  </a:lnTo>
                  <a:lnTo>
                    <a:pt x="11854" y="94313"/>
                  </a:lnTo>
                  <a:lnTo>
                    <a:pt x="9959" y="93939"/>
                  </a:lnTo>
                  <a:lnTo>
                    <a:pt x="8566" y="92403"/>
                  </a:lnTo>
                  <a:lnTo>
                    <a:pt x="7397" y="89823"/>
                  </a:lnTo>
                  <a:lnTo>
                    <a:pt x="1851" y="87832"/>
                  </a:lnTo>
                  <a:lnTo>
                    <a:pt x="2948" y="86526"/>
                  </a:lnTo>
                  <a:lnTo>
                    <a:pt x="5530" y="86217"/>
                  </a:lnTo>
                  <a:lnTo>
                    <a:pt x="8506" y="85310"/>
                  </a:lnTo>
                  <a:lnTo>
                    <a:pt x="9576" y="84147"/>
                  </a:lnTo>
                  <a:lnTo>
                    <a:pt x="7250" y="82790"/>
                  </a:lnTo>
                  <a:lnTo>
                    <a:pt x="5535" y="82457"/>
                  </a:lnTo>
                  <a:lnTo>
                    <a:pt x="4824" y="81969"/>
                  </a:lnTo>
                  <a:lnTo>
                    <a:pt x="4099" y="80751"/>
                  </a:lnTo>
                  <a:lnTo>
                    <a:pt x="5127" y="80193"/>
                  </a:lnTo>
                  <a:lnTo>
                    <a:pt x="5851" y="80489"/>
                  </a:lnTo>
                  <a:lnTo>
                    <a:pt x="7942" y="80665"/>
                  </a:lnTo>
                  <a:lnTo>
                    <a:pt x="11523" y="80365"/>
                  </a:lnTo>
                  <a:lnTo>
                    <a:pt x="10188" y="79136"/>
                  </a:lnTo>
                  <a:lnTo>
                    <a:pt x="8803" y="78862"/>
                  </a:lnTo>
                  <a:lnTo>
                    <a:pt x="8167" y="78554"/>
                  </a:lnTo>
                  <a:lnTo>
                    <a:pt x="5256" y="78421"/>
                  </a:lnTo>
                  <a:lnTo>
                    <a:pt x="3931" y="78840"/>
                  </a:lnTo>
                  <a:lnTo>
                    <a:pt x="954" y="78681"/>
                  </a:lnTo>
                  <a:lnTo>
                    <a:pt x="309" y="77352"/>
                  </a:lnTo>
                  <a:lnTo>
                    <a:pt x="0" y="76212"/>
                  </a:lnTo>
                  <a:lnTo>
                    <a:pt x="923" y="73668"/>
                  </a:lnTo>
                  <a:lnTo>
                    <a:pt x="5115" y="71394"/>
                  </a:lnTo>
                  <a:lnTo>
                    <a:pt x="15558" y="68905"/>
                  </a:lnTo>
                  <a:lnTo>
                    <a:pt x="20052" y="69269"/>
                  </a:lnTo>
                  <a:lnTo>
                    <a:pt x="23167" y="68821"/>
                  </a:lnTo>
                  <a:lnTo>
                    <a:pt x="26900" y="67251"/>
                  </a:lnTo>
                  <a:lnTo>
                    <a:pt x="28547" y="65905"/>
                  </a:lnTo>
                  <a:lnTo>
                    <a:pt x="33855" y="65112"/>
                  </a:lnTo>
                  <a:lnTo>
                    <a:pt x="38901" y="66540"/>
                  </a:lnTo>
                  <a:lnTo>
                    <a:pt x="43553" y="71931"/>
                  </a:lnTo>
                  <a:lnTo>
                    <a:pt x="45776" y="73755"/>
                  </a:lnTo>
                  <a:lnTo>
                    <a:pt x="51219" y="70589"/>
                  </a:lnTo>
                  <a:lnTo>
                    <a:pt x="59328" y="70682"/>
                  </a:lnTo>
                  <a:lnTo>
                    <a:pt x="61003" y="72470"/>
                  </a:lnTo>
                  <a:lnTo>
                    <a:pt x="61679" y="70964"/>
                  </a:lnTo>
                  <a:lnTo>
                    <a:pt x="63170" y="69201"/>
                  </a:lnTo>
                  <a:lnTo>
                    <a:pt x="64359" y="70005"/>
                  </a:lnTo>
                  <a:lnTo>
                    <a:pt x="64961" y="71094"/>
                  </a:lnTo>
                  <a:lnTo>
                    <a:pt x="73520" y="70785"/>
                  </a:lnTo>
                  <a:lnTo>
                    <a:pt x="74872" y="70467"/>
                  </a:lnTo>
                  <a:lnTo>
                    <a:pt x="72573" y="69187"/>
                  </a:lnTo>
                  <a:lnTo>
                    <a:pt x="70693" y="66117"/>
                  </a:lnTo>
                  <a:lnTo>
                    <a:pt x="70303" y="54792"/>
                  </a:lnTo>
                  <a:lnTo>
                    <a:pt x="67932" y="51621"/>
                  </a:lnTo>
                  <a:lnTo>
                    <a:pt x="65210" y="46549"/>
                  </a:lnTo>
                  <a:lnTo>
                    <a:pt x="63958" y="43535"/>
                  </a:lnTo>
                  <a:lnTo>
                    <a:pt x="63840" y="42492"/>
                  </a:lnTo>
                  <a:lnTo>
                    <a:pt x="64259" y="40986"/>
                  </a:lnTo>
                  <a:lnTo>
                    <a:pt x="67605" y="41067"/>
                  </a:lnTo>
                  <a:lnTo>
                    <a:pt x="70190" y="41449"/>
                  </a:lnTo>
                  <a:lnTo>
                    <a:pt x="75110" y="40310"/>
                  </a:lnTo>
                  <a:lnTo>
                    <a:pt x="77478" y="41090"/>
                  </a:lnTo>
                  <a:lnTo>
                    <a:pt x="77338" y="43445"/>
                  </a:lnTo>
                  <a:lnTo>
                    <a:pt x="78061" y="46413"/>
                  </a:lnTo>
                  <a:lnTo>
                    <a:pt x="78886" y="47849"/>
                  </a:lnTo>
                  <a:lnTo>
                    <a:pt x="80134" y="49481"/>
                  </a:lnTo>
                  <a:lnTo>
                    <a:pt x="84100" y="49330"/>
                  </a:lnTo>
                  <a:lnTo>
                    <a:pt x="88382" y="50289"/>
                  </a:lnTo>
                  <a:lnTo>
                    <a:pt x="93791" y="50437"/>
                  </a:lnTo>
                  <a:lnTo>
                    <a:pt x="101694" y="52091"/>
                  </a:lnTo>
                  <a:lnTo>
                    <a:pt x="105062" y="51133"/>
                  </a:lnTo>
                  <a:lnTo>
                    <a:pt x="108319" y="49091"/>
                  </a:lnTo>
                  <a:lnTo>
                    <a:pt x="114527" y="47747"/>
                  </a:lnTo>
                  <a:lnTo>
                    <a:pt x="115022" y="47035"/>
                  </a:lnTo>
                  <a:lnTo>
                    <a:pt x="111448" y="47319"/>
                  </a:lnTo>
                  <a:lnTo>
                    <a:pt x="108170" y="46023"/>
                  </a:lnTo>
                  <a:lnTo>
                    <a:pt x="107728" y="44615"/>
                  </a:lnTo>
                  <a:lnTo>
                    <a:pt x="108107" y="43349"/>
                  </a:lnTo>
                  <a:lnTo>
                    <a:pt x="109438" y="40433"/>
                  </a:lnTo>
                  <a:lnTo>
                    <a:pt x="118935" y="35828"/>
                  </a:lnTo>
                  <a:lnTo>
                    <a:pt x="125743" y="34466"/>
                  </a:lnTo>
                  <a:lnTo>
                    <a:pt x="132850" y="31926"/>
                  </a:lnTo>
                  <a:lnTo>
                    <a:pt x="136426" y="29319"/>
                  </a:lnTo>
                  <a:lnTo>
                    <a:pt x="138788" y="25948"/>
                  </a:lnTo>
                  <a:lnTo>
                    <a:pt x="139548" y="25207"/>
                  </a:lnTo>
                  <a:lnTo>
                    <a:pt x="140529" y="24585"/>
                  </a:lnTo>
                  <a:lnTo>
                    <a:pt x="139617" y="23376"/>
                  </a:lnTo>
                  <a:lnTo>
                    <a:pt x="140235" y="10443"/>
                  </a:lnTo>
                  <a:lnTo>
                    <a:pt x="140900" y="8106"/>
                  </a:lnTo>
                  <a:lnTo>
                    <a:pt x="142286" y="6195"/>
                  </a:lnTo>
                  <a:lnTo>
                    <a:pt x="144396" y="4716"/>
                  </a:lnTo>
                  <a:lnTo>
                    <a:pt x="147598" y="3112"/>
                  </a:lnTo>
                  <a:lnTo>
                    <a:pt x="159389" y="89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9" name="ee4p_GB_1_15912">
              <a:extLst>
                <a:ext uri="{FF2B5EF4-FFF2-40B4-BE49-F238E27FC236}">
                  <a16:creationId xmlns:a16="http://schemas.microsoft.com/office/drawing/2014/main" id="{B23476A2-0C85-86D2-E636-696F05404E76}"/>
                </a:ext>
              </a:extLst>
            </p:cNvPr>
            <p:cNvSpPr>
              <a:spLocks noChangeAspect="1"/>
            </p:cNvSpPr>
            <p:nvPr>
              <p:custDataLst>
                <p:tags r:id="rId31"/>
              </p:custDataLst>
            </p:nvPr>
          </p:nvSpPr>
          <p:spPr>
            <a:xfrm>
              <a:off x="3057753" y="3200480"/>
              <a:ext cx="867056" cy="1425664"/>
            </a:xfrm>
            <a:custGeom>
              <a:avLst/>
              <a:gdLst>
                <a:gd name="connsiteX0" fmla="*/ 130999 w 218720"/>
                <a:gd name="connsiteY0" fmla="*/ 356870 h 359632"/>
                <a:gd name="connsiteX1" fmla="*/ 134057 w 218720"/>
                <a:gd name="connsiteY1" fmla="*/ 357184 h 359632"/>
                <a:gd name="connsiteX2" fmla="*/ 135462 w 218720"/>
                <a:gd name="connsiteY2" fmla="*/ 357875 h 359632"/>
                <a:gd name="connsiteX3" fmla="*/ 135656 w 218720"/>
                <a:gd name="connsiteY3" fmla="*/ 359317 h 359632"/>
                <a:gd name="connsiteX4" fmla="*/ 134686 w 218720"/>
                <a:gd name="connsiteY4" fmla="*/ 359632 h 359632"/>
                <a:gd name="connsiteX5" fmla="*/ 133862 w 218720"/>
                <a:gd name="connsiteY5" fmla="*/ 359129 h 359632"/>
                <a:gd name="connsiteX6" fmla="*/ 132211 w 218720"/>
                <a:gd name="connsiteY6" fmla="*/ 359129 h 359632"/>
                <a:gd name="connsiteX7" fmla="*/ 130660 w 218720"/>
                <a:gd name="connsiteY7" fmla="*/ 359444 h 359632"/>
                <a:gd name="connsiteX8" fmla="*/ 123886 w 218720"/>
                <a:gd name="connsiteY8" fmla="*/ 349985 h 359632"/>
                <a:gd name="connsiteX9" fmla="*/ 124356 w 218720"/>
                <a:gd name="connsiteY9" fmla="*/ 349993 h 359632"/>
                <a:gd name="connsiteX10" fmla="*/ 124547 w 218720"/>
                <a:gd name="connsiteY10" fmla="*/ 350331 h 359632"/>
                <a:gd name="connsiteX11" fmla="*/ 123771 w 218720"/>
                <a:gd name="connsiteY11" fmla="*/ 352219 h 359632"/>
                <a:gd name="connsiteX12" fmla="*/ 121745 w 218720"/>
                <a:gd name="connsiteY12" fmla="*/ 351582 h 359632"/>
                <a:gd name="connsiteX13" fmla="*/ 121587 w 218720"/>
                <a:gd name="connsiteY13" fmla="*/ 351086 h 359632"/>
                <a:gd name="connsiteX14" fmla="*/ 151070 w 218720"/>
                <a:gd name="connsiteY14" fmla="*/ 313354 h 359632"/>
                <a:gd name="connsiteX15" fmla="*/ 154798 w 218720"/>
                <a:gd name="connsiteY15" fmla="*/ 314483 h 359632"/>
                <a:gd name="connsiteX16" fmla="*/ 156537 w 218720"/>
                <a:gd name="connsiteY16" fmla="*/ 315778 h 359632"/>
                <a:gd name="connsiteX17" fmla="*/ 154684 w 218720"/>
                <a:gd name="connsiteY17" fmla="*/ 316783 h 359632"/>
                <a:gd name="connsiteX18" fmla="*/ 154099 w 218720"/>
                <a:gd name="connsiteY18" fmla="*/ 317960 h 359632"/>
                <a:gd name="connsiteX19" fmla="*/ 153651 w 218720"/>
                <a:gd name="connsiteY19" fmla="*/ 318425 h 359632"/>
                <a:gd name="connsiteX20" fmla="*/ 152426 w 218720"/>
                <a:gd name="connsiteY20" fmla="*/ 318728 h 359632"/>
                <a:gd name="connsiteX21" fmla="*/ 151214 w 218720"/>
                <a:gd name="connsiteY21" fmla="*/ 318736 h 359632"/>
                <a:gd name="connsiteX22" fmla="*/ 146592 w 218720"/>
                <a:gd name="connsiteY22" fmla="*/ 316373 h 359632"/>
                <a:gd name="connsiteX23" fmla="*/ 145528 w 218720"/>
                <a:gd name="connsiteY23" fmla="*/ 316480 h 359632"/>
                <a:gd name="connsiteX24" fmla="*/ 146584 w 218720"/>
                <a:gd name="connsiteY24" fmla="*/ 315397 h 359632"/>
                <a:gd name="connsiteX25" fmla="*/ 149455 w 218720"/>
                <a:gd name="connsiteY25" fmla="*/ 314517 h 359632"/>
                <a:gd name="connsiteX26" fmla="*/ 81441 w 218720"/>
                <a:gd name="connsiteY26" fmla="*/ 235014 h 359632"/>
                <a:gd name="connsiteX27" fmla="*/ 84683 w 218720"/>
                <a:gd name="connsiteY27" fmla="*/ 235075 h 359632"/>
                <a:gd name="connsiteX28" fmla="*/ 87299 w 218720"/>
                <a:gd name="connsiteY28" fmla="*/ 237958 h 359632"/>
                <a:gd name="connsiteX29" fmla="*/ 88226 w 218720"/>
                <a:gd name="connsiteY29" fmla="*/ 238517 h 359632"/>
                <a:gd name="connsiteX30" fmla="*/ 90559 w 218720"/>
                <a:gd name="connsiteY30" fmla="*/ 238429 h 359632"/>
                <a:gd name="connsiteX31" fmla="*/ 89787 w 218720"/>
                <a:gd name="connsiteY31" fmla="*/ 239675 h 359632"/>
                <a:gd name="connsiteX32" fmla="*/ 87220 w 218720"/>
                <a:gd name="connsiteY32" fmla="*/ 241064 h 359632"/>
                <a:gd name="connsiteX33" fmla="*/ 85490 w 218720"/>
                <a:gd name="connsiteY33" fmla="*/ 242434 h 359632"/>
                <a:gd name="connsiteX34" fmla="*/ 83402 w 218720"/>
                <a:gd name="connsiteY34" fmla="*/ 243581 h 359632"/>
                <a:gd name="connsiteX35" fmla="*/ 82389 w 218720"/>
                <a:gd name="connsiteY35" fmla="*/ 242265 h 359632"/>
                <a:gd name="connsiteX36" fmla="*/ 81214 w 218720"/>
                <a:gd name="connsiteY36" fmla="*/ 242315 h 359632"/>
                <a:gd name="connsiteX37" fmla="*/ 79418 w 218720"/>
                <a:gd name="connsiteY37" fmla="*/ 239791 h 359632"/>
                <a:gd name="connsiteX38" fmla="*/ 79094 w 218720"/>
                <a:gd name="connsiteY38" fmla="*/ 236001 h 359632"/>
                <a:gd name="connsiteX39" fmla="*/ 82259 w 218720"/>
                <a:gd name="connsiteY39" fmla="*/ 205081 h 359632"/>
                <a:gd name="connsiteX40" fmla="*/ 82904 w 218720"/>
                <a:gd name="connsiteY40" fmla="*/ 205211 h 359632"/>
                <a:gd name="connsiteX41" fmla="*/ 83310 w 218720"/>
                <a:gd name="connsiteY41" fmla="*/ 205526 h 359632"/>
                <a:gd name="connsiteX42" fmla="*/ 84177 w 218720"/>
                <a:gd name="connsiteY42" fmla="*/ 209288 h 359632"/>
                <a:gd name="connsiteX43" fmla="*/ 82976 w 218720"/>
                <a:gd name="connsiteY43" fmla="*/ 210618 h 359632"/>
                <a:gd name="connsiteX44" fmla="*/ 82539 w 218720"/>
                <a:gd name="connsiteY44" fmla="*/ 211836 h 359632"/>
                <a:gd name="connsiteX45" fmla="*/ 78068 w 218720"/>
                <a:gd name="connsiteY45" fmla="*/ 215684 h 359632"/>
                <a:gd name="connsiteX46" fmla="*/ 76259 w 218720"/>
                <a:gd name="connsiteY46" fmla="*/ 214993 h 359632"/>
                <a:gd name="connsiteX47" fmla="*/ 74718 w 218720"/>
                <a:gd name="connsiteY47" fmla="*/ 215358 h 359632"/>
                <a:gd name="connsiteX48" fmla="*/ 74285 w 218720"/>
                <a:gd name="connsiteY48" fmla="*/ 215248 h 359632"/>
                <a:gd name="connsiteX49" fmla="*/ 75165 w 218720"/>
                <a:gd name="connsiteY49" fmla="*/ 213859 h 359632"/>
                <a:gd name="connsiteX50" fmla="*/ 76200 w 218720"/>
                <a:gd name="connsiteY50" fmla="*/ 210633 h 359632"/>
                <a:gd name="connsiteX51" fmla="*/ 78055 w 218720"/>
                <a:gd name="connsiteY51" fmla="*/ 209353 h 359632"/>
                <a:gd name="connsiteX52" fmla="*/ 80403 w 218720"/>
                <a:gd name="connsiteY52" fmla="*/ 206010 h 359632"/>
                <a:gd name="connsiteX53" fmla="*/ 39128 w 218720"/>
                <a:gd name="connsiteY53" fmla="*/ 179485 h 359632"/>
                <a:gd name="connsiteX54" fmla="*/ 42247 w 218720"/>
                <a:gd name="connsiteY54" fmla="*/ 180254 h 359632"/>
                <a:gd name="connsiteX55" fmla="*/ 44571 w 218720"/>
                <a:gd name="connsiteY55" fmla="*/ 180238 h 359632"/>
                <a:gd name="connsiteX56" fmla="*/ 46635 w 218720"/>
                <a:gd name="connsiteY56" fmla="*/ 182483 h 359632"/>
                <a:gd name="connsiteX57" fmla="*/ 47742 w 218720"/>
                <a:gd name="connsiteY57" fmla="*/ 186017 h 359632"/>
                <a:gd name="connsiteX58" fmla="*/ 50319 w 218720"/>
                <a:gd name="connsiteY58" fmla="*/ 189504 h 359632"/>
                <a:gd name="connsiteX59" fmla="*/ 53688 w 218720"/>
                <a:gd name="connsiteY59" fmla="*/ 192534 h 359632"/>
                <a:gd name="connsiteX60" fmla="*/ 53822 w 218720"/>
                <a:gd name="connsiteY60" fmla="*/ 194385 h 359632"/>
                <a:gd name="connsiteX61" fmla="*/ 52619 w 218720"/>
                <a:gd name="connsiteY61" fmla="*/ 195378 h 359632"/>
                <a:gd name="connsiteX62" fmla="*/ 50100 w 218720"/>
                <a:gd name="connsiteY62" fmla="*/ 196612 h 359632"/>
                <a:gd name="connsiteX63" fmla="*/ 50111 w 218720"/>
                <a:gd name="connsiteY63" fmla="*/ 197930 h 359632"/>
                <a:gd name="connsiteX64" fmla="*/ 51772 w 218720"/>
                <a:gd name="connsiteY64" fmla="*/ 197265 h 359632"/>
                <a:gd name="connsiteX65" fmla="*/ 53206 w 218720"/>
                <a:gd name="connsiteY65" fmla="*/ 196958 h 359632"/>
                <a:gd name="connsiteX66" fmla="*/ 56658 w 218720"/>
                <a:gd name="connsiteY66" fmla="*/ 197253 h 359632"/>
                <a:gd name="connsiteX67" fmla="*/ 57865 w 218720"/>
                <a:gd name="connsiteY67" fmla="*/ 198593 h 359632"/>
                <a:gd name="connsiteX68" fmla="*/ 58699 w 218720"/>
                <a:gd name="connsiteY68" fmla="*/ 200597 h 359632"/>
                <a:gd name="connsiteX69" fmla="*/ 59137 w 218720"/>
                <a:gd name="connsiteY69" fmla="*/ 202242 h 359632"/>
                <a:gd name="connsiteX70" fmla="*/ 58839 w 218720"/>
                <a:gd name="connsiteY70" fmla="*/ 204029 h 359632"/>
                <a:gd name="connsiteX71" fmla="*/ 57910 w 218720"/>
                <a:gd name="connsiteY71" fmla="*/ 203463 h 359632"/>
                <a:gd name="connsiteX72" fmla="*/ 56966 w 218720"/>
                <a:gd name="connsiteY72" fmla="*/ 201864 h 359632"/>
                <a:gd name="connsiteX73" fmla="*/ 55918 w 218720"/>
                <a:gd name="connsiteY73" fmla="*/ 201127 h 359632"/>
                <a:gd name="connsiteX74" fmla="*/ 54699 w 218720"/>
                <a:gd name="connsiteY74" fmla="*/ 200729 h 359632"/>
                <a:gd name="connsiteX75" fmla="*/ 55252 w 218720"/>
                <a:gd name="connsiteY75" fmla="*/ 202924 h 359632"/>
                <a:gd name="connsiteX76" fmla="*/ 55034 w 218720"/>
                <a:gd name="connsiteY76" fmla="*/ 205857 h 359632"/>
                <a:gd name="connsiteX77" fmla="*/ 55566 w 218720"/>
                <a:gd name="connsiteY77" fmla="*/ 206133 h 359632"/>
                <a:gd name="connsiteX78" fmla="*/ 57204 w 218720"/>
                <a:gd name="connsiteY78" fmla="*/ 206184 h 359632"/>
                <a:gd name="connsiteX79" fmla="*/ 56121 w 218720"/>
                <a:gd name="connsiteY79" fmla="*/ 209183 h 359632"/>
                <a:gd name="connsiteX80" fmla="*/ 53882 w 218720"/>
                <a:gd name="connsiteY80" fmla="*/ 209996 h 359632"/>
                <a:gd name="connsiteX81" fmla="*/ 51270 w 218720"/>
                <a:gd name="connsiteY81" fmla="*/ 210300 h 359632"/>
                <a:gd name="connsiteX82" fmla="*/ 50640 w 218720"/>
                <a:gd name="connsiteY82" fmla="*/ 211361 h 359632"/>
                <a:gd name="connsiteX83" fmla="*/ 50166 w 218720"/>
                <a:gd name="connsiteY83" fmla="*/ 212727 h 359632"/>
                <a:gd name="connsiteX84" fmla="*/ 48803 w 218720"/>
                <a:gd name="connsiteY84" fmla="*/ 214762 h 359632"/>
                <a:gd name="connsiteX85" fmla="*/ 47005 w 218720"/>
                <a:gd name="connsiteY85" fmla="*/ 215909 h 359632"/>
                <a:gd name="connsiteX86" fmla="*/ 44783 w 218720"/>
                <a:gd name="connsiteY86" fmla="*/ 215678 h 359632"/>
                <a:gd name="connsiteX87" fmla="*/ 42606 w 218720"/>
                <a:gd name="connsiteY87" fmla="*/ 214772 h 359632"/>
                <a:gd name="connsiteX88" fmla="*/ 40712 w 218720"/>
                <a:gd name="connsiteY88" fmla="*/ 214586 h 359632"/>
                <a:gd name="connsiteX89" fmla="*/ 39385 w 218720"/>
                <a:gd name="connsiteY89" fmla="*/ 215125 h 359632"/>
                <a:gd name="connsiteX90" fmla="*/ 38524 w 218720"/>
                <a:gd name="connsiteY90" fmla="*/ 215625 h 359632"/>
                <a:gd name="connsiteX91" fmla="*/ 37691 w 218720"/>
                <a:gd name="connsiteY91" fmla="*/ 215534 h 359632"/>
                <a:gd name="connsiteX92" fmla="*/ 35306 w 218720"/>
                <a:gd name="connsiteY92" fmla="*/ 215727 h 359632"/>
                <a:gd name="connsiteX93" fmla="*/ 33058 w 218720"/>
                <a:gd name="connsiteY93" fmla="*/ 215686 h 359632"/>
                <a:gd name="connsiteX94" fmla="*/ 32739 w 218720"/>
                <a:gd name="connsiteY94" fmla="*/ 214892 h 359632"/>
                <a:gd name="connsiteX95" fmla="*/ 33122 w 218720"/>
                <a:gd name="connsiteY95" fmla="*/ 212503 h 359632"/>
                <a:gd name="connsiteX96" fmla="*/ 32622 w 218720"/>
                <a:gd name="connsiteY96" fmla="*/ 211855 h 359632"/>
                <a:gd name="connsiteX97" fmla="*/ 30475 w 218720"/>
                <a:gd name="connsiteY97" fmla="*/ 211524 h 359632"/>
                <a:gd name="connsiteX98" fmla="*/ 29679 w 218720"/>
                <a:gd name="connsiteY98" fmla="*/ 210954 h 359632"/>
                <a:gd name="connsiteX99" fmla="*/ 28446 w 218720"/>
                <a:gd name="connsiteY99" fmla="*/ 209302 h 359632"/>
                <a:gd name="connsiteX100" fmla="*/ 28206 w 218720"/>
                <a:gd name="connsiteY100" fmla="*/ 208528 h 359632"/>
                <a:gd name="connsiteX101" fmla="*/ 28029 w 218720"/>
                <a:gd name="connsiteY101" fmla="*/ 207461 h 359632"/>
                <a:gd name="connsiteX102" fmla="*/ 26726 w 218720"/>
                <a:gd name="connsiteY102" fmla="*/ 206083 h 359632"/>
                <a:gd name="connsiteX103" fmla="*/ 25144 w 218720"/>
                <a:gd name="connsiteY103" fmla="*/ 205096 h 359632"/>
                <a:gd name="connsiteX104" fmla="*/ 24215 w 218720"/>
                <a:gd name="connsiteY104" fmla="*/ 205048 h 359632"/>
                <a:gd name="connsiteX105" fmla="*/ 22362 w 218720"/>
                <a:gd name="connsiteY105" fmla="*/ 206660 h 359632"/>
                <a:gd name="connsiteX106" fmla="*/ 20834 w 218720"/>
                <a:gd name="connsiteY106" fmla="*/ 208292 h 359632"/>
                <a:gd name="connsiteX107" fmla="*/ 21377 w 218720"/>
                <a:gd name="connsiteY107" fmla="*/ 209111 h 359632"/>
                <a:gd name="connsiteX108" fmla="*/ 21876 w 218720"/>
                <a:gd name="connsiteY108" fmla="*/ 210189 h 359632"/>
                <a:gd name="connsiteX109" fmla="*/ 21045 w 218720"/>
                <a:gd name="connsiteY109" fmla="*/ 210961 h 359632"/>
                <a:gd name="connsiteX110" fmla="*/ 18532 w 218720"/>
                <a:gd name="connsiteY110" fmla="*/ 212728 h 359632"/>
                <a:gd name="connsiteX111" fmla="*/ 18139 w 218720"/>
                <a:gd name="connsiteY111" fmla="*/ 213414 h 359632"/>
                <a:gd name="connsiteX112" fmla="*/ 17461 w 218720"/>
                <a:gd name="connsiteY112" fmla="*/ 213785 h 359632"/>
                <a:gd name="connsiteX113" fmla="*/ 16261 w 218720"/>
                <a:gd name="connsiteY113" fmla="*/ 213296 h 359632"/>
                <a:gd name="connsiteX114" fmla="*/ 13276 w 218720"/>
                <a:gd name="connsiteY114" fmla="*/ 213409 h 359632"/>
                <a:gd name="connsiteX115" fmla="*/ 11902 w 218720"/>
                <a:gd name="connsiteY115" fmla="*/ 213097 h 359632"/>
                <a:gd name="connsiteX116" fmla="*/ 10305 w 218720"/>
                <a:gd name="connsiteY116" fmla="*/ 211796 h 359632"/>
                <a:gd name="connsiteX117" fmla="*/ 6410 w 218720"/>
                <a:gd name="connsiteY117" fmla="*/ 210925 h 359632"/>
                <a:gd name="connsiteX118" fmla="*/ 5757 w 218720"/>
                <a:gd name="connsiteY118" fmla="*/ 208841 h 359632"/>
                <a:gd name="connsiteX119" fmla="*/ 5005 w 218720"/>
                <a:gd name="connsiteY119" fmla="*/ 208451 h 359632"/>
                <a:gd name="connsiteX120" fmla="*/ 587 w 218720"/>
                <a:gd name="connsiteY120" fmla="*/ 204865 h 359632"/>
                <a:gd name="connsiteX121" fmla="*/ 0 w 218720"/>
                <a:gd name="connsiteY121" fmla="*/ 203667 h 359632"/>
                <a:gd name="connsiteX122" fmla="*/ 572 w 218720"/>
                <a:gd name="connsiteY122" fmla="*/ 202952 h 359632"/>
                <a:gd name="connsiteX123" fmla="*/ 2222 w 218720"/>
                <a:gd name="connsiteY123" fmla="*/ 201868 h 359632"/>
                <a:gd name="connsiteX124" fmla="*/ 7762 w 218720"/>
                <a:gd name="connsiteY124" fmla="*/ 200072 h 359632"/>
                <a:gd name="connsiteX125" fmla="*/ 8633 w 218720"/>
                <a:gd name="connsiteY125" fmla="*/ 199348 h 359632"/>
                <a:gd name="connsiteX126" fmla="*/ 8812 w 218720"/>
                <a:gd name="connsiteY126" fmla="*/ 198709 h 359632"/>
                <a:gd name="connsiteX127" fmla="*/ 7186 w 218720"/>
                <a:gd name="connsiteY127" fmla="*/ 197979 h 359632"/>
                <a:gd name="connsiteX128" fmla="*/ 5720 w 218720"/>
                <a:gd name="connsiteY128" fmla="*/ 197172 h 359632"/>
                <a:gd name="connsiteX129" fmla="*/ 5220 w 218720"/>
                <a:gd name="connsiteY129" fmla="*/ 196643 h 359632"/>
                <a:gd name="connsiteX130" fmla="*/ 5179 w 218720"/>
                <a:gd name="connsiteY130" fmla="*/ 196184 h 359632"/>
                <a:gd name="connsiteX131" fmla="*/ 6011 w 218720"/>
                <a:gd name="connsiteY131" fmla="*/ 195586 h 359632"/>
                <a:gd name="connsiteX132" fmla="*/ 7685 w 218720"/>
                <a:gd name="connsiteY132" fmla="*/ 195543 h 359632"/>
                <a:gd name="connsiteX133" fmla="*/ 9007 w 218720"/>
                <a:gd name="connsiteY133" fmla="*/ 195813 h 359632"/>
                <a:gd name="connsiteX134" fmla="*/ 10057 w 218720"/>
                <a:gd name="connsiteY134" fmla="*/ 195275 h 359632"/>
                <a:gd name="connsiteX135" fmla="*/ 11904 w 218720"/>
                <a:gd name="connsiteY135" fmla="*/ 194734 h 359632"/>
                <a:gd name="connsiteX136" fmla="*/ 13144 w 218720"/>
                <a:gd name="connsiteY136" fmla="*/ 194052 h 359632"/>
                <a:gd name="connsiteX137" fmla="*/ 14210 w 218720"/>
                <a:gd name="connsiteY137" fmla="*/ 192290 h 359632"/>
                <a:gd name="connsiteX138" fmla="*/ 15336 w 218720"/>
                <a:gd name="connsiteY138" fmla="*/ 190705 h 359632"/>
                <a:gd name="connsiteX139" fmla="*/ 15452 w 218720"/>
                <a:gd name="connsiteY139" fmla="*/ 189845 h 359632"/>
                <a:gd name="connsiteX140" fmla="*/ 16438 w 218720"/>
                <a:gd name="connsiteY140" fmla="*/ 186828 h 359632"/>
                <a:gd name="connsiteX141" fmla="*/ 16980 w 218720"/>
                <a:gd name="connsiteY141" fmla="*/ 186079 h 359632"/>
                <a:gd name="connsiteX142" fmla="*/ 20479 w 218720"/>
                <a:gd name="connsiteY142" fmla="*/ 184101 h 359632"/>
                <a:gd name="connsiteX143" fmla="*/ 21365 w 218720"/>
                <a:gd name="connsiteY143" fmla="*/ 185181 h 359632"/>
                <a:gd name="connsiteX144" fmla="*/ 23089 w 218720"/>
                <a:gd name="connsiteY144" fmla="*/ 185445 h 359632"/>
                <a:gd name="connsiteX145" fmla="*/ 24634 w 218720"/>
                <a:gd name="connsiteY145" fmla="*/ 184451 h 359632"/>
                <a:gd name="connsiteX146" fmla="*/ 26483 w 218720"/>
                <a:gd name="connsiteY146" fmla="*/ 181313 h 359632"/>
                <a:gd name="connsiteX147" fmla="*/ 27769 w 218720"/>
                <a:gd name="connsiteY147" fmla="*/ 181116 h 359632"/>
                <a:gd name="connsiteX148" fmla="*/ 29187 w 218720"/>
                <a:gd name="connsiteY148" fmla="*/ 181370 h 359632"/>
                <a:gd name="connsiteX149" fmla="*/ 31974 w 218720"/>
                <a:gd name="connsiteY149" fmla="*/ 180975 h 359632"/>
                <a:gd name="connsiteX150" fmla="*/ 36922 w 218720"/>
                <a:gd name="connsiteY150" fmla="*/ 179509 h 359632"/>
                <a:gd name="connsiteX151" fmla="*/ 63975 w 218720"/>
                <a:gd name="connsiteY151" fmla="*/ 164784 h 359632"/>
                <a:gd name="connsiteX152" fmla="*/ 65438 w 218720"/>
                <a:gd name="connsiteY152" fmla="*/ 165590 h 359632"/>
                <a:gd name="connsiteX153" fmla="*/ 65992 w 218720"/>
                <a:gd name="connsiteY153" fmla="*/ 166340 h 359632"/>
                <a:gd name="connsiteX154" fmla="*/ 67217 w 218720"/>
                <a:gd name="connsiteY154" fmla="*/ 169218 h 359632"/>
                <a:gd name="connsiteX155" fmla="*/ 67444 w 218720"/>
                <a:gd name="connsiteY155" fmla="*/ 171683 h 359632"/>
                <a:gd name="connsiteX156" fmla="*/ 67207 w 218720"/>
                <a:gd name="connsiteY156" fmla="*/ 173091 h 359632"/>
                <a:gd name="connsiteX157" fmla="*/ 64420 w 218720"/>
                <a:gd name="connsiteY157" fmla="*/ 173114 h 359632"/>
                <a:gd name="connsiteX158" fmla="*/ 63412 w 218720"/>
                <a:gd name="connsiteY158" fmla="*/ 172847 h 359632"/>
                <a:gd name="connsiteX159" fmla="*/ 62208 w 218720"/>
                <a:gd name="connsiteY159" fmla="*/ 172095 h 359632"/>
                <a:gd name="connsiteX160" fmla="*/ 60856 w 218720"/>
                <a:gd name="connsiteY160" fmla="*/ 167842 h 359632"/>
                <a:gd name="connsiteX161" fmla="*/ 61339 w 218720"/>
                <a:gd name="connsiteY161" fmla="*/ 166336 h 359632"/>
                <a:gd name="connsiteX162" fmla="*/ 61894 w 218720"/>
                <a:gd name="connsiteY162" fmla="*/ 165598 h 359632"/>
                <a:gd name="connsiteX163" fmla="*/ 62504 w 218720"/>
                <a:gd name="connsiteY163" fmla="*/ 165025 h 359632"/>
                <a:gd name="connsiteX164" fmla="*/ 44576 w 218720"/>
                <a:gd name="connsiteY164" fmla="*/ 158143 h 359632"/>
                <a:gd name="connsiteX165" fmla="*/ 45374 w 218720"/>
                <a:gd name="connsiteY165" fmla="*/ 162138 h 359632"/>
                <a:gd name="connsiteX166" fmla="*/ 46152 w 218720"/>
                <a:gd name="connsiteY166" fmla="*/ 164611 h 359632"/>
                <a:gd name="connsiteX167" fmla="*/ 46203 w 218720"/>
                <a:gd name="connsiteY167" fmla="*/ 165455 h 359632"/>
                <a:gd name="connsiteX168" fmla="*/ 45472 w 218720"/>
                <a:gd name="connsiteY168" fmla="*/ 166628 h 359632"/>
                <a:gd name="connsiteX169" fmla="*/ 41828 w 218720"/>
                <a:gd name="connsiteY169" fmla="*/ 168187 h 359632"/>
                <a:gd name="connsiteX170" fmla="*/ 40681 w 218720"/>
                <a:gd name="connsiteY170" fmla="*/ 168196 h 359632"/>
                <a:gd name="connsiteX171" fmla="*/ 40633 w 218720"/>
                <a:gd name="connsiteY171" fmla="*/ 167818 h 359632"/>
                <a:gd name="connsiteX172" fmla="*/ 41456 w 218720"/>
                <a:gd name="connsiteY172" fmla="*/ 166231 h 359632"/>
                <a:gd name="connsiteX173" fmla="*/ 40747 w 218720"/>
                <a:gd name="connsiteY173" fmla="*/ 164429 h 359632"/>
                <a:gd name="connsiteX174" fmla="*/ 41093 w 218720"/>
                <a:gd name="connsiteY174" fmla="*/ 163059 h 359632"/>
                <a:gd name="connsiteX175" fmla="*/ 40754 w 218720"/>
                <a:gd name="connsiteY175" fmla="*/ 162807 h 359632"/>
                <a:gd name="connsiteX176" fmla="*/ 40043 w 218720"/>
                <a:gd name="connsiteY176" fmla="*/ 163001 h 359632"/>
                <a:gd name="connsiteX177" fmla="*/ 37433 w 218720"/>
                <a:gd name="connsiteY177" fmla="*/ 165178 h 359632"/>
                <a:gd name="connsiteX178" fmla="*/ 36561 w 218720"/>
                <a:gd name="connsiteY178" fmla="*/ 165393 h 359632"/>
                <a:gd name="connsiteX179" fmla="*/ 36466 w 218720"/>
                <a:gd name="connsiteY179" fmla="*/ 164951 h 359632"/>
                <a:gd name="connsiteX180" fmla="*/ 37112 w 218720"/>
                <a:gd name="connsiteY180" fmla="*/ 163168 h 359632"/>
                <a:gd name="connsiteX181" fmla="*/ 37192 w 218720"/>
                <a:gd name="connsiteY181" fmla="*/ 161948 h 359632"/>
                <a:gd name="connsiteX182" fmla="*/ 37581 w 218720"/>
                <a:gd name="connsiteY182" fmla="*/ 161198 h 359632"/>
                <a:gd name="connsiteX183" fmla="*/ 38290 w 218720"/>
                <a:gd name="connsiteY183" fmla="*/ 160506 h 359632"/>
                <a:gd name="connsiteX184" fmla="*/ 39135 w 218720"/>
                <a:gd name="connsiteY184" fmla="*/ 159986 h 359632"/>
                <a:gd name="connsiteX185" fmla="*/ 39817 w 218720"/>
                <a:gd name="connsiteY185" fmla="*/ 159912 h 359632"/>
                <a:gd name="connsiteX186" fmla="*/ 40543 w 218720"/>
                <a:gd name="connsiteY186" fmla="*/ 160448 h 359632"/>
                <a:gd name="connsiteX187" fmla="*/ 42657 w 218720"/>
                <a:gd name="connsiteY187" fmla="*/ 158952 h 359632"/>
                <a:gd name="connsiteX188" fmla="*/ 52683 w 218720"/>
                <a:gd name="connsiteY188" fmla="*/ 152228 h 359632"/>
                <a:gd name="connsiteX189" fmla="*/ 53504 w 218720"/>
                <a:gd name="connsiteY189" fmla="*/ 152283 h 359632"/>
                <a:gd name="connsiteX190" fmla="*/ 51910 w 218720"/>
                <a:gd name="connsiteY190" fmla="*/ 155806 h 359632"/>
                <a:gd name="connsiteX191" fmla="*/ 48088 w 218720"/>
                <a:gd name="connsiteY191" fmla="*/ 161752 h 359632"/>
                <a:gd name="connsiteX192" fmla="*/ 47627 w 218720"/>
                <a:gd name="connsiteY192" fmla="*/ 162086 h 359632"/>
                <a:gd name="connsiteX193" fmla="*/ 46507 w 218720"/>
                <a:gd name="connsiteY193" fmla="*/ 161994 h 359632"/>
                <a:gd name="connsiteX194" fmla="*/ 46092 w 218720"/>
                <a:gd name="connsiteY194" fmla="*/ 161493 h 359632"/>
                <a:gd name="connsiteX195" fmla="*/ 45863 w 218720"/>
                <a:gd name="connsiteY195" fmla="*/ 160723 h 359632"/>
                <a:gd name="connsiteX196" fmla="*/ 45835 w 218720"/>
                <a:gd name="connsiteY196" fmla="*/ 159309 h 359632"/>
                <a:gd name="connsiteX197" fmla="*/ 46513 w 218720"/>
                <a:gd name="connsiteY197" fmla="*/ 158297 h 359632"/>
                <a:gd name="connsiteX198" fmla="*/ 49377 w 218720"/>
                <a:gd name="connsiteY198" fmla="*/ 156767 h 359632"/>
                <a:gd name="connsiteX199" fmla="*/ 48083 w 218720"/>
                <a:gd name="connsiteY199" fmla="*/ 156224 h 359632"/>
                <a:gd name="connsiteX200" fmla="*/ 48031 w 218720"/>
                <a:gd name="connsiteY200" fmla="*/ 155842 h 359632"/>
                <a:gd name="connsiteX201" fmla="*/ 48774 w 218720"/>
                <a:gd name="connsiteY201" fmla="*/ 154570 h 359632"/>
                <a:gd name="connsiteX202" fmla="*/ 51857 w 218720"/>
                <a:gd name="connsiteY202" fmla="*/ 152588 h 359632"/>
                <a:gd name="connsiteX203" fmla="*/ 44369 w 218720"/>
                <a:gd name="connsiteY203" fmla="*/ 135637 h 359632"/>
                <a:gd name="connsiteX204" fmla="*/ 45155 w 218720"/>
                <a:gd name="connsiteY204" fmla="*/ 135769 h 359632"/>
                <a:gd name="connsiteX205" fmla="*/ 46772 w 218720"/>
                <a:gd name="connsiteY205" fmla="*/ 136896 h 359632"/>
                <a:gd name="connsiteX206" fmla="*/ 48605 w 218720"/>
                <a:gd name="connsiteY206" fmla="*/ 139261 h 359632"/>
                <a:gd name="connsiteX207" fmla="*/ 51052 w 218720"/>
                <a:gd name="connsiteY207" fmla="*/ 139637 h 359632"/>
                <a:gd name="connsiteX208" fmla="*/ 52715 w 218720"/>
                <a:gd name="connsiteY208" fmla="*/ 140638 h 359632"/>
                <a:gd name="connsiteX209" fmla="*/ 52338 w 218720"/>
                <a:gd name="connsiteY209" fmla="*/ 145224 h 359632"/>
                <a:gd name="connsiteX210" fmla="*/ 43531 w 218720"/>
                <a:gd name="connsiteY210" fmla="*/ 146965 h 359632"/>
                <a:gd name="connsiteX211" fmla="*/ 40496 w 218720"/>
                <a:gd name="connsiteY211" fmla="*/ 146811 h 359632"/>
                <a:gd name="connsiteX212" fmla="*/ 40222 w 218720"/>
                <a:gd name="connsiteY212" fmla="*/ 145957 h 359632"/>
                <a:gd name="connsiteX213" fmla="*/ 40826 w 218720"/>
                <a:gd name="connsiteY213" fmla="*/ 145386 h 359632"/>
                <a:gd name="connsiteX214" fmla="*/ 43339 w 218720"/>
                <a:gd name="connsiteY214" fmla="*/ 144831 h 359632"/>
                <a:gd name="connsiteX215" fmla="*/ 44356 w 218720"/>
                <a:gd name="connsiteY215" fmla="*/ 140639 h 359632"/>
                <a:gd name="connsiteX216" fmla="*/ 40557 w 218720"/>
                <a:gd name="connsiteY216" fmla="*/ 138708 h 359632"/>
                <a:gd name="connsiteX217" fmla="*/ 40358 w 218720"/>
                <a:gd name="connsiteY217" fmla="*/ 138165 h 359632"/>
                <a:gd name="connsiteX218" fmla="*/ 40655 w 218720"/>
                <a:gd name="connsiteY218" fmla="*/ 137243 h 359632"/>
                <a:gd name="connsiteX219" fmla="*/ 41095 w 218720"/>
                <a:gd name="connsiteY219" fmla="*/ 136832 h 359632"/>
                <a:gd name="connsiteX220" fmla="*/ 43400 w 218720"/>
                <a:gd name="connsiteY220" fmla="*/ 135854 h 359632"/>
                <a:gd name="connsiteX221" fmla="*/ 36236 w 218720"/>
                <a:gd name="connsiteY221" fmla="*/ 134929 h 359632"/>
                <a:gd name="connsiteX222" fmla="*/ 36731 w 218720"/>
                <a:gd name="connsiteY222" fmla="*/ 135137 h 359632"/>
                <a:gd name="connsiteX223" fmla="*/ 35705 w 218720"/>
                <a:gd name="connsiteY223" fmla="*/ 136368 h 359632"/>
                <a:gd name="connsiteX224" fmla="*/ 33991 w 218720"/>
                <a:gd name="connsiteY224" fmla="*/ 137675 h 359632"/>
                <a:gd name="connsiteX225" fmla="*/ 32734 w 218720"/>
                <a:gd name="connsiteY225" fmla="*/ 137850 h 359632"/>
                <a:gd name="connsiteX226" fmla="*/ 32643 w 218720"/>
                <a:gd name="connsiteY226" fmla="*/ 137405 h 359632"/>
                <a:gd name="connsiteX227" fmla="*/ 34824 w 218720"/>
                <a:gd name="connsiteY227" fmla="*/ 135279 h 359632"/>
                <a:gd name="connsiteX228" fmla="*/ 15243 w 218720"/>
                <a:gd name="connsiteY228" fmla="*/ 124000 h 359632"/>
                <a:gd name="connsiteX229" fmla="*/ 16322 w 218720"/>
                <a:gd name="connsiteY229" fmla="*/ 124589 h 359632"/>
                <a:gd name="connsiteX230" fmla="*/ 16493 w 218720"/>
                <a:gd name="connsiteY230" fmla="*/ 125125 h 359632"/>
                <a:gd name="connsiteX231" fmla="*/ 16096 w 218720"/>
                <a:gd name="connsiteY231" fmla="*/ 125691 h 359632"/>
                <a:gd name="connsiteX232" fmla="*/ 14152 w 218720"/>
                <a:gd name="connsiteY232" fmla="*/ 126126 h 359632"/>
                <a:gd name="connsiteX233" fmla="*/ 13431 w 218720"/>
                <a:gd name="connsiteY233" fmla="*/ 125871 h 359632"/>
                <a:gd name="connsiteX234" fmla="*/ 13308 w 218720"/>
                <a:gd name="connsiteY234" fmla="*/ 125472 h 359632"/>
                <a:gd name="connsiteX235" fmla="*/ 13751 w 218720"/>
                <a:gd name="connsiteY235" fmla="*/ 124384 h 359632"/>
                <a:gd name="connsiteX236" fmla="*/ 40298 w 218720"/>
                <a:gd name="connsiteY236" fmla="*/ 123001 h 359632"/>
                <a:gd name="connsiteX237" fmla="*/ 41274 w 218720"/>
                <a:gd name="connsiteY237" fmla="*/ 123606 h 359632"/>
                <a:gd name="connsiteX238" fmla="*/ 41649 w 218720"/>
                <a:gd name="connsiteY238" fmla="*/ 124298 h 359632"/>
                <a:gd name="connsiteX239" fmla="*/ 41665 w 218720"/>
                <a:gd name="connsiteY239" fmla="*/ 125065 h 359632"/>
                <a:gd name="connsiteX240" fmla="*/ 41256 w 218720"/>
                <a:gd name="connsiteY240" fmla="*/ 125714 h 359632"/>
                <a:gd name="connsiteX241" fmla="*/ 40600 w 218720"/>
                <a:gd name="connsiteY241" fmla="*/ 126121 h 359632"/>
                <a:gd name="connsiteX242" fmla="*/ 39770 w 218720"/>
                <a:gd name="connsiteY242" fmla="*/ 126043 h 359632"/>
                <a:gd name="connsiteX243" fmla="*/ 38948 w 218720"/>
                <a:gd name="connsiteY243" fmla="*/ 125518 h 359632"/>
                <a:gd name="connsiteX244" fmla="*/ 37860 w 218720"/>
                <a:gd name="connsiteY244" fmla="*/ 124032 h 359632"/>
                <a:gd name="connsiteX245" fmla="*/ 18761 w 218720"/>
                <a:gd name="connsiteY245" fmla="*/ 112439 h 359632"/>
                <a:gd name="connsiteX246" fmla="*/ 19407 w 218720"/>
                <a:gd name="connsiteY246" fmla="*/ 112818 h 359632"/>
                <a:gd name="connsiteX247" fmla="*/ 19840 w 218720"/>
                <a:gd name="connsiteY247" fmla="*/ 120602 h 359632"/>
                <a:gd name="connsiteX248" fmla="*/ 19790 w 218720"/>
                <a:gd name="connsiteY248" fmla="*/ 120951 h 359632"/>
                <a:gd name="connsiteX249" fmla="*/ 18857 w 218720"/>
                <a:gd name="connsiteY249" fmla="*/ 121127 h 359632"/>
                <a:gd name="connsiteX250" fmla="*/ 17632 w 218720"/>
                <a:gd name="connsiteY250" fmla="*/ 120957 h 359632"/>
                <a:gd name="connsiteX251" fmla="*/ 16879 w 218720"/>
                <a:gd name="connsiteY251" fmla="*/ 120465 h 359632"/>
                <a:gd name="connsiteX252" fmla="*/ 16117 w 218720"/>
                <a:gd name="connsiteY252" fmla="*/ 118518 h 359632"/>
                <a:gd name="connsiteX253" fmla="*/ 15975 w 218720"/>
                <a:gd name="connsiteY253" fmla="*/ 117339 h 359632"/>
                <a:gd name="connsiteX254" fmla="*/ 16314 w 218720"/>
                <a:gd name="connsiteY254" fmla="*/ 115145 h 359632"/>
                <a:gd name="connsiteX255" fmla="*/ 16236 w 218720"/>
                <a:gd name="connsiteY255" fmla="*/ 112521 h 359632"/>
                <a:gd name="connsiteX256" fmla="*/ 40661 w 218720"/>
                <a:gd name="connsiteY256" fmla="*/ 103259 h 359632"/>
                <a:gd name="connsiteX257" fmla="*/ 41966 w 218720"/>
                <a:gd name="connsiteY257" fmla="*/ 103921 h 359632"/>
                <a:gd name="connsiteX258" fmla="*/ 43754 w 218720"/>
                <a:gd name="connsiteY258" fmla="*/ 106023 h 359632"/>
                <a:gd name="connsiteX259" fmla="*/ 44226 w 218720"/>
                <a:gd name="connsiteY259" fmla="*/ 108582 h 359632"/>
                <a:gd name="connsiteX260" fmla="*/ 44195 w 218720"/>
                <a:gd name="connsiteY260" fmla="*/ 109988 h 359632"/>
                <a:gd name="connsiteX261" fmla="*/ 43805 w 218720"/>
                <a:gd name="connsiteY261" fmla="*/ 111640 h 359632"/>
                <a:gd name="connsiteX262" fmla="*/ 44313 w 218720"/>
                <a:gd name="connsiteY262" fmla="*/ 113393 h 359632"/>
                <a:gd name="connsiteX263" fmla="*/ 44429 w 218720"/>
                <a:gd name="connsiteY263" fmla="*/ 114645 h 359632"/>
                <a:gd name="connsiteX264" fmla="*/ 45361 w 218720"/>
                <a:gd name="connsiteY264" fmla="*/ 115043 h 359632"/>
                <a:gd name="connsiteX265" fmla="*/ 45931 w 218720"/>
                <a:gd name="connsiteY265" fmla="*/ 115619 h 359632"/>
                <a:gd name="connsiteX266" fmla="*/ 50074 w 218720"/>
                <a:gd name="connsiteY266" fmla="*/ 116264 h 359632"/>
                <a:gd name="connsiteX267" fmla="*/ 53927 w 218720"/>
                <a:gd name="connsiteY267" fmla="*/ 116083 h 359632"/>
                <a:gd name="connsiteX268" fmla="*/ 54669 w 218720"/>
                <a:gd name="connsiteY268" fmla="*/ 116598 h 359632"/>
                <a:gd name="connsiteX269" fmla="*/ 54753 w 218720"/>
                <a:gd name="connsiteY269" fmla="*/ 117416 h 359632"/>
                <a:gd name="connsiteX270" fmla="*/ 54144 w 218720"/>
                <a:gd name="connsiteY270" fmla="*/ 118318 h 359632"/>
                <a:gd name="connsiteX271" fmla="*/ 51950 w 218720"/>
                <a:gd name="connsiteY271" fmla="*/ 119963 h 359632"/>
                <a:gd name="connsiteX272" fmla="*/ 49333 w 218720"/>
                <a:gd name="connsiteY272" fmla="*/ 122618 h 359632"/>
                <a:gd name="connsiteX273" fmla="*/ 48553 w 218720"/>
                <a:gd name="connsiteY273" fmla="*/ 123171 h 359632"/>
                <a:gd name="connsiteX274" fmla="*/ 47707 w 218720"/>
                <a:gd name="connsiteY274" fmla="*/ 123194 h 359632"/>
                <a:gd name="connsiteX275" fmla="*/ 47100 w 218720"/>
                <a:gd name="connsiteY275" fmla="*/ 122956 h 359632"/>
                <a:gd name="connsiteX276" fmla="*/ 46666 w 218720"/>
                <a:gd name="connsiteY276" fmla="*/ 118230 h 359632"/>
                <a:gd name="connsiteX277" fmla="*/ 43828 w 218720"/>
                <a:gd name="connsiteY277" fmla="*/ 118835 h 359632"/>
                <a:gd name="connsiteX278" fmla="*/ 41542 w 218720"/>
                <a:gd name="connsiteY278" fmla="*/ 118766 h 359632"/>
                <a:gd name="connsiteX279" fmla="*/ 40291 w 218720"/>
                <a:gd name="connsiteY279" fmla="*/ 118190 h 359632"/>
                <a:gd name="connsiteX280" fmla="*/ 39413 w 218720"/>
                <a:gd name="connsiteY280" fmla="*/ 117080 h 359632"/>
                <a:gd name="connsiteX281" fmla="*/ 37643 w 218720"/>
                <a:gd name="connsiteY281" fmla="*/ 114224 h 359632"/>
                <a:gd name="connsiteX282" fmla="*/ 32491 w 218720"/>
                <a:gd name="connsiteY282" fmla="*/ 113100 h 359632"/>
                <a:gd name="connsiteX283" fmla="*/ 31034 w 218720"/>
                <a:gd name="connsiteY283" fmla="*/ 111525 h 359632"/>
                <a:gd name="connsiteX284" fmla="*/ 30596 w 218720"/>
                <a:gd name="connsiteY284" fmla="*/ 110573 h 359632"/>
                <a:gd name="connsiteX285" fmla="*/ 30782 w 218720"/>
                <a:gd name="connsiteY285" fmla="*/ 110047 h 359632"/>
                <a:gd name="connsiteX286" fmla="*/ 31855 w 218720"/>
                <a:gd name="connsiteY286" fmla="*/ 108875 h 359632"/>
                <a:gd name="connsiteX287" fmla="*/ 33198 w 218720"/>
                <a:gd name="connsiteY287" fmla="*/ 109293 h 359632"/>
                <a:gd name="connsiteX288" fmla="*/ 34029 w 218720"/>
                <a:gd name="connsiteY288" fmla="*/ 109037 h 359632"/>
                <a:gd name="connsiteX289" fmla="*/ 34535 w 218720"/>
                <a:gd name="connsiteY289" fmla="*/ 108513 h 359632"/>
                <a:gd name="connsiteX290" fmla="*/ 34524 w 218720"/>
                <a:gd name="connsiteY290" fmla="*/ 108083 h 359632"/>
                <a:gd name="connsiteX291" fmla="*/ 33821 w 218720"/>
                <a:gd name="connsiteY291" fmla="*/ 107061 h 359632"/>
                <a:gd name="connsiteX292" fmla="*/ 33788 w 218720"/>
                <a:gd name="connsiteY292" fmla="*/ 106743 h 359632"/>
                <a:gd name="connsiteX293" fmla="*/ 39057 w 218720"/>
                <a:gd name="connsiteY293" fmla="*/ 105449 h 359632"/>
                <a:gd name="connsiteX294" fmla="*/ 39517 w 218720"/>
                <a:gd name="connsiteY294" fmla="*/ 103424 h 359632"/>
                <a:gd name="connsiteX295" fmla="*/ 20769 w 218720"/>
                <a:gd name="connsiteY295" fmla="*/ 102908 h 359632"/>
                <a:gd name="connsiteX296" fmla="*/ 23263 w 218720"/>
                <a:gd name="connsiteY296" fmla="*/ 104705 h 359632"/>
                <a:gd name="connsiteX297" fmla="*/ 21276 w 218720"/>
                <a:gd name="connsiteY297" fmla="*/ 107680 h 359632"/>
                <a:gd name="connsiteX298" fmla="*/ 18226 w 218720"/>
                <a:gd name="connsiteY298" fmla="*/ 107666 h 359632"/>
                <a:gd name="connsiteX299" fmla="*/ 13932 w 218720"/>
                <a:gd name="connsiteY299" fmla="*/ 105492 h 359632"/>
                <a:gd name="connsiteX300" fmla="*/ 13913 w 218720"/>
                <a:gd name="connsiteY300" fmla="*/ 105049 h 359632"/>
                <a:gd name="connsiteX301" fmla="*/ 14271 w 218720"/>
                <a:gd name="connsiteY301" fmla="*/ 104396 h 359632"/>
                <a:gd name="connsiteX302" fmla="*/ 14915 w 218720"/>
                <a:gd name="connsiteY302" fmla="*/ 103879 h 359632"/>
                <a:gd name="connsiteX303" fmla="*/ 15584 w 218720"/>
                <a:gd name="connsiteY303" fmla="*/ 103756 h 359632"/>
                <a:gd name="connsiteX304" fmla="*/ 16649 w 218720"/>
                <a:gd name="connsiteY304" fmla="*/ 104113 h 359632"/>
                <a:gd name="connsiteX305" fmla="*/ 18131 w 218720"/>
                <a:gd name="connsiteY305" fmla="*/ 103541 h 359632"/>
                <a:gd name="connsiteX306" fmla="*/ 19318 w 218720"/>
                <a:gd name="connsiteY306" fmla="*/ 103722 h 359632"/>
                <a:gd name="connsiteX307" fmla="*/ 42176 w 218720"/>
                <a:gd name="connsiteY307" fmla="*/ 76583 h 359632"/>
                <a:gd name="connsiteX308" fmla="*/ 42574 w 218720"/>
                <a:gd name="connsiteY308" fmla="*/ 77039 h 359632"/>
                <a:gd name="connsiteX309" fmla="*/ 43131 w 218720"/>
                <a:gd name="connsiteY309" fmla="*/ 78770 h 359632"/>
                <a:gd name="connsiteX310" fmla="*/ 43033 w 218720"/>
                <a:gd name="connsiteY310" fmla="*/ 81087 h 359632"/>
                <a:gd name="connsiteX311" fmla="*/ 40222 w 218720"/>
                <a:gd name="connsiteY311" fmla="*/ 86702 h 359632"/>
                <a:gd name="connsiteX312" fmla="*/ 39121 w 218720"/>
                <a:gd name="connsiteY312" fmla="*/ 86840 h 359632"/>
                <a:gd name="connsiteX313" fmla="*/ 38155 w 218720"/>
                <a:gd name="connsiteY313" fmla="*/ 88241 h 359632"/>
                <a:gd name="connsiteX314" fmla="*/ 35163 w 218720"/>
                <a:gd name="connsiteY314" fmla="*/ 89786 h 359632"/>
                <a:gd name="connsiteX315" fmla="*/ 37774 w 218720"/>
                <a:gd name="connsiteY315" fmla="*/ 89818 h 359632"/>
                <a:gd name="connsiteX316" fmla="*/ 38507 w 218720"/>
                <a:gd name="connsiteY316" fmla="*/ 90332 h 359632"/>
                <a:gd name="connsiteX317" fmla="*/ 38528 w 218720"/>
                <a:gd name="connsiteY317" fmla="*/ 91440 h 359632"/>
                <a:gd name="connsiteX318" fmla="*/ 38025 w 218720"/>
                <a:gd name="connsiteY318" fmla="*/ 92084 h 359632"/>
                <a:gd name="connsiteX319" fmla="*/ 34643 w 218720"/>
                <a:gd name="connsiteY319" fmla="*/ 94646 h 359632"/>
                <a:gd name="connsiteX320" fmla="*/ 32317 w 218720"/>
                <a:gd name="connsiteY320" fmla="*/ 95617 h 359632"/>
                <a:gd name="connsiteX321" fmla="*/ 29812 w 218720"/>
                <a:gd name="connsiteY321" fmla="*/ 98289 h 359632"/>
                <a:gd name="connsiteX322" fmla="*/ 28548 w 218720"/>
                <a:gd name="connsiteY322" fmla="*/ 98322 h 359632"/>
                <a:gd name="connsiteX323" fmla="*/ 27296 w 218720"/>
                <a:gd name="connsiteY323" fmla="*/ 100020 h 359632"/>
                <a:gd name="connsiteX324" fmla="*/ 26266 w 218720"/>
                <a:gd name="connsiteY324" fmla="*/ 100766 h 359632"/>
                <a:gd name="connsiteX325" fmla="*/ 25688 w 218720"/>
                <a:gd name="connsiteY325" fmla="*/ 100768 h 359632"/>
                <a:gd name="connsiteX326" fmla="*/ 25023 w 218720"/>
                <a:gd name="connsiteY326" fmla="*/ 100392 h 359632"/>
                <a:gd name="connsiteX327" fmla="*/ 23469 w 218720"/>
                <a:gd name="connsiteY327" fmla="*/ 98730 h 359632"/>
                <a:gd name="connsiteX328" fmla="*/ 26288 w 218720"/>
                <a:gd name="connsiteY328" fmla="*/ 97094 h 359632"/>
                <a:gd name="connsiteX329" fmla="*/ 26549 w 218720"/>
                <a:gd name="connsiteY329" fmla="*/ 96174 h 359632"/>
                <a:gd name="connsiteX330" fmla="*/ 28480 w 218720"/>
                <a:gd name="connsiteY330" fmla="*/ 95217 h 359632"/>
                <a:gd name="connsiteX331" fmla="*/ 28318 w 218720"/>
                <a:gd name="connsiteY331" fmla="*/ 94918 h 359632"/>
                <a:gd name="connsiteX332" fmla="*/ 25258 w 218720"/>
                <a:gd name="connsiteY332" fmla="*/ 93571 h 359632"/>
                <a:gd name="connsiteX333" fmla="*/ 24052 w 218720"/>
                <a:gd name="connsiteY333" fmla="*/ 92664 h 359632"/>
                <a:gd name="connsiteX334" fmla="*/ 24166 w 218720"/>
                <a:gd name="connsiteY334" fmla="*/ 92190 h 359632"/>
                <a:gd name="connsiteX335" fmla="*/ 25639 w 218720"/>
                <a:gd name="connsiteY335" fmla="*/ 91147 h 359632"/>
                <a:gd name="connsiteX336" fmla="*/ 24941 w 218720"/>
                <a:gd name="connsiteY336" fmla="*/ 91009 h 359632"/>
                <a:gd name="connsiteX337" fmla="*/ 24469 w 218720"/>
                <a:gd name="connsiteY337" fmla="*/ 90446 h 359632"/>
                <a:gd name="connsiteX338" fmla="*/ 23614 w 218720"/>
                <a:gd name="connsiteY338" fmla="*/ 90232 h 359632"/>
                <a:gd name="connsiteX339" fmla="*/ 23358 w 218720"/>
                <a:gd name="connsiteY339" fmla="*/ 89707 h 359632"/>
                <a:gd name="connsiteX340" fmla="*/ 23200 w 218720"/>
                <a:gd name="connsiteY340" fmla="*/ 88328 h 359632"/>
                <a:gd name="connsiteX341" fmla="*/ 23429 w 218720"/>
                <a:gd name="connsiteY341" fmla="*/ 86917 h 359632"/>
                <a:gd name="connsiteX342" fmla="*/ 24321 w 218720"/>
                <a:gd name="connsiteY342" fmla="*/ 86294 h 359632"/>
                <a:gd name="connsiteX343" fmla="*/ 24686 w 218720"/>
                <a:gd name="connsiteY343" fmla="*/ 85626 h 359632"/>
                <a:gd name="connsiteX344" fmla="*/ 25047 w 218720"/>
                <a:gd name="connsiteY344" fmla="*/ 85421 h 359632"/>
                <a:gd name="connsiteX345" fmla="*/ 26429 w 218720"/>
                <a:gd name="connsiteY345" fmla="*/ 85776 h 359632"/>
                <a:gd name="connsiteX346" fmla="*/ 27830 w 218720"/>
                <a:gd name="connsiteY346" fmla="*/ 86905 h 359632"/>
                <a:gd name="connsiteX347" fmla="*/ 29465 w 218720"/>
                <a:gd name="connsiteY347" fmla="*/ 86470 h 359632"/>
                <a:gd name="connsiteX348" fmla="*/ 31363 w 218720"/>
                <a:gd name="connsiteY348" fmla="*/ 86685 h 359632"/>
                <a:gd name="connsiteX349" fmla="*/ 31402 w 218720"/>
                <a:gd name="connsiteY349" fmla="*/ 86423 h 359632"/>
                <a:gd name="connsiteX350" fmla="*/ 30008 w 218720"/>
                <a:gd name="connsiteY350" fmla="*/ 83645 h 359632"/>
                <a:gd name="connsiteX351" fmla="*/ 30257 w 218720"/>
                <a:gd name="connsiteY351" fmla="*/ 83077 h 359632"/>
                <a:gd name="connsiteX352" fmla="*/ 31013 w 218720"/>
                <a:gd name="connsiteY352" fmla="*/ 82429 h 359632"/>
                <a:gd name="connsiteX353" fmla="*/ 35393 w 218720"/>
                <a:gd name="connsiteY353" fmla="*/ 80446 h 359632"/>
                <a:gd name="connsiteX354" fmla="*/ 40855 w 218720"/>
                <a:gd name="connsiteY354" fmla="*/ 77107 h 359632"/>
                <a:gd name="connsiteX355" fmla="*/ 108033 w 218720"/>
                <a:gd name="connsiteY355" fmla="*/ 71824 h 359632"/>
                <a:gd name="connsiteX356" fmla="*/ 112589 w 218720"/>
                <a:gd name="connsiteY356" fmla="*/ 72316 h 359632"/>
                <a:gd name="connsiteX357" fmla="*/ 112741 w 218720"/>
                <a:gd name="connsiteY357" fmla="*/ 72940 h 359632"/>
                <a:gd name="connsiteX358" fmla="*/ 112503 w 218720"/>
                <a:gd name="connsiteY358" fmla="*/ 73806 h 359632"/>
                <a:gd name="connsiteX359" fmla="*/ 111337 w 218720"/>
                <a:gd name="connsiteY359" fmla="*/ 76175 h 359632"/>
                <a:gd name="connsiteX360" fmla="*/ 111527 w 218720"/>
                <a:gd name="connsiteY360" fmla="*/ 78816 h 359632"/>
                <a:gd name="connsiteX361" fmla="*/ 111267 w 218720"/>
                <a:gd name="connsiteY361" fmla="*/ 79616 h 359632"/>
                <a:gd name="connsiteX362" fmla="*/ 110738 w 218720"/>
                <a:gd name="connsiteY362" fmla="*/ 80602 h 359632"/>
                <a:gd name="connsiteX363" fmla="*/ 109067 w 218720"/>
                <a:gd name="connsiteY363" fmla="*/ 82442 h 359632"/>
                <a:gd name="connsiteX364" fmla="*/ 104675 w 218720"/>
                <a:gd name="connsiteY364" fmla="*/ 85069 h 359632"/>
                <a:gd name="connsiteX365" fmla="*/ 96626 w 218720"/>
                <a:gd name="connsiteY365" fmla="*/ 91095 h 359632"/>
                <a:gd name="connsiteX366" fmla="*/ 91871 w 218720"/>
                <a:gd name="connsiteY366" fmla="*/ 94080 h 359632"/>
                <a:gd name="connsiteX367" fmla="*/ 91217 w 218720"/>
                <a:gd name="connsiteY367" fmla="*/ 95514 h 359632"/>
                <a:gd name="connsiteX368" fmla="*/ 90864 w 218720"/>
                <a:gd name="connsiteY368" fmla="*/ 97507 h 359632"/>
                <a:gd name="connsiteX369" fmla="*/ 93711 w 218720"/>
                <a:gd name="connsiteY369" fmla="*/ 97902 h 359632"/>
                <a:gd name="connsiteX370" fmla="*/ 94810 w 218720"/>
                <a:gd name="connsiteY370" fmla="*/ 98577 h 359632"/>
                <a:gd name="connsiteX371" fmla="*/ 94128 w 218720"/>
                <a:gd name="connsiteY371" fmla="*/ 99588 h 359632"/>
                <a:gd name="connsiteX372" fmla="*/ 89917 w 218720"/>
                <a:gd name="connsiteY372" fmla="*/ 103097 h 359632"/>
                <a:gd name="connsiteX373" fmla="*/ 88676 w 218720"/>
                <a:gd name="connsiteY373" fmla="*/ 106264 h 359632"/>
                <a:gd name="connsiteX374" fmla="*/ 91905 w 218720"/>
                <a:gd name="connsiteY374" fmla="*/ 106152 h 359632"/>
                <a:gd name="connsiteX375" fmla="*/ 94566 w 218720"/>
                <a:gd name="connsiteY375" fmla="*/ 105544 h 359632"/>
                <a:gd name="connsiteX376" fmla="*/ 99872 w 218720"/>
                <a:gd name="connsiteY376" fmla="*/ 103569 h 359632"/>
                <a:gd name="connsiteX377" fmla="*/ 104856 w 218720"/>
                <a:gd name="connsiteY377" fmla="*/ 102101 h 359632"/>
                <a:gd name="connsiteX378" fmla="*/ 107250 w 218720"/>
                <a:gd name="connsiteY378" fmla="*/ 102040 h 359632"/>
                <a:gd name="connsiteX379" fmla="*/ 111907 w 218720"/>
                <a:gd name="connsiteY379" fmla="*/ 103211 h 359632"/>
                <a:gd name="connsiteX380" fmla="*/ 112966 w 218720"/>
                <a:gd name="connsiteY380" fmla="*/ 103248 h 359632"/>
                <a:gd name="connsiteX381" fmla="*/ 114942 w 218720"/>
                <a:gd name="connsiteY381" fmla="*/ 102707 h 359632"/>
                <a:gd name="connsiteX382" fmla="*/ 116940 w 218720"/>
                <a:gd name="connsiteY382" fmla="*/ 102611 h 359632"/>
                <a:gd name="connsiteX383" fmla="*/ 130476 w 218720"/>
                <a:gd name="connsiteY383" fmla="*/ 102975 h 359632"/>
                <a:gd name="connsiteX384" fmla="*/ 134237 w 218720"/>
                <a:gd name="connsiteY384" fmla="*/ 102288 h 359632"/>
                <a:gd name="connsiteX385" fmla="*/ 136725 w 218720"/>
                <a:gd name="connsiteY385" fmla="*/ 103110 h 359632"/>
                <a:gd name="connsiteX386" fmla="*/ 138807 w 218720"/>
                <a:gd name="connsiteY386" fmla="*/ 105161 h 359632"/>
                <a:gd name="connsiteX387" fmla="*/ 140785 w 218720"/>
                <a:gd name="connsiteY387" fmla="*/ 108939 h 359632"/>
                <a:gd name="connsiteX388" fmla="*/ 140725 w 218720"/>
                <a:gd name="connsiteY388" fmla="*/ 109567 h 359632"/>
                <a:gd name="connsiteX389" fmla="*/ 139530 w 218720"/>
                <a:gd name="connsiteY389" fmla="*/ 111286 h 359632"/>
                <a:gd name="connsiteX390" fmla="*/ 137324 w 218720"/>
                <a:gd name="connsiteY390" fmla="*/ 113440 h 359632"/>
                <a:gd name="connsiteX391" fmla="*/ 135426 w 218720"/>
                <a:gd name="connsiteY391" fmla="*/ 116402 h 359632"/>
                <a:gd name="connsiteX392" fmla="*/ 134869 w 218720"/>
                <a:gd name="connsiteY392" fmla="*/ 117998 h 359632"/>
                <a:gd name="connsiteX393" fmla="*/ 134496 w 218720"/>
                <a:gd name="connsiteY393" fmla="*/ 119743 h 359632"/>
                <a:gd name="connsiteX394" fmla="*/ 133895 w 218720"/>
                <a:gd name="connsiteY394" fmla="*/ 121356 h 359632"/>
                <a:gd name="connsiteX395" fmla="*/ 130120 w 218720"/>
                <a:gd name="connsiteY395" fmla="*/ 128914 h 359632"/>
                <a:gd name="connsiteX396" fmla="*/ 126440 w 218720"/>
                <a:gd name="connsiteY396" fmla="*/ 133093 h 359632"/>
                <a:gd name="connsiteX397" fmla="*/ 124797 w 218720"/>
                <a:gd name="connsiteY397" fmla="*/ 136055 h 359632"/>
                <a:gd name="connsiteX398" fmla="*/ 122769 w 218720"/>
                <a:gd name="connsiteY398" fmla="*/ 138412 h 359632"/>
                <a:gd name="connsiteX399" fmla="*/ 120818 w 218720"/>
                <a:gd name="connsiteY399" fmla="*/ 139893 h 359632"/>
                <a:gd name="connsiteX400" fmla="*/ 118734 w 218720"/>
                <a:gd name="connsiteY400" fmla="*/ 140879 h 359632"/>
                <a:gd name="connsiteX401" fmla="*/ 112714 w 218720"/>
                <a:gd name="connsiteY401" fmla="*/ 141933 h 359632"/>
                <a:gd name="connsiteX402" fmla="*/ 111030 w 218720"/>
                <a:gd name="connsiteY402" fmla="*/ 142688 h 359632"/>
                <a:gd name="connsiteX403" fmla="*/ 109021 w 218720"/>
                <a:gd name="connsiteY403" fmla="*/ 143984 h 359632"/>
                <a:gd name="connsiteX404" fmla="*/ 106909 w 218720"/>
                <a:gd name="connsiteY404" fmla="*/ 144625 h 359632"/>
                <a:gd name="connsiteX405" fmla="*/ 109385 w 218720"/>
                <a:gd name="connsiteY405" fmla="*/ 144544 h 359632"/>
                <a:gd name="connsiteX406" fmla="*/ 111839 w 218720"/>
                <a:gd name="connsiteY406" fmla="*/ 143823 h 359632"/>
                <a:gd name="connsiteX407" fmla="*/ 116302 w 218720"/>
                <a:gd name="connsiteY407" fmla="*/ 143559 h 359632"/>
                <a:gd name="connsiteX408" fmla="*/ 121442 w 218720"/>
                <a:gd name="connsiteY408" fmla="*/ 146041 h 359632"/>
                <a:gd name="connsiteX409" fmla="*/ 120965 w 218720"/>
                <a:gd name="connsiteY409" fmla="*/ 148069 h 359632"/>
                <a:gd name="connsiteX410" fmla="*/ 118902 w 218720"/>
                <a:gd name="connsiteY410" fmla="*/ 149672 h 359632"/>
                <a:gd name="connsiteX411" fmla="*/ 114210 w 218720"/>
                <a:gd name="connsiteY411" fmla="*/ 149924 h 359632"/>
                <a:gd name="connsiteX412" fmla="*/ 109822 w 218720"/>
                <a:gd name="connsiteY412" fmla="*/ 153482 h 359632"/>
                <a:gd name="connsiteX413" fmla="*/ 107842 w 218720"/>
                <a:gd name="connsiteY413" fmla="*/ 154576 h 359632"/>
                <a:gd name="connsiteX414" fmla="*/ 105753 w 218720"/>
                <a:gd name="connsiteY414" fmla="*/ 155119 h 359632"/>
                <a:gd name="connsiteX415" fmla="*/ 103140 w 218720"/>
                <a:gd name="connsiteY415" fmla="*/ 154958 h 359632"/>
                <a:gd name="connsiteX416" fmla="*/ 98392 w 218720"/>
                <a:gd name="connsiteY416" fmla="*/ 154006 h 359632"/>
                <a:gd name="connsiteX417" fmla="*/ 96315 w 218720"/>
                <a:gd name="connsiteY417" fmla="*/ 153011 h 359632"/>
                <a:gd name="connsiteX418" fmla="*/ 98193 w 218720"/>
                <a:gd name="connsiteY418" fmla="*/ 154635 h 359632"/>
                <a:gd name="connsiteX419" fmla="*/ 100323 w 218720"/>
                <a:gd name="connsiteY419" fmla="*/ 155481 h 359632"/>
                <a:gd name="connsiteX420" fmla="*/ 112685 w 218720"/>
                <a:gd name="connsiteY420" fmla="*/ 157477 h 359632"/>
                <a:gd name="connsiteX421" fmla="*/ 113429 w 218720"/>
                <a:gd name="connsiteY421" fmla="*/ 157270 h 359632"/>
                <a:gd name="connsiteX422" fmla="*/ 117370 w 218720"/>
                <a:gd name="connsiteY422" fmla="*/ 155162 h 359632"/>
                <a:gd name="connsiteX423" fmla="*/ 122622 w 218720"/>
                <a:gd name="connsiteY423" fmla="*/ 155130 h 359632"/>
                <a:gd name="connsiteX424" fmla="*/ 132623 w 218720"/>
                <a:gd name="connsiteY424" fmla="*/ 159002 h 359632"/>
                <a:gd name="connsiteX425" fmla="*/ 135502 w 218720"/>
                <a:gd name="connsiteY425" fmla="*/ 161957 h 359632"/>
                <a:gd name="connsiteX426" fmla="*/ 139628 w 218720"/>
                <a:gd name="connsiteY426" fmla="*/ 166187 h 359632"/>
                <a:gd name="connsiteX427" fmla="*/ 141872 w 218720"/>
                <a:gd name="connsiteY427" fmla="*/ 167836 h 359632"/>
                <a:gd name="connsiteX428" fmla="*/ 143495 w 218720"/>
                <a:gd name="connsiteY428" fmla="*/ 169330 h 359632"/>
                <a:gd name="connsiteX429" fmla="*/ 144495 w 218720"/>
                <a:gd name="connsiteY429" fmla="*/ 171567 h 359632"/>
                <a:gd name="connsiteX430" fmla="*/ 146432 w 218720"/>
                <a:gd name="connsiteY430" fmla="*/ 178938 h 359632"/>
                <a:gd name="connsiteX431" fmla="*/ 148641 w 218720"/>
                <a:gd name="connsiteY431" fmla="*/ 186118 h 359632"/>
                <a:gd name="connsiteX432" fmla="*/ 151536 w 218720"/>
                <a:gd name="connsiteY432" fmla="*/ 193871 h 359632"/>
                <a:gd name="connsiteX433" fmla="*/ 152847 w 218720"/>
                <a:gd name="connsiteY433" fmla="*/ 196020 h 359632"/>
                <a:gd name="connsiteX434" fmla="*/ 154573 w 218720"/>
                <a:gd name="connsiteY434" fmla="*/ 197526 h 359632"/>
                <a:gd name="connsiteX435" fmla="*/ 163309 w 218720"/>
                <a:gd name="connsiteY435" fmla="*/ 200984 h 359632"/>
                <a:gd name="connsiteX436" fmla="*/ 165253 w 218720"/>
                <a:gd name="connsiteY436" fmla="*/ 202129 h 359632"/>
                <a:gd name="connsiteX437" fmla="*/ 168643 w 218720"/>
                <a:gd name="connsiteY437" fmla="*/ 205449 h 359632"/>
                <a:gd name="connsiteX438" fmla="*/ 171909 w 218720"/>
                <a:gd name="connsiteY438" fmla="*/ 208981 h 359632"/>
                <a:gd name="connsiteX439" fmla="*/ 174950 w 218720"/>
                <a:gd name="connsiteY439" fmla="*/ 211690 h 359632"/>
                <a:gd name="connsiteX440" fmla="*/ 178233 w 218720"/>
                <a:gd name="connsiteY440" fmla="*/ 213881 h 359632"/>
                <a:gd name="connsiteX441" fmla="*/ 176643 w 218720"/>
                <a:gd name="connsiteY441" fmla="*/ 215018 h 359632"/>
                <a:gd name="connsiteX442" fmla="*/ 175553 w 218720"/>
                <a:gd name="connsiteY442" fmla="*/ 216806 h 359632"/>
                <a:gd name="connsiteX443" fmla="*/ 176368 w 218720"/>
                <a:gd name="connsiteY443" fmla="*/ 219234 h 359632"/>
                <a:gd name="connsiteX444" fmla="*/ 177705 w 218720"/>
                <a:gd name="connsiteY444" fmla="*/ 221551 h 359632"/>
                <a:gd name="connsiteX445" fmla="*/ 180332 w 218720"/>
                <a:gd name="connsiteY445" fmla="*/ 225253 h 359632"/>
                <a:gd name="connsiteX446" fmla="*/ 182649 w 218720"/>
                <a:gd name="connsiteY446" fmla="*/ 229287 h 359632"/>
                <a:gd name="connsiteX447" fmla="*/ 181795 w 218720"/>
                <a:gd name="connsiteY447" fmla="*/ 228678 h 359632"/>
                <a:gd name="connsiteX448" fmla="*/ 180897 w 218720"/>
                <a:gd name="connsiteY448" fmla="*/ 228344 h 359632"/>
                <a:gd name="connsiteX449" fmla="*/ 179669 w 218720"/>
                <a:gd name="connsiteY449" fmla="*/ 228444 h 359632"/>
                <a:gd name="connsiteX450" fmla="*/ 178469 w 218720"/>
                <a:gd name="connsiteY450" fmla="*/ 228249 h 359632"/>
                <a:gd name="connsiteX451" fmla="*/ 176255 w 218720"/>
                <a:gd name="connsiteY451" fmla="*/ 226987 h 359632"/>
                <a:gd name="connsiteX452" fmla="*/ 174128 w 218720"/>
                <a:gd name="connsiteY452" fmla="*/ 225436 h 359632"/>
                <a:gd name="connsiteX453" fmla="*/ 169897 w 218720"/>
                <a:gd name="connsiteY453" fmla="*/ 226059 h 359632"/>
                <a:gd name="connsiteX454" fmla="*/ 167546 w 218720"/>
                <a:gd name="connsiteY454" fmla="*/ 225780 h 359632"/>
                <a:gd name="connsiteX455" fmla="*/ 165507 w 218720"/>
                <a:gd name="connsiteY455" fmla="*/ 225821 h 359632"/>
                <a:gd name="connsiteX456" fmla="*/ 169373 w 218720"/>
                <a:gd name="connsiteY456" fmla="*/ 226717 h 359632"/>
                <a:gd name="connsiteX457" fmla="*/ 173605 w 218720"/>
                <a:gd name="connsiteY457" fmla="*/ 226779 h 359632"/>
                <a:gd name="connsiteX458" fmla="*/ 182937 w 218720"/>
                <a:gd name="connsiteY458" fmla="*/ 233539 h 359632"/>
                <a:gd name="connsiteX459" fmla="*/ 186091 w 218720"/>
                <a:gd name="connsiteY459" fmla="*/ 237535 h 359632"/>
                <a:gd name="connsiteX460" fmla="*/ 187966 w 218720"/>
                <a:gd name="connsiteY460" fmla="*/ 242808 h 359632"/>
                <a:gd name="connsiteX461" fmla="*/ 186689 w 218720"/>
                <a:gd name="connsiteY461" fmla="*/ 245172 h 359632"/>
                <a:gd name="connsiteX462" fmla="*/ 184703 w 218720"/>
                <a:gd name="connsiteY462" fmla="*/ 246703 h 359632"/>
                <a:gd name="connsiteX463" fmla="*/ 182850 w 218720"/>
                <a:gd name="connsiteY463" fmla="*/ 248453 h 359632"/>
                <a:gd name="connsiteX464" fmla="*/ 181114 w 218720"/>
                <a:gd name="connsiteY464" fmla="*/ 250427 h 359632"/>
                <a:gd name="connsiteX465" fmla="*/ 186286 w 218720"/>
                <a:gd name="connsiteY465" fmla="*/ 253324 h 359632"/>
                <a:gd name="connsiteX466" fmla="*/ 187400 w 218720"/>
                <a:gd name="connsiteY466" fmla="*/ 253236 h 359632"/>
                <a:gd name="connsiteX467" fmla="*/ 188544 w 218720"/>
                <a:gd name="connsiteY467" fmla="*/ 252831 h 359632"/>
                <a:gd name="connsiteX468" fmla="*/ 189644 w 218720"/>
                <a:gd name="connsiteY468" fmla="*/ 251846 h 359632"/>
                <a:gd name="connsiteX469" fmla="*/ 191498 w 218720"/>
                <a:gd name="connsiteY469" fmla="*/ 249447 h 359632"/>
                <a:gd name="connsiteX470" fmla="*/ 192455 w 218720"/>
                <a:gd name="connsiteY470" fmla="*/ 248592 h 359632"/>
                <a:gd name="connsiteX471" fmla="*/ 195677 w 218720"/>
                <a:gd name="connsiteY471" fmla="*/ 248284 h 359632"/>
                <a:gd name="connsiteX472" fmla="*/ 198380 w 218720"/>
                <a:gd name="connsiteY472" fmla="*/ 248468 h 359632"/>
                <a:gd name="connsiteX473" fmla="*/ 201073 w 218720"/>
                <a:gd name="connsiteY473" fmla="*/ 248998 h 359632"/>
                <a:gd name="connsiteX474" fmla="*/ 203440 w 218720"/>
                <a:gd name="connsiteY474" fmla="*/ 248830 h 359632"/>
                <a:gd name="connsiteX475" fmla="*/ 208210 w 218720"/>
                <a:gd name="connsiteY475" fmla="*/ 249860 h 359632"/>
                <a:gd name="connsiteX476" fmla="*/ 210661 w 218720"/>
                <a:gd name="connsiteY476" fmla="*/ 250789 h 359632"/>
                <a:gd name="connsiteX477" fmla="*/ 216733 w 218720"/>
                <a:gd name="connsiteY477" fmla="*/ 254966 h 359632"/>
                <a:gd name="connsiteX478" fmla="*/ 218046 w 218720"/>
                <a:gd name="connsiteY478" fmla="*/ 257247 h 359632"/>
                <a:gd name="connsiteX479" fmla="*/ 218648 w 218720"/>
                <a:gd name="connsiteY479" fmla="*/ 260190 h 359632"/>
                <a:gd name="connsiteX480" fmla="*/ 218720 w 218720"/>
                <a:gd name="connsiteY480" fmla="*/ 263449 h 359632"/>
                <a:gd name="connsiteX481" fmla="*/ 217698 w 218720"/>
                <a:gd name="connsiteY481" fmla="*/ 266425 h 359632"/>
                <a:gd name="connsiteX482" fmla="*/ 216526 w 218720"/>
                <a:gd name="connsiteY482" fmla="*/ 269108 h 359632"/>
                <a:gd name="connsiteX483" fmla="*/ 215802 w 218720"/>
                <a:gd name="connsiteY483" fmla="*/ 272568 h 359632"/>
                <a:gd name="connsiteX484" fmla="*/ 215289 w 218720"/>
                <a:gd name="connsiteY484" fmla="*/ 273813 h 359632"/>
                <a:gd name="connsiteX485" fmla="*/ 214571 w 218720"/>
                <a:gd name="connsiteY485" fmla="*/ 274788 h 359632"/>
                <a:gd name="connsiteX486" fmla="*/ 211354 w 218720"/>
                <a:gd name="connsiteY486" fmla="*/ 277512 h 359632"/>
                <a:gd name="connsiteX487" fmla="*/ 209216 w 218720"/>
                <a:gd name="connsiteY487" fmla="*/ 278631 h 359632"/>
                <a:gd name="connsiteX488" fmla="*/ 208313 w 218720"/>
                <a:gd name="connsiteY488" fmla="*/ 278140 h 359632"/>
                <a:gd name="connsiteX489" fmla="*/ 207351 w 218720"/>
                <a:gd name="connsiteY489" fmla="*/ 278208 h 359632"/>
                <a:gd name="connsiteX490" fmla="*/ 207249 w 218720"/>
                <a:gd name="connsiteY490" fmla="*/ 278862 h 359632"/>
                <a:gd name="connsiteX491" fmla="*/ 208266 w 218720"/>
                <a:gd name="connsiteY491" fmla="*/ 280251 h 359632"/>
                <a:gd name="connsiteX492" fmla="*/ 208279 w 218720"/>
                <a:gd name="connsiteY492" fmla="*/ 281926 h 359632"/>
                <a:gd name="connsiteX493" fmla="*/ 206379 w 218720"/>
                <a:gd name="connsiteY493" fmla="*/ 283165 h 359632"/>
                <a:gd name="connsiteX494" fmla="*/ 204448 w 218720"/>
                <a:gd name="connsiteY494" fmla="*/ 283694 h 359632"/>
                <a:gd name="connsiteX495" fmla="*/ 201218 w 218720"/>
                <a:gd name="connsiteY495" fmla="*/ 283034 h 359632"/>
                <a:gd name="connsiteX496" fmla="*/ 196733 w 218720"/>
                <a:gd name="connsiteY496" fmla="*/ 285340 h 359632"/>
                <a:gd name="connsiteX497" fmla="*/ 199957 w 218720"/>
                <a:gd name="connsiteY497" fmla="*/ 286524 h 359632"/>
                <a:gd name="connsiteX498" fmla="*/ 200607 w 218720"/>
                <a:gd name="connsiteY498" fmla="*/ 287784 h 359632"/>
                <a:gd name="connsiteX499" fmla="*/ 199799 w 218720"/>
                <a:gd name="connsiteY499" fmla="*/ 289997 h 359632"/>
                <a:gd name="connsiteX500" fmla="*/ 197771 w 218720"/>
                <a:gd name="connsiteY500" fmla="*/ 290983 h 359632"/>
                <a:gd name="connsiteX501" fmla="*/ 195523 w 218720"/>
                <a:gd name="connsiteY501" fmla="*/ 291420 h 359632"/>
                <a:gd name="connsiteX502" fmla="*/ 193222 w 218720"/>
                <a:gd name="connsiteY502" fmla="*/ 291524 h 359632"/>
                <a:gd name="connsiteX503" fmla="*/ 191315 w 218720"/>
                <a:gd name="connsiteY503" fmla="*/ 292065 h 359632"/>
                <a:gd name="connsiteX504" fmla="*/ 189486 w 218720"/>
                <a:gd name="connsiteY504" fmla="*/ 293107 h 359632"/>
                <a:gd name="connsiteX505" fmla="*/ 191781 w 218720"/>
                <a:gd name="connsiteY505" fmla="*/ 292553 h 359632"/>
                <a:gd name="connsiteX506" fmla="*/ 193373 w 218720"/>
                <a:gd name="connsiteY506" fmla="*/ 293038 h 359632"/>
                <a:gd name="connsiteX507" fmla="*/ 194372 w 218720"/>
                <a:gd name="connsiteY507" fmla="*/ 294897 h 359632"/>
                <a:gd name="connsiteX508" fmla="*/ 195280 w 218720"/>
                <a:gd name="connsiteY508" fmla="*/ 295428 h 359632"/>
                <a:gd name="connsiteX509" fmla="*/ 199765 w 218720"/>
                <a:gd name="connsiteY509" fmla="*/ 296222 h 359632"/>
                <a:gd name="connsiteX510" fmla="*/ 202542 w 218720"/>
                <a:gd name="connsiteY510" fmla="*/ 296216 h 359632"/>
                <a:gd name="connsiteX511" fmla="*/ 207897 w 218720"/>
                <a:gd name="connsiteY511" fmla="*/ 295765 h 359632"/>
                <a:gd name="connsiteX512" fmla="*/ 210469 w 218720"/>
                <a:gd name="connsiteY512" fmla="*/ 295776 h 359632"/>
                <a:gd name="connsiteX513" fmla="*/ 211386 w 218720"/>
                <a:gd name="connsiteY513" fmla="*/ 296112 h 359632"/>
                <a:gd name="connsiteX514" fmla="*/ 211402 w 218720"/>
                <a:gd name="connsiteY514" fmla="*/ 297650 h 359632"/>
                <a:gd name="connsiteX515" fmla="*/ 211002 w 218720"/>
                <a:gd name="connsiteY515" fmla="*/ 301424 h 359632"/>
                <a:gd name="connsiteX516" fmla="*/ 210294 w 218720"/>
                <a:gd name="connsiteY516" fmla="*/ 302201 h 359632"/>
                <a:gd name="connsiteX517" fmla="*/ 203194 w 218720"/>
                <a:gd name="connsiteY517" fmla="*/ 305366 h 359632"/>
                <a:gd name="connsiteX518" fmla="*/ 201738 w 218720"/>
                <a:gd name="connsiteY518" fmla="*/ 307574 h 359632"/>
                <a:gd name="connsiteX519" fmla="*/ 201330 w 218720"/>
                <a:gd name="connsiteY519" fmla="*/ 308911 h 359632"/>
                <a:gd name="connsiteX520" fmla="*/ 197178 w 218720"/>
                <a:gd name="connsiteY520" fmla="*/ 308674 h 359632"/>
                <a:gd name="connsiteX521" fmla="*/ 195232 w 218720"/>
                <a:gd name="connsiteY521" fmla="*/ 310087 h 359632"/>
                <a:gd name="connsiteX522" fmla="*/ 191870 w 218720"/>
                <a:gd name="connsiteY522" fmla="*/ 311025 h 359632"/>
                <a:gd name="connsiteX523" fmla="*/ 189270 w 218720"/>
                <a:gd name="connsiteY523" fmla="*/ 312022 h 359632"/>
                <a:gd name="connsiteX524" fmla="*/ 186726 w 218720"/>
                <a:gd name="connsiteY524" fmla="*/ 313282 h 359632"/>
                <a:gd name="connsiteX525" fmla="*/ 184634 w 218720"/>
                <a:gd name="connsiteY525" fmla="*/ 313658 h 359632"/>
                <a:gd name="connsiteX526" fmla="*/ 175590 w 218720"/>
                <a:gd name="connsiteY526" fmla="*/ 312163 h 359632"/>
                <a:gd name="connsiteX527" fmla="*/ 170131 w 218720"/>
                <a:gd name="connsiteY527" fmla="*/ 312286 h 359632"/>
                <a:gd name="connsiteX528" fmla="*/ 162736 w 218720"/>
                <a:gd name="connsiteY528" fmla="*/ 313589 h 359632"/>
                <a:gd name="connsiteX529" fmla="*/ 160831 w 218720"/>
                <a:gd name="connsiteY529" fmla="*/ 313374 h 359632"/>
                <a:gd name="connsiteX530" fmla="*/ 157974 w 218720"/>
                <a:gd name="connsiteY530" fmla="*/ 312126 h 359632"/>
                <a:gd name="connsiteX531" fmla="*/ 155049 w 218720"/>
                <a:gd name="connsiteY531" fmla="*/ 311282 h 359632"/>
                <a:gd name="connsiteX532" fmla="*/ 151683 w 218720"/>
                <a:gd name="connsiteY532" fmla="*/ 310911 h 359632"/>
                <a:gd name="connsiteX533" fmla="*/ 148778 w 218720"/>
                <a:gd name="connsiteY533" fmla="*/ 309757 h 359632"/>
                <a:gd name="connsiteX534" fmla="*/ 150591 w 218720"/>
                <a:gd name="connsiteY534" fmla="*/ 311976 h 359632"/>
                <a:gd name="connsiteX535" fmla="*/ 146561 w 218720"/>
                <a:gd name="connsiteY535" fmla="*/ 314112 h 359632"/>
                <a:gd name="connsiteX536" fmla="*/ 144701 w 218720"/>
                <a:gd name="connsiteY536" fmla="*/ 314537 h 359632"/>
                <a:gd name="connsiteX537" fmla="*/ 142776 w 218720"/>
                <a:gd name="connsiteY537" fmla="*/ 314471 h 359632"/>
                <a:gd name="connsiteX538" fmla="*/ 138837 w 218720"/>
                <a:gd name="connsiteY538" fmla="*/ 315051 h 359632"/>
                <a:gd name="connsiteX539" fmla="*/ 135188 w 218720"/>
                <a:gd name="connsiteY539" fmla="*/ 314755 h 359632"/>
                <a:gd name="connsiteX540" fmla="*/ 135736 w 218720"/>
                <a:gd name="connsiteY540" fmla="*/ 316273 h 359632"/>
                <a:gd name="connsiteX541" fmla="*/ 136714 w 218720"/>
                <a:gd name="connsiteY541" fmla="*/ 317595 h 359632"/>
                <a:gd name="connsiteX542" fmla="*/ 135921 w 218720"/>
                <a:gd name="connsiteY542" fmla="*/ 318170 h 359632"/>
                <a:gd name="connsiteX543" fmla="*/ 135082 w 218720"/>
                <a:gd name="connsiteY543" fmla="*/ 318313 h 359632"/>
                <a:gd name="connsiteX544" fmla="*/ 128132 w 218720"/>
                <a:gd name="connsiteY544" fmla="*/ 317315 h 359632"/>
                <a:gd name="connsiteX545" fmla="*/ 127148 w 218720"/>
                <a:gd name="connsiteY545" fmla="*/ 317504 h 359632"/>
                <a:gd name="connsiteX546" fmla="*/ 126290 w 218720"/>
                <a:gd name="connsiteY546" fmla="*/ 318425 h 359632"/>
                <a:gd name="connsiteX547" fmla="*/ 123763 w 218720"/>
                <a:gd name="connsiteY547" fmla="*/ 317928 h 359632"/>
                <a:gd name="connsiteX548" fmla="*/ 121307 w 218720"/>
                <a:gd name="connsiteY548" fmla="*/ 316375 h 359632"/>
                <a:gd name="connsiteX549" fmla="*/ 118695 w 218720"/>
                <a:gd name="connsiteY549" fmla="*/ 315332 h 359632"/>
                <a:gd name="connsiteX550" fmla="*/ 115954 w 218720"/>
                <a:gd name="connsiteY550" fmla="*/ 314842 h 359632"/>
                <a:gd name="connsiteX551" fmla="*/ 113776 w 218720"/>
                <a:gd name="connsiteY551" fmla="*/ 315011 h 359632"/>
                <a:gd name="connsiteX552" fmla="*/ 104816 w 218720"/>
                <a:gd name="connsiteY552" fmla="*/ 317460 h 359632"/>
                <a:gd name="connsiteX553" fmla="*/ 103028 w 218720"/>
                <a:gd name="connsiteY553" fmla="*/ 319915 h 359632"/>
                <a:gd name="connsiteX554" fmla="*/ 102135 w 218720"/>
                <a:gd name="connsiteY554" fmla="*/ 323393 h 359632"/>
                <a:gd name="connsiteX555" fmla="*/ 100841 w 218720"/>
                <a:gd name="connsiteY555" fmla="*/ 326476 h 359632"/>
                <a:gd name="connsiteX556" fmla="*/ 98731 w 218720"/>
                <a:gd name="connsiteY556" fmla="*/ 328848 h 359632"/>
                <a:gd name="connsiteX557" fmla="*/ 96220 w 218720"/>
                <a:gd name="connsiteY557" fmla="*/ 329157 h 359632"/>
                <a:gd name="connsiteX558" fmla="*/ 93858 w 218720"/>
                <a:gd name="connsiteY558" fmla="*/ 327516 h 359632"/>
                <a:gd name="connsiteX559" fmla="*/ 89364 w 218720"/>
                <a:gd name="connsiteY559" fmla="*/ 325702 h 359632"/>
                <a:gd name="connsiteX560" fmla="*/ 87835 w 218720"/>
                <a:gd name="connsiteY560" fmla="*/ 324476 h 359632"/>
                <a:gd name="connsiteX561" fmla="*/ 87348 w 218720"/>
                <a:gd name="connsiteY561" fmla="*/ 324404 h 359632"/>
                <a:gd name="connsiteX562" fmla="*/ 86846 w 218720"/>
                <a:gd name="connsiteY562" fmla="*/ 324843 h 359632"/>
                <a:gd name="connsiteX563" fmla="*/ 85084 w 218720"/>
                <a:gd name="connsiteY563" fmla="*/ 325396 h 359632"/>
                <a:gd name="connsiteX564" fmla="*/ 83259 w 218720"/>
                <a:gd name="connsiteY564" fmla="*/ 325422 h 359632"/>
                <a:gd name="connsiteX565" fmla="*/ 80447 w 218720"/>
                <a:gd name="connsiteY565" fmla="*/ 325910 h 359632"/>
                <a:gd name="connsiteX566" fmla="*/ 75553 w 218720"/>
                <a:gd name="connsiteY566" fmla="*/ 327384 h 359632"/>
                <a:gd name="connsiteX567" fmla="*/ 73577 w 218720"/>
                <a:gd name="connsiteY567" fmla="*/ 328384 h 359632"/>
                <a:gd name="connsiteX568" fmla="*/ 69328 w 218720"/>
                <a:gd name="connsiteY568" fmla="*/ 331139 h 359632"/>
                <a:gd name="connsiteX569" fmla="*/ 68463 w 218720"/>
                <a:gd name="connsiteY569" fmla="*/ 331901 h 359632"/>
                <a:gd name="connsiteX570" fmla="*/ 66918 w 218720"/>
                <a:gd name="connsiteY570" fmla="*/ 334677 h 359632"/>
                <a:gd name="connsiteX571" fmla="*/ 64558 w 218720"/>
                <a:gd name="connsiteY571" fmla="*/ 335166 h 359632"/>
                <a:gd name="connsiteX572" fmla="*/ 62399 w 218720"/>
                <a:gd name="connsiteY572" fmla="*/ 333388 h 359632"/>
                <a:gd name="connsiteX573" fmla="*/ 59942 w 218720"/>
                <a:gd name="connsiteY573" fmla="*/ 332767 h 359632"/>
                <a:gd name="connsiteX574" fmla="*/ 57350 w 218720"/>
                <a:gd name="connsiteY574" fmla="*/ 333375 h 359632"/>
                <a:gd name="connsiteX575" fmla="*/ 55782 w 218720"/>
                <a:gd name="connsiteY575" fmla="*/ 334320 h 359632"/>
                <a:gd name="connsiteX576" fmla="*/ 55051 w 218720"/>
                <a:gd name="connsiteY576" fmla="*/ 333552 h 359632"/>
                <a:gd name="connsiteX577" fmla="*/ 55027 w 218720"/>
                <a:gd name="connsiteY577" fmla="*/ 331973 h 359632"/>
                <a:gd name="connsiteX578" fmla="*/ 56920 w 218720"/>
                <a:gd name="connsiteY578" fmla="*/ 330091 h 359632"/>
                <a:gd name="connsiteX579" fmla="*/ 61970 w 218720"/>
                <a:gd name="connsiteY579" fmla="*/ 328668 h 359632"/>
                <a:gd name="connsiteX580" fmla="*/ 66403 w 218720"/>
                <a:gd name="connsiteY580" fmla="*/ 324972 h 359632"/>
                <a:gd name="connsiteX581" fmla="*/ 68578 w 218720"/>
                <a:gd name="connsiteY581" fmla="*/ 322716 h 359632"/>
                <a:gd name="connsiteX582" fmla="*/ 69440 w 218720"/>
                <a:gd name="connsiteY582" fmla="*/ 321446 h 359632"/>
                <a:gd name="connsiteX583" fmla="*/ 70503 w 218720"/>
                <a:gd name="connsiteY583" fmla="*/ 320636 h 359632"/>
                <a:gd name="connsiteX584" fmla="*/ 71892 w 218720"/>
                <a:gd name="connsiteY584" fmla="*/ 320330 h 359632"/>
                <a:gd name="connsiteX585" fmla="*/ 72606 w 218720"/>
                <a:gd name="connsiteY585" fmla="*/ 318925 h 359632"/>
                <a:gd name="connsiteX586" fmla="*/ 78761 w 218720"/>
                <a:gd name="connsiteY586" fmla="*/ 313270 h 359632"/>
                <a:gd name="connsiteX587" fmla="*/ 79269 w 218720"/>
                <a:gd name="connsiteY587" fmla="*/ 311971 h 359632"/>
                <a:gd name="connsiteX588" fmla="*/ 79575 w 218720"/>
                <a:gd name="connsiteY588" fmla="*/ 309646 h 359632"/>
                <a:gd name="connsiteX589" fmla="*/ 80084 w 218720"/>
                <a:gd name="connsiteY589" fmla="*/ 307405 h 359632"/>
                <a:gd name="connsiteX590" fmla="*/ 85095 w 218720"/>
                <a:gd name="connsiteY590" fmla="*/ 305953 h 359632"/>
                <a:gd name="connsiteX591" fmla="*/ 87489 w 218720"/>
                <a:gd name="connsiteY591" fmla="*/ 301233 h 359632"/>
                <a:gd name="connsiteX592" fmla="*/ 88148 w 218720"/>
                <a:gd name="connsiteY592" fmla="*/ 300859 h 359632"/>
                <a:gd name="connsiteX593" fmla="*/ 95137 w 218720"/>
                <a:gd name="connsiteY593" fmla="*/ 299992 h 359632"/>
                <a:gd name="connsiteX594" fmla="*/ 100320 w 218720"/>
                <a:gd name="connsiteY594" fmla="*/ 300061 h 359632"/>
                <a:gd name="connsiteX595" fmla="*/ 105468 w 218720"/>
                <a:gd name="connsiteY595" fmla="*/ 300986 h 359632"/>
                <a:gd name="connsiteX596" fmla="*/ 108107 w 218720"/>
                <a:gd name="connsiteY596" fmla="*/ 301069 h 359632"/>
                <a:gd name="connsiteX597" fmla="*/ 110756 w 218720"/>
                <a:gd name="connsiteY597" fmla="*/ 300750 h 359632"/>
                <a:gd name="connsiteX598" fmla="*/ 112833 w 218720"/>
                <a:gd name="connsiteY598" fmla="*/ 299474 h 359632"/>
                <a:gd name="connsiteX599" fmla="*/ 116388 w 218720"/>
                <a:gd name="connsiteY599" fmla="*/ 294868 h 359632"/>
                <a:gd name="connsiteX600" fmla="*/ 118388 w 218720"/>
                <a:gd name="connsiteY600" fmla="*/ 292838 h 359632"/>
                <a:gd name="connsiteX601" fmla="*/ 120679 w 218720"/>
                <a:gd name="connsiteY601" fmla="*/ 291002 h 359632"/>
                <a:gd name="connsiteX602" fmla="*/ 122822 w 218720"/>
                <a:gd name="connsiteY602" fmla="*/ 288904 h 359632"/>
                <a:gd name="connsiteX603" fmla="*/ 126299 w 218720"/>
                <a:gd name="connsiteY603" fmla="*/ 285012 h 359632"/>
                <a:gd name="connsiteX604" fmla="*/ 123948 w 218720"/>
                <a:gd name="connsiteY604" fmla="*/ 286353 h 359632"/>
                <a:gd name="connsiteX605" fmla="*/ 121111 w 218720"/>
                <a:gd name="connsiteY605" fmla="*/ 288480 h 359632"/>
                <a:gd name="connsiteX606" fmla="*/ 119465 w 218720"/>
                <a:gd name="connsiteY606" fmla="*/ 289713 h 359632"/>
                <a:gd name="connsiteX607" fmla="*/ 114238 w 218720"/>
                <a:gd name="connsiteY607" fmla="*/ 290955 h 359632"/>
                <a:gd name="connsiteX608" fmla="*/ 111986 w 218720"/>
                <a:gd name="connsiteY608" fmla="*/ 292221 h 359632"/>
                <a:gd name="connsiteX609" fmla="*/ 108040 w 218720"/>
                <a:gd name="connsiteY609" fmla="*/ 295078 h 359632"/>
                <a:gd name="connsiteX610" fmla="*/ 107281 w 218720"/>
                <a:gd name="connsiteY610" fmla="*/ 295315 h 359632"/>
                <a:gd name="connsiteX611" fmla="*/ 101328 w 218720"/>
                <a:gd name="connsiteY611" fmla="*/ 294629 h 359632"/>
                <a:gd name="connsiteX612" fmla="*/ 96898 w 218720"/>
                <a:gd name="connsiteY612" fmla="*/ 290923 h 359632"/>
                <a:gd name="connsiteX613" fmla="*/ 94066 w 218720"/>
                <a:gd name="connsiteY613" fmla="*/ 289402 h 359632"/>
                <a:gd name="connsiteX614" fmla="*/ 92896 w 218720"/>
                <a:gd name="connsiteY614" fmla="*/ 289230 h 359632"/>
                <a:gd name="connsiteX615" fmla="*/ 91687 w 218720"/>
                <a:gd name="connsiteY615" fmla="*/ 289682 h 359632"/>
                <a:gd name="connsiteX616" fmla="*/ 89101 w 218720"/>
                <a:gd name="connsiteY616" fmla="*/ 290145 h 359632"/>
                <a:gd name="connsiteX617" fmla="*/ 86464 w 218720"/>
                <a:gd name="connsiteY617" fmla="*/ 290066 h 359632"/>
                <a:gd name="connsiteX618" fmla="*/ 87810 w 218720"/>
                <a:gd name="connsiteY618" fmla="*/ 288352 h 359632"/>
                <a:gd name="connsiteX619" fmla="*/ 89638 w 218720"/>
                <a:gd name="connsiteY619" fmla="*/ 287393 h 359632"/>
                <a:gd name="connsiteX620" fmla="*/ 85544 w 218720"/>
                <a:gd name="connsiteY620" fmla="*/ 286727 h 359632"/>
                <a:gd name="connsiteX621" fmla="*/ 84406 w 218720"/>
                <a:gd name="connsiteY621" fmla="*/ 286205 h 359632"/>
                <a:gd name="connsiteX622" fmla="*/ 83109 w 218720"/>
                <a:gd name="connsiteY622" fmla="*/ 285002 h 359632"/>
                <a:gd name="connsiteX623" fmla="*/ 79898 w 218720"/>
                <a:gd name="connsiteY623" fmla="*/ 284796 h 359632"/>
                <a:gd name="connsiteX624" fmla="*/ 78366 w 218720"/>
                <a:gd name="connsiteY624" fmla="*/ 285103 h 359632"/>
                <a:gd name="connsiteX625" fmla="*/ 75782 w 218720"/>
                <a:gd name="connsiteY625" fmla="*/ 286693 h 359632"/>
                <a:gd name="connsiteX626" fmla="*/ 71699 w 218720"/>
                <a:gd name="connsiteY626" fmla="*/ 288383 h 359632"/>
                <a:gd name="connsiteX627" fmla="*/ 66780 w 218720"/>
                <a:gd name="connsiteY627" fmla="*/ 286040 h 359632"/>
                <a:gd name="connsiteX628" fmla="*/ 65816 w 218720"/>
                <a:gd name="connsiteY628" fmla="*/ 285012 h 359632"/>
                <a:gd name="connsiteX629" fmla="*/ 65841 w 218720"/>
                <a:gd name="connsiteY629" fmla="*/ 283027 h 359632"/>
                <a:gd name="connsiteX630" fmla="*/ 65103 w 218720"/>
                <a:gd name="connsiteY630" fmla="*/ 281453 h 359632"/>
                <a:gd name="connsiteX631" fmla="*/ 63738 w 218720"/>
                <a:gd name="connsiteY631" fmla="*/ 280898 h 359632"/>
                <a:gd name="connsiteX632" fmla="*/ 65484 w 218720"/>
                <a:gd name="connsiteY632" fmla="*/ 278846 h 359632"/>
                <a:gd name="connsiteX633" fmla="*/ 67591 w 218720"/>
                <a:gd name="connsiteY633" fmla="*/ 277479 h 359632"/>
                <a:gd name="connsiteX634" fmla="*/ 72225 w 218720"/>
                <a:gd name="connsiteY634" fmla="*/ 276120 h 359632"/>
                <a:gd name="connsiteX635" fmla="*/ 79243 w 218720"/>
                <a:gd name="connsiteY635" fmla="*/ 272892 h 359632"/>
                <a:gd name="connsiteX636" fmla="*/ 83178 w 218720"/>
                <a:gd name="connsiteY636" fmla="*/ 271516 h 359632"/>
                <a:gd name="connsiteX637" fmla="*/ 86836 w 218720"/>
                <a:gd name="connsiteY637" fmla="*/ 269140 h 359632"/>
                <a:gd name="connsiteX638" fmla="*/ 88348 w 218720"/>
                <a:gd name="connsiteY638" fmla="*/ 267690 h 359632"/>
                <a:gd name="connsiteX639" fmla="*/ 89445 w 218720"/>
                <a:gd name="connsiteY639" fmla="*/ 265705 h 359632"/>
                <a:gd name="connsiteX640" fmla="*/ 90533 w 218720"/>
                <a:gd name="connsiteY640" fmla="*/ 263266 h 359632"/>
                <a:gd name="connsiteX641" fmla="*/ 92086 w 218720"/>
                <a:gd name="connsiteY641" fmla="*/ 261284 h 359632"/>
                <a:gd name="connsiteX642" fmla="*/ 90579 w 218720"/>
                <a:gd name="connsiteY642" fmla="*/ 260812 h 359632"/>
                <a:gd name="connsiteX643" fmla="*/ 89906 w 218720"/>
                <a:gd name="connsiteY643" fmla="*/ 259315 h 359632"/>
                <a:gd name="connsiteX644" fmla="*/ 90087 w 218720"/>
                <a:gd name="connsiteY644" fmla="*/ 257796 h 359632"/>
                <a:gd name="connsiteX645" fmla="*/ 90783 w 218720"/>
                <a:gd name="connsiteY645" fmla="*/ 256448 h 359632"/>
                <a:gd name="connsiteX646" fmla="*/ 90159 w 218720"/>
                <a:gd name="connsiteY646" fmla="*/ 254756 h 359632"/>
                <a:gd name="connsiteX647" fmla="*/ 89052 w 218720"/>
                <a:gd name="connsiteY647" fmla="*/ 252986 h 359632"/>
                <a:gd name="connsiteX648" fmla="*/ 89113 w 218720"/>
                <a:gd name="connsiteY648" fmla="*/ 251607 h 359632"/>
                <a:gd name="connsiteX649" fmla="*/ 89407 w 218720"/>
                <a:gd name="connsiteY649" fmla="*/ 250132 h 359632"/>
                <a:gd name="connsiteX650" fmla="*/ 86584 w 218720"/>
                <a:gd name="connsiteY650" fmla="*/ 250211 h 359632"/>
                <a:gd name="connsiteX651" fmla="*/ 83769 w 218720"/>
                <a:gd name="connsiteY651" fmla="*/ 250672 h 359632"/>
                <a:gd name="connsiteX652" fmla="*/ 81218 w 218720"/>
                <a:gd name="connsiteY652" fmla="*/ 251718 h 359632"/>
                <a:gd name="connsiteX653" fmla="*/ 78744 w 218720"/>
                <a:gd name="connsiteY653" fmla="*/ 253137 h 359632"/>
                <a:gd name="connsiteX654" fmla="*/ 76547 w 218720"/>
                <a:gd name="connsiteY654" fmla="*/ 253400 h 359632"/>
                <a:gd name="connsiteX655" fmla="*/ 76582 w 218720"/>
                <a:gd name="connsiteY655" fmla="*/ 252265 h 359632"/>
                <a:gd name="connsiteX656" fmla="*/ 77536 w 218720"/>
                <a:gd name="connsiteY656" fmla="*/ 250861 h 359632"/>
                <a:gd name="connsiteX657" fmla="*/ 80027 w 218720"/>
                <a:gd name="connsiteY657" fmla="*/ 248854 h 359632"/>
                <a:gd name="connsiteX658" fmla="*/ 82694 w 218720"/>
                <a:gd name="connsiteY658" fmla="*/ 247189 h 359632"/>
                <a:gd name="connsiteX659" fmla="*/ 83642 w 218720"/>
                <a:gd name="connsiteY659" fmla="*/ 245923 h 359632"/>
                <a:gd name="connsiteX660" fmla="*/ 84388 w 218720"/>
                <a:gd name="connsiteY660" fmla="*/ 244452 h 359632"/>
                <a:gd name="connsiteX661" fmla="*/ 85712 w 218720"/>
                <a:gd name="connsiteY661" fmla="*/ 243271 h 359632"/>
                <a:gd name="connsiteX662" fmla="*/ 89195 w 218720"/>
                <a:gd name="connsiteY662" fmla="*/ 241037 h 359632"/>
                <a:gd name="connsiteX663" fmla="*/ 95868 w 218720"/>
                <a:gd name="connsiteY663" fmla="*/ 238521 h 359632"/>
                <a:gd name="connsiteX664" fmla="*/ 96864 w 218720"/>
                <a:gd name="connsiteY664" fmla="*/ 238373 h 359632"/>
                <a:gd name="connsiteX665" fmla="*/ 99480 w 218720"/>
                <a:gd name="connsiteY665" fmla="*/ 238665 h 359632"/>
                <a:gd name="connsiteX666" fmla="*/ 102052 w 218720"/>
                <a:gd name="connsiteY666" fmla="*/ 238285 h 359632"/>
                <a:gd name="connsiteX667" fmla="*/ 104305 w 218720"/>
                <a:gd name="connsiteY667" fmla="*/ 237379 h 359632"/>
                <a:gd name="connsiteX668" fmla="*/ 106550 w 218720"/>
                <a:gd name="connsiteY668" fmla="*/ 237184 h 359632"/>
                <a:gd name="connsiteX669" fmla="*/ 111605 w 218720"/>
                <a:gd name="connsiteY669" fmla="*/ 239795 h 359632"/>
                <a:gd name="connsiteX670" fmla="*/ 110102 w 218720"/>
                <a:gd name="connsiteY670" fmla="*/ 235754 h 359632"/>
                <a:gd name="connsiteX671" fmla="*/ 112331 w 218720"/>
                <a:gd name="connsiteY671" fmla="*/ 234786 h 359632"/>
                <a:gd name="connsiteX672" fmla="*/ 115564 w 218720"/>
                <a:gd name="connsiteY672" fmla="*/ 238440 h 359632"/>
                <a:gd name="connsiteX673" fmla="*/ 116766 w 218720"/>
                <a:gd name="connsiteY673" fmla="*/ 238825 h 359632"/>
                <a:gd name="connsiteX674" fmla="*/ 119301 w 218720"/>
                <a:gd name="connsiteY674" fmla="*/ 238295 h 359632"/>
                <a:gd name="connsiteX675" fmla="*/ 118323 w 218720"/>
                <a:gd name="connsiteY675" fmla="*/ 237679 h 359632"/>
                <a:gd name="connsiteX676" fmla="*/ 117181 w 218720"/>
                <a:gd name="connsiteY676" fmla="*/ 237642 h 359632"/>
                <a:gd name="connsiteX677" fmla="*/ 115685 w 218720"/>
                <a:gd name="connsiteY677" fmla="*/ 237091 h 359632"/>
                <a:gd name="connsiteX678" fmla="*/ 114427 w 218720"/>
                <a:gd name="connsiteY678" fmla="*/ 235919 h 359632"/>
                <a:gd name="connsiteX679" fmla="*/ 112334 w 218720"/>
                <a:gd name="connsiteY679" fmla="*/ 232195 h 359632"/>
                <a:gd name="connsiteX680" fmla="*/ 112447 w 218720"/>
                <a:gd name="connsiteY680" fmla="*/ 229982 h 359632"/>
                <a:gd name="connsiteX681" fmla="*/ 113857 w 218720"/>
                <a:gd name="connsiteY681" fmla="*/ 227679 h 359632"/>
                <a:gd name="connsiteX682" fmla="*/ 115419 w 218720"/>
                <a:gd name="connsiteY682" fmla="*/ 225557 h 359632"/>
                <a:gd name="connsiteX683" fmla="*/ 114109 w 218720"/>
                <a:gd name="connsiteY683" fmla="*/ 225135 h 359632"/>
                <a:gd name="connsiteX684" fmla="*/ 113060 w 218720"/>
                <a:gd name="connsiteY684" fmla="*/ 224323 h 359632"/>
                <a:gd name="connsiteX685" fmla="*/ 112759 w 218720"/>
                <a:gd name="connsiteY685" fmla="*/ 222197 h 359632"/>
                <a:gd name="connsiteX686" fmla="*/ 113171 w 218720"/>
                <a:gd name="connsiteY686" fmla="*/ 220318 h 359632"/>
                <a:gd name="connsiteX687" fmla="*/ 115977 w 218720"/>
                <a:gd name="connsiteY687" fmla="*/ 218657 h 359632"/>
                <a:gd name="connsiteX688" fmla="*/ 116805 w 218720"/>
                <a:gd name="connsiteY688" fmla="*/ 216135 h 359632"/>
                <a:gd name="connsiteX689" fmla="*/ 117157 w 218720"/>
                <a:gd name="connsiteY689" fmla="*/ 213357 h 359632"/>
                <a:gd name="connsiteX690" fmla="*/ 116691 w 218720"/>
                <a:gd name="connsiteY690" fmla="*/ 212082 h 359632"/>
                <a:gd name="connsiteX691" fmla="*/ 113906 w 218720"/>
                <a:gd name="connsiteY691" fmla="*/ 212287 h 359632"/>
                <a:gd name="connsiteX692" fmla="*/ 112552 w 218720"/>
                <a:gd name="connsiteY692" fmla="*/ 212807 h 359632"/>
                <a:gd name="connsiteX693" fmla="*/ 111337 w 218720"/>
                <a:gd name="connsiteY693" fmla="*/ 213630 h 359632"/>
                <a:gd name="connsiteX694" fmla="*/ 110093 w 218720"/>
                <a:gd name="connsiteY694" fmla="*/ 213581 h 359632"/>
                <a:gd name="connsiteX695" fmla="*/ 106653 w 218720"/>
                <a:gd name="connsiteY695" fmla="*/ 210505 h 359632"/>
                <a:gd name="connsiteX696" fmla="*/ 104691 w 218720"/>
                <a:gd name="connsiteY696" fmla="*/ 208176 h 359632"/>
                <a:gd name="connsiteX697" fmla="*/ 101172 w 218720"/>
                <a:gd name="connsiteY697" fmla="*/ 203238 h 359632"/>
                <a:gd name="connsiteX698" fmla="*/ 100671 w 218720"/>
                <a:gd name="connsiteY698" fmla="*/ 200283 h 359632"/>
                <a:gd name="connsiteX699" fmla="*/ 103490 w 218720"/>
                <a:gd name="connsiteY699" fmla="*/ 193894 h 359632"/>
                <a:gd name="connsiteX700" fmla="*/ 107838 w 218720"/>
                <a:gd name="connsiteY700" fmla="*/ 189799 h 359632"/>
                <a:gd name="connsiteX701" fmla="*/ 112961 w 218720"/>
                <a:gd name="connsiteY701" fmla="*/ 188372 h 359632"/>
                <a:gd name="connsiteX702" fmla="*/ 111970 w 218720"/>
                <a:gd name="connsiteY702" fmla="*/ 188099 h 359632"/>
                <a:gd name="connsiteX703" fmla="*/ 104164 w 218720"/>
                <a:gd name="connsiteY703" fmla="*/ 188044 h 359632"/>
                <a:gd name="connsiteX704" fmla="*/ 101591 w 218720"/>
                <a:gd name="connsiteY704" fmla="*/ 188546 h 359632"/>
                <a:gd name="connsiteX705" fmla="*/ 99206 w 218720"/>
                <a:gd name="connsiteY705" fmla="*/ 190221 h 359632"/>
                <a:gd name="connsiteX706" fmla="*/ 97859 w 218720"/>
                <a:gd name="connsiteY706" fmla="*/ 190735 h 359632"/>
                <a:gd name="connsiteX707" fmla="*/ 96443 w 218720"/>
                <a:gd name="connsiteY707" fmla="*/ 190925 h 359632"/>
                <a:gd name="connsiteX708" fmla="*/ 95153 w 218720"/>
                <a:gd name="connsiteY708" fmla="*/ 191758 h 359632"/>
                <a:gd name="connsiteX709" fmla="*/ 93893 w 218720"/>
                <a:gd name="connsiteY709" fmla="*/ 192914 h 359632"/>
                <a:gd name="connsiteX710" fmla="*/ 92581 w 218720"/>
                <a:gd name="connsiteY710" fmla="*/ 193653 h 359632"/>
                <a:gd name="connsiteX711" fmla="*/ 89975 w 218720"/>
                <a:gd name="connsiteY711" fmla="*/ 193462 h 359632"/>
                <a:gd name="connsiteX712" fmla="*/ 88711 w 218720"/>
                <a:gd name="connsiteY712" fmla="*/ 193706 h 359632"/>
                <a:gd name="connsiteX713" fmla="*/ 87802 w 218720"/>
                <a:gd name="connsiteY713" fmla="*/ 193037 h 359632"/>
                <a:gd name="connsiteX714" fmla="*/ 87042 w 218720"/>
                <a:gd name="connsiteY714" fmla="*/ 191930 h 359632"/>
                <a:gd name="connsiteX715" fmla="*/ 86047 w 218720"/>
                <a:gd name="connsiteY715" fmla="*/ 191635 h 359632"/>
                <a:gd name="connsiteX716" fmla="*/ 84936 w 218720"/>
                <a:gd name="connsiteY716" fmla="*/ 191975 h 359632"/>
                <a:gd name="connsiteX717" fmla="*/ 82587 w 218720"/>
                <a:gd name="connsiteY717" fmla="*/ 193466 h 359632"/>
                <a:gd name="connsiteX718" fmla="*/ 80208 w 218720"/>
                <a:gd name="connsiteY718" fmla="*/ 194346 h 359632"/>
                <a:gd name="connsiteX719" fmla="*/ 77332 w 218720"/>
                <a:gd name="connsiteY719" fmla="*/ 193407 h 359632"/>
                <a:gd name="connsiteX720" fmla="*/ 73562 w 218720"/>
                <a:gd name="connsiteY720" fmla="*/ 191655 h 359632"/>
                <a:gd name="connsiteX721" fmla="*/ 72817 w 218720"/>
                <a:gd name="connsiteY721" fmla="*/ 192294 h 359632"/>
                <a:gd name="connsiteX722" fmla="*/ 71982 w 218720"/>
                <a:gd name="connsiteY722" fmla="*/ 193920 h 359632"/>
                <a:gd name="connsiteX723" fmla="*/ 71501 w 218720"/>
                <a:gd name="connsiteY723" fmla="*/ 196456 h 359632"/>
                <a:gd name="connsiteX724" fmla="*/ 68824 w 218720"/>
                <a:gd name="connsiteY724" fmla="*/ 194254 h 359632"/>
                <a:gd name="connsiteX725" fmla="*/ 66542 w 218720"/>
                <a:gd name="connsiteY725" fmla="*/ 191306 h 359632"/>
                <a:gd name="connsiteX726" fmla="*/ 65777 w 218720"/>
                <a:gd name="connsiteY726" fmla="*/ 189452 h 359632"/>
                <a:gd name="connsiteX727" fmla="*/ 65720 w 218720"/>
                <a:gd name="connsiteY727" fmla="*/ 187364 h 359632"/>
                <a:gd name="connsiteX728" fmla="*/ 66958 w 218720"/>
                <a:gd name="connsiteY728" fmla="*/ 186553 h 359632"/>
                <a:gd name="connsiteX729" fmla="*/ 68303 w 218720"/>
                <a:gd name="connsiteY729" fmla="*/ 187295 h 359632"/>
                <a:gd name="connsiteX730" fmla="*/ 70308 w 218720"/>
                <a:gd name="connsiteY730" fmla="*/ 182331 h 359632"/>
                <a:gd name="connsiteX731" fmla="*/ 74297 w 218720"/>
                <a:gd name="connsiteY731" fmla="*/ 175855 h 359632"/>
                <a:gd name="connsiteX732" fmla="*/ 75704 w 218720"/>
                <a:gd name="connsiteY732" fmla="*/ 173952 h 359632"/>
                <a:gd name="connsiteX733" fmla="*/ 76686 w 218720"/>
                <a:gd name="connsiteY733" fmla="*/ 171467 h 359632"/>
                <a:gd name="connsiteX734" fmla="*/ 76518 w 218720"/>
                <a:gd name="connsiteY734" fmla="*/ 169839 h 359632"/>
                <a:gd name="connsiteX735" fmla="*/ 75638 w 218720"/>
                <a:gd name="connsiteY735" fmla="*/ 168464 h 359632"/>
                <a:gd name="connsiteX736" fmla="*/ 71930 w 218720"/>
                <a:gd name="connsiteY736" fmla="*/ 165337 h 359632"/>
                <a:gd name="connsiteX737" fmla="*/ 71979 w 218720"/>
                <a:gd name="connsiteY737" fmla="*/ 162788 h 359632"/>
                <a:gd name="connsiteX738" fmla="*/ 72376 w 218720"/>
                <a:gd name="connsiteY738" fmla="*/ 159906 h 359632"/>
                <a:gd name="connsiteX739" fmla="*/ 73384 w 218720"/>
                <a:gd name="connsiteY739" fmla="*/ 158175 h 359632"/>
                <a:gd name="connsiteX740" fmla="*/ 73810 w 218720"/>
                <a:gd name="connsiteY740" fmla="*/ 157845 h 359632"/>
                <a:gd name="connsiteX741" fmla="*/ 78735 w 218720"/>
                <a:gd name="connsiteY741" fmla="*/ 157891 h 359632"/>
                <a:gd name="connsiteX742" fmla="*/ 76814 w 218720"/>
                <a:gd name="connsiteY742" fmla="*/ 156997 h 359632"/>
                <a:gd name="connsiteX743" fmla="*/ 72986 w 218720"/>
                <a:gd name="connsiteY743" fmla="*/ 154385 h 359632"/>
                <a:gd name="connsiteX744" fmla="*/ 73054 w 218720"/>
                <a:gd name="connsiteY744" fmla="*/ 153459 h 359632"/>
                <a:gd name="connsiteX745" fmla="*/ 73955 w 218720"/>
                <a:gd name="connsiteY745" fmla="*/ 151041 h 359632"/>
                <a:gd name="connsiteX746" fmla="*/ 73537 w 218720"/>
                <a:gd name="connsiteY746" fmla="*/ 151286 h 359632"/>
                <a:gd name="connsiteX747" fmla="*/ 72717 w 218720"/>
                <a:gd name="connsiteY747" fmla="*/ 152403 h 359632"/>
                <a:gd name="connsiteX748" fmla="*/ 71150 w 218720"/>
                <a:gd name="connsiteY748" fmla="*/ 155105 h 359632"/>
                <a:gd name="connsiteX749" fmla="*/ 70194 w 218720"/>
                <a:gd name="connsiteY749" fmla="*/ 155735 h 359632"/>
                <a:gd name="connsiteX750" fmla="*/ 67486 w 218720"/>
                <a:gd name="connsiteY750" fmla="*/ 156376 h 359632"/>
                <a:gd name="connsiteX751" fmla="*/ 66996 w 218720"/>
                <a:gd name="connsiteY751" fmla="*/ 157705 h 359632"/>
                <a:gd name="connsiteX752" fmla="*/ 66561 w 218720"/>
                <a:gd name="connsiteY752" fmla="*/ 158052 h 359632"/>
                <a:gd name="connsiteX753" fmla="*/ 65208 w 218720"/>
                <a:gd name="connsiteY753" fmla="*/ 158203 h 359632"/>
                <a:gd name="connsiteX754" fmla="*/ 64793 w 218720"/>
                <a:gd name="connsiteY754" fmla="*/ 159441 h 359632"/>
                <a:gd name="connsiteX755" fmla="*/ 64492 w 218720"/>
                <a:gd name="connsiteY755" fmla="*/ 159520 h 359632"/>
                <a:gd name="connsiteX756" fmla="*/ 64107 w 218720"/>
                <a:gd name="connsiteY756" fmla="*/ 158184 h 359632"/>
                <a:gd name="connsiteX757" fmla="*/ 64070 w 218720"/>
                <a:gd name="connsiteY757" fmla="*/ 155968 h 359632"/>
                <a:gd name="connsiteX758" fmla="*/ 64609 w 218720"/>
                <a:gd name="connsiteY758" fmla="*/ 153929 h 359632"/>
                <a:gd name="connsiteX759" fmla="*/ 65638 w 218720"/>
                <a:gd name="connsiteY759" fmla="*/ 152332 h 359632"/>
                <a:gd name="connsiteX760" fmla="*/ 69606 w 218720"/>
                <a:gd name="connsiteY760" fmla="*/ 148697 h 359632"/>
                <a:gd name="connsiteX761" fmla="*/ 67674 w 218720"/>
                <a:gd name="connsiteY761" fmla="*/ 149819 h 359632"/>
                <a:gd name="connsiteX762" fmla="*/ 63295 w 218720"/>
                <a:gd name="connsiteY762" fmla="*/ 153176 h 359632"/>
                <a:gd name="connsiteX763" fmla="*/ 61060 w 218720"/>
                <a:gd name="connsiteY763" fmla="*/ 155381 h 359632"/>
                <a:gd name="connsiteX764" fmla="*/ 60463 w 218720"/>
                <a:gd name="connsiteY764" fmla="*/ 156125 h 359632"/>
                <a:gd name="connsiteX765" fmla="*/ 60276 w 218720"/>
                <a:gd name="connsiteY765" fmla="*/ 156752 h 359632"/>
                <a:gd name="connsiteX766" fmla="*/ 60289 w 218720"/>
                <a:gd name="connsiteY766" fmla="*/ 157474 h 359632"/>
                <a:gd name="connsiteX767" fmla="*/ 61293 w 218720"/>
                <a:gd name="connsiteY767" fmla="*/ 161344 h 359632"/>
                <a:gd name="connsiteX768" fmla="*/ 61007 w 218720"/>
                <a:gd name="connsiteY768" fmla="*/ 163133 h 359632"/>
                <a:gd name="connsiteX769" fmla="*/ 57234 w 218720"/>
                <a:gd name="connsiteY769" fmla="*/ 174922 h 359632"/>
                <a:gd name="connsiteX770" fmla="*/ 56520 w 218720"/>
                <a:gd name="connsiteY770" fmla="*/ 176102 h 359632"/>
                <a:gd name="connsiteX771" fmla="*/ 55863 w 218720"/>
                <a:gd name="connsiteY771" fmla="*/ 176719 h 359632"/>
                <a:gd name="connsiteX772" fmla="*/ 55242 w 218720"/>
                <a:gd name="connsiteY772" fmla="*/ 176860 h 359632"/>
                <a:gd name="connsiteX773" fmla="*/ 53382 w 218720"/>
                <a:gd name="connsiteY773" fmla="*/ 176636 h 359632"/>
                <a:gd name="connsiteX774" fmla="*/ 52552 w 218720"/>
                <a:gd name="connsiteY774" fmla="*/ 175755 h 359632"/>
                <a:gd name="connsiteX775" fmla="*/ 52559 w 218720"/>
                <a:gd name="connsiteY775" fmla="*/ 174757 h 359632"/>
                <a:gd name="connsiteX776" fmla="*/ 52908 w 218720"/>
                <a:gd name="connsiteY776" fmla="*/ 173257 h 359632"/>
                <a:gd name="connsiteX777" fmla="*/ 54472 w 218720"/>
                <a:gd name="connsiteY777" fmla="*/ 167668 h 359632"/>
                <a:gd name="connsiteX778" fmla="*/ 55151 w 218720"/>
                <a:gd name="connsiteY778" fmla="*/ 166113 h 359632"/>
                <a:gd name="connsiteX779" fmla="*/ 56160 w 218720"/>
                <a:gd name="connsiteY779" fmla="*/ 164666 h 359632"/>
                <a:gd name="connsiteX780" fmla="*/ 58383 w 218720"/>
                <a:gd name="connsiteY780" fmla="*/ 162130 h 359632"/>
                <a:gd name="connsiteX781" fmla="*/ 58329 w 218720"/>
                <a:gd name="connsiteY781" fmla="*/ 161965 h 359632"/>
                <a:gd name="connsiteX782" fmla="*/ 56849 w 218720"/>
                <a:gd name="connsiteY782" fmla="*/ 162462 h 359632"/>
                <a:gd name="connsiteX783" fmla="*/ 56218 w 218720"/>
                <a:gd name="connsiteY783" fmla="*/ 162298 h 359632"/>
                <a:gd name="connsiteX784" fmla="*/ 55766 w 218720"/>
                <a:gd name="connsiteY784" fmla="*/ 161796 h 359632"/>
                <a:gd name="connsiteX785" fmla="*/ 56059 w 218720"/>
                <a:gd name="connsiteY785" fmla="*/ 154257 h 359632"/>
                <a:gd name="connsiteX786" fmla="*/ 57260 w 218720"/>
                <a:gd name="connsiteY786" fmla="*/ 151771 h 359632"/>
                <a:gd name="connsiteX787" fmla="*/ 57709 w 218720"/>
                <a:gd name="connsiteY787" fmla="*/ 148150 h 359632"/>
                <a:gd name="connsiteX788" fmla="*/ 58750 w 218720"/>
                <a:gd name="connsiteY788" fmla="*/ 145045 h 359632"/>
                <a:gd name="connsiteX789" fmla="*/ 59955 w 218720"/>
                <a:gd name="connsiteY789" fmla="*/ 142781 h 359632"/>
                <a:gd name="connsiteX790" fmla="*/ 60872 w 218720"/>
                <a:gd name="connsiteY790" fmla="*/ 139881 h 359632"/>
                <a:gd name="connsiteX791" fmla="*/ 62254 w 218720"/>
                <a:gd name="connsiteY791" fmla="*/ 138590 h 359632"/>
                <a:gd name="connsiteX792" fmla="*/ 62624 w 218720"/>
                <a:gd name="connsiteY792" fmla="*/ 136614 h 359632"/>
                <a:gd name="connsiteX793" fmla="*/ 64174 w 218720"/>
                <a:gd name="connsiteY793" fmla="*/ 134473 h 359632"/>
                <a:gd name="connsiteX794" fmla="*/ 65373 w 218720"/>
                <a:gd name="connsiteY794" fmla="*/ 132232 h 359632"/>
                <a:gd name="connsiteX795" fmla="*/ 64727 w 218720"/>
                <a:gd name="connsiteY795" fmla="*/ 132454 h 359632"/>
                <a:gd name="connsiteX796" fmla="*/ 57063 w 218720"/>
                <a:gd name="connsiteY796" fmla="*/ 138281 h 359632"/>
                <a:gd name="connsiteX797" fmla="*/ 55111 w 218720"/>
                <a:gd name="connsiteY797" fmla="*/ 139341 h 359632"/>
                <a:gd name="connsiteX798" fmla="*/ 52450 w 218720"/>
                <a:gd name="connsiteY798" fmla="*/ 139057 h 359632"/>
                <a:gd name="connsiteX799" fmla="*/ 50415 w 218720"/>
                <a:gd name="connsiteY799" fmla="*/ 138403 h 359632"/>
                <a:gd name="connsiteX800" fmla="*/ 48825 w 218720"/>
                <a:gd name="connsiteY800" fmla="*/ 137025 h 359632"/>
                <a:gd name="connsiteX801" fmla="*/ 48114 w 218720"/>
                <a:gd name="connsiteY801" fmla="*/ 134378 h 359632"/>
                <a:gd name="connsiteX802" fmla="*/ 46150 w 218720"/>
                <a:gd name="connsiteY802" fmla="*/ 134307 h 359632"/>
                <a:gd name="connsiteX803" fmla="*/ 44470 w 218720"/>
                <a:gd name="connsiteY803" fmla="*/ 133849 h 359632"/>
                <a:gd name="connsiteX804" fmla="*/ 44491 w 218720"/>
                <a:gd name="connsiteY804" fmla="*/ 133493 h 359632"/>
                <a:gd name="connsiteX805" fmla="*/ 46658 w 218720"/>
                <a:gd name="connsiteY805" fmla="*/ 132048 h 359632"/>
                <a:gd name="connsiteX806" fmla="*/ 50132 w 218720"/>
                <a:gd name="connsiteY806" fmla="*/ 131552 h 359632"/>
                <a:gd name="connsiteX807" fmla="*/ 53383 w 218720"/>
                <a:gd name="connsiteY807" fmla="*/ 129237 h 359632"/>
                <a:gd name="connsiteX808" fmla="*/ 50490 w 218720"/>
                <a:gd name="connsiteY808" fmla="*/ 127672 h 359632"/>
                <a:gd name="connsiteX809" fmla="*/ 50735 w 218720"/>
                <a:gd name="connsiteY809" fmla="*/ 127176 h 359632"/>
                <a:gd name="connsiteX810" fmla="*/ 53258 w 218720"/>
                <a:gd name="connsiteY810" fmla="*/ 125842 h 359632"/>
                <a:gd name="connsiteX811" fmla="*/ 56463 w 218720"/>
                <a:gd name="connsiteY811" fmla="*/ 121362 h 359632"/>
                <a:gd name="connsiteX812" fmla="*/ 57113 w 218720"/>
                <a:gd name="connsiteY812" fmla="*/ 117232 h 359632"/>
                <a:gd name="connsiteX813" fmla="*/ 55580 w 218720"/>
                <a:gd name="connsiteY813" fmla="*/ 115289 h 359632"/>
                <a:gd name="connsiteX814" fmla="*/ 55025 w 218720"/>
                <a:gd name="connsiteY814" fmla="*/ 114015 h 359632"/>
                <a:gd name="connsiteX815" fmla="*/ 51961 w 218720"/>
                <a:gd name="connsiteY815" fmla="*/ 112594 h 359632"/>
                <a:gd name="connsiteX816" fmla="*/ 51449 w 218720"/>
                <a:gd name="connsiteY816" fmla="*/ 110774 h 359632"/>
                <a:gd name="connsiteX817" fmla="*/ 51805 w 218720"/>
                <a:gd name="connsiteY817" fmla="*/ 109758 h 359632"/>
                <a:gd name="connsiteX818" fmla="*/ 52805 w 218720"/>
                <a:gd name="connsiteY818" fmla="*/ 108765 h 359632"/>
                <a:gd name="connsiteX819" fmla="*/ 54312 w 218720"/>
                <a:gd name="connsiteY819" fmla="*/ 107991 h 359632"/>
                <a:gd name="connsiteX820" fmla="*/ 56674 w 218720"/>
                <a:gd name="connsiteY820" fmla="*/ 107251 h 359632"/>
                <a:gd name="connsiteX821" fmla="*/ 54530 w 218720"/>
                <a:gd name="connsiteY821" fmla="*/ 106457 h 359632"/>
                <a:gd name="connsiteX822" fmla="*/ 53730 w 218720"/>
                <a:gd name="connsiteY822" fmla="*/ 105520 h 359632"/>
                <a:gd name="connsiteX823" fmla="*/ 53123 w 218720"/>
                <a:gd name="connsiteY823" fmla="*/ 104163 h 359632"/>
                <a:gd name="connsiteX824" fmla="*/ 53067 w 218720"/>
                <a:gd name="connsiteY824" fmla="*/ 103376 h 359632"/>
                <a:gd name="connsiteX825" fmla="*/ 54177 w 218720"/>
                <a:gd name="connsiteY825" fmla="*/ 99866 h 359632"/>
                <a:gd name="connsiteX826" fmla="*/ 54823 w 218720"/>
                <a:gd name="connsiteY826" fmla="*/ 98417 h 359632"/>
                <a:gd name="connsiteX827" fmla="*/ 56087 w 218720"/>
                <a:gd name="connsiteY827" fmla="*/ 96568 h 359632"/>
                <a:gd name="connsiteX828" fmla="*/ 61821 w 218720"/>
                <a:gd name="connsiteY828" fmla="*/ 96672 h 359632"/>
                <a:gd name="connsiteX829" fmla="*/ 62480 w 218720"/>
                <a:gd name="connsiteY829" fmla="*/ 95855 h 359632"/>
                <a:gd name="connsiteX830" fmla="*/ 63130 w 218720"/>
                <a:gd name="connsiteY830" fmla="*/ 95823 h 359632"/>
                <a:gd name="connsiteX831" fmla="*/ 66062 w 218720"/>
                <a:gd name="connsiteY831" fmla="*/ 96568 h 359632"/>
                <a:gd name="connsiteX832" fmla="*/ 65627 w 218720"/>
                <a:gd name="connsiteY832" fmla="*/ 95766 h 359632"/>
                <a:gd name="connsiteX833" fmla="*/ 60832 w 218720"/>
                <a:gd name="connsiteY833" fmla="*/ 91368 h 359632"/>
                <a:gd name="connsiteX834" fmla="*/ 60402 w 218720"/>
                <a:gd name="connsiteY834" fmla="*/ 90530 h 359632"/>
                <a:gd name="connsiteX835" fmla="*/ 61769 w 218720"/>
                <a:gd name="connsiteY835" fmla="*/ 88154 h 359632"/>
                <a:gd name="connsiteX836" fmla="*/ 61868 w 218720"/>
                <a:gd name="connsiteY836" fmla="*/ 87094 h 359632"/>
                <a:gd name="connsiteX837" fmla="*/ 61668 w 218720"/>
                <a:gd name="connsiteY837" fmla="*/ 85961 h 359632"/>
                <a:gd name="connsiteX838" fmla="*/ 62058 w 218720"/>
                <a:gd name="connsiteY838" fmla="*/ 85098 h 359632"/>
                <a:gd name="connsiteX839" fmla="*/ 63578 w 218720"/>
                <a:gd name="connsiteY839" fmla="*/ 84690 h 359632"/>
                <a:gd name="connsiteX840" fmla="*/ 68213 w 218720"/>
                <a:gd name="connsiteY840" fmla="*/ 84731 h 359632"/>
                <a:gd name="connsiteX841" fmla="*/ 69355 w 218720"/>
                <a:gd name="connsiteY841" fmla="*/ 84329 h 359632"/>
                <a:gd name="connsiteX842" fmla="*/ 68835 w 218720"/>
                <a:gd name="connsiteY842" fmla="*/ 83181 h 359632"/>
                <a:gd name="connsiteX843" fmla="*/ 67756 w 218720"/>
                <a:gd name="connsiteY843" fmla="*/ 81671 h 359632"/>
                <a:gd name="connsiteX844" fmla="*/ 67545 w 218720"/>
                <a:gd name="connsiteY844" fmla="*/ 80402 h 359632"/>
                <a:gd name="connsiteX845" fmla="*/ 67798 w 218720"/>
                <a:gd name="connsiteY845" fmla="*/ 79281 h 359632"/>
                <a:gd name="connsiteX846" fmla="*/ 67857 w 218720"/>
                <a:gd name="connsiteY846" fmla="*/ 77022 h 359632"/>
                <a:gd name="connsiteX847" fmla="*/ 68068 w 218720"/>
                <a:gd name="connsiteY847" fmla="*/ 76022 h 359632"/>
                <a:gd name="connsiteX848" fmla="*/ 69168 w 218720"/>
                <a:gd name="connsiteY848" fmla="*/ 74524 h 359632"/>
                <a:gd name="connsiteX849" fmla="*/ 70077 w 218720"/>
                <a:gd name="connsiteY849" fmla="*/ 74079 h 359632"/>
                <a:gd name="connsiteX850" fmla="*/ 71204 w 218720"/>
                <a:gd name="connsiteY850" fmla="*/ 73818 h 359632"/>
                <a:gd name="connsiteX851" fmla="*/ 73748 w 218720"/>
                <a:gd name="connsiteY851" fmla="*/ 74319 h 359632"/>
                <a:gd name="connsiteX852" fmla="*/ 74718 w 218720"/>
                <a:gd name="connsiteY852" fmla="*/ 74924 h 359632"/>
                <a:gd name="connsiteX853" fmla="*/ 75831 w 218720"/>
                <a:gd name="connsiteY853" fmla="*/ 76352 h 359632"/>
                <a:gd name="connsiteX854" fmla="*/ 76654 w 218720"/>
                <a:gd name="connsiteY854" fmla="*/ 76236 h 359632"/>
                <a:gd name="connsiteX855" fmla="*/ 79822 w 218720"/>
                <a:gd name="connsiteY855" fmla="*/ 74685 h 359632"/>
                <a:gd name="connsiteX856" fmla="*/ 80774 w 218720"/>
                <a:gd name="connsiteY856" fmla="*/ 74462 h 359632"/>
                <a:gd name="connsiteX857" fmla="*/ 82070 w 218720"/>
                <a:gd name="connsiteY857" fmla="*/ 76260 h 359632"/>
                <a:gd name="connsiteX858" fmla="*/ 87480 w 218720"/>
                <a:gd name="connsiteY858" fmla="*/ 74826 h 359632"/>
                <a:gd name="connsiteX859" fmla="*/ 94757 w 218720"/>
                <a:gd name="connsiteY859" fmla="*/ 74183 h 359632"/>
                <a:gd name="connsiteX860" fmla="*/ 99129 w 218720"/>
                <a:gd name="connsiteY860" fmla="*/ 73239 h 359632"/>
                <a:gd name="connsiteX861" fmla="*/ 103733 w 218720"/>
                <a:gd name="connsiteY861" fmla="*/ 72896 h 359632"/>
                <a:gd name="connsiteX862" fmla="*/ 115062 w 218720"/>
                <a:gd name="connsiteY862" fmla="*/ 65804 h 359632"/>
                <a:gd name="connsiteX863" fmla="*/ 116053 w 218720"/>
                <a:gd name="connsiteY863" fmla="*/ 66067 h 359632"/>
                <a:gd name="connsiteX864" fmla="*/ 115685 w 218720"/>
                <a:gd name="connsiteY864" fmla="*/ 66975 h 359632"/>
                <a:gd name="connsiteX865" fmla="*/ 115324 w 218720"/>
                <a:gd name="connsiteY865" fmla="*/ 68857 h 359632"/>
                <a:gd name="connsiteX866" fmla="*/ 115112 w 218720"/>
                <a:gd name="connsiteY866" fmla="*/ 68953 h 359632"/>
                <a:gd name="connsiteX867" fmla="*/ 114307 w 218720"/>
                <a:gd name="connsiteY867" fmla="*/ 68360 h 359632"/>
                <a:gd name="connsiteX868" fmla="*/ 112979 w 218720"/>
                <a:gd name="connsiteY868" fmla="*/ 66228 h 359632"/>
                <a:gd name="connsiteX869" fmla="*/ 105859 w 218720"/>
                <a:gd name="connsiteY869" fmla="*/ 63098 h 359632"/>
                <a:gd name="connsiteX870" fmla="*/ 107750 w 218720"/>
                <a:gd name="connsiteY870" fmla="*/ 63544 h 359632"/>
                <a:gd name="connsiteX871" fmla="*/ 108729 w 218720"/>
                <a:gd name="connsiteY871" fmla="*/ 65107 h 359632"/>
                <a:gd name="connsiteX872" fmla="*/ 108851 w 218720"/>
                <a:gd name="connsiteY872" fmla="*/ 66123 h 359632"/>
                <a:gd name="connsiteX873" fmla="*/ 109083 w 218720"/>
                <a:gd name="connsiteY873" fmla="*/ 66522 h 359632"/>
                <a:gd name="connsiteX874" fmla="*/ 110257 w 218720"/>
                <a:gd name="connsiteY874" fmla="*/ 66923 h 359632"/>
                <a:gd name="connsiteX875" fmla="*/ 110115 w 218720"/>
                <a:gd name="connsiteY875" fmla="*/ 67151 h 359632"/>
                <a:gd name="connsiteX876" fmla="*/ 108851 w 218720"/>
                <a:gd name="connsiteY876" fmla="*/ 67581 h 359632"/>
                <a:gd name="connsiteX877" fmla="*/ 107598 w 218720"/>
                <a:gd name="connsiteY877" fmla="*/ 67549 h 359632"/>
                <a:gd name="connsiteX878" fmla="*/ 105643 w 218720"/>
                <a:gd name="connsiteY878" fmla="*/ 65673 h 359632"/>
                <a:gd name="connsiteX879" fmla="*/ 104900 w 218720"/>
                <a:gd name="connsiteY879" fmla="*/ 64307 h 359632"/>
                <a:gd name="connsiteX880" fmla="*/ 105034 w 218720"/>
                <a:gd name="connsiteY880" fmla="*/ 63403 h 359632"/>
                <a:gd name="connsiteX881" fmla="*/ 108266 w 218720"/>
                <a:gd name="connsiteY881" fmla="*/ 55774 h 359632"/>
                <a:gd name="connsiteX882" fmla="*/ 110302 w 218720"/>
                <a:gd name="connsiteY882" fmla="*/ 56022 h 359632"/>
                <a:gd name="connsiteX883" fmla="*/ 112632 w 218720"/>
                <a:gd name="connsiteY883" fmla="*/ 57239 h 359632"/>
                <a:gd name="connsiteX884" fmla="*/ 113337 w 218720"/>
                <a:gd name="connsiteY884" fmla="*/ 57988 h 359632"/>
                <a:gd name="connsiteX885" fmla="*/ 113320 w 218720"/>
                <a:gd name="connsiteY885" fmla="*/ 58586 h 359632"/>
                <a:gd name="connsiteX886" fmla="*/ 112493 w 218720"/>
                <a:gd name="connsiteY886" fmla="*/ 59499 h 359632"/>
                <a:gd name="connsiteX887" fmla="*/ 112199 w 218720"/>
                <a:gd name="connsiteY887" fmla="*/ 60302 h 359632"/>
                <a:gd name="connsiteX888" fmla="*/ 113880 w 218720"/>
                <a:gd name="connsiteY888" fmla="*/ 60283 h 359632"/>
                <a:gd name="connsiteX889" fmla="*/ 116315 w 218720"/>
                <a:gd name="connsiteY889" fmla="*/ 60967 h 359632"/>
                <a:gd name="connsiteX890" fmla="*/ 117789 w 218720"/>
                <a:gd name="connsiteY890" fmla="*/ 61053 h 359632"/>
                <a:gd name="connsiteX891" fmla="*/ 119015 w 218720"/>
                <a:gd name="connsiteY891" fmla="*/ 61901 h 359632"/>
                <a:gd name="connsiteX892" fmla="*/ 118339 w 218720"/>
                <a:gd name="connsiteY892" fmla="*/ 63490 h 359632"/>
                <a:gd name="connsiteX893" fmla="*/ 117605 w 218720"/>
                <a:gd name="connsiteY893" fmla="*/ 63935 h 359632"/>
                <a:gd name="connsiteX894" fmla="*/ 116775 w 218720"/>
                <a:gd name="connsiteY894" fmla="*/ 64023 h 359632"/>
                <a:gd name="connsiteX895" fmla="*/ 113877 w 218720"/>
                <a:gd name="connsiteY895" fmla="*/ 62436 h 359632"/>
                <a:gd name="connsiteX896" fmla="*/ 110079 w 218720"/>
                <a:gd name="connsiteY896" fmla="*/ 63095 h 359632"/>
                <a:gd name="connsiteX897" fmla="*/ 109323 w 218720"/>
                <a:gd name="connsiteY897" fmla="*/ 62894 h 359632"/>
                <a:gd name="connsiteX898" fmla="*/ 108824 w 218720"/>
                <a:gd name="connsiteY898" fmla="*/ 62455 h 359632"/>
                <a:gd name="connsiteX899" fmla="*/ 108619 w 218720"/>
                <a:gd name="connsiteY899" fmla="*/ 61911 h 359632"/>
                <a:gd name="connsiteX900" fmla="*/ 108615 w 218720"/>
                <a:gd name="connsiteY900" fmla="*/ 60801 h 359632"/>
                <a:gd name="connsiteX901" fmla="*/ 108409 w 218720"/>
                <a:gd name="connsiteY901" fmla="*/ 60473 h 359632"/>
                <a:gd name="connsiteX902" fmla="*/ 107033 w 218720"/>
                <a:gd name="connsiteY902" fmla="*/ 61523 h 359632"/>
                <a:gd name="connsiteX903" fmla="*/ 106429 w 218720"/>
                <a:gd name="connsiteY903" fmla="*/ 61399 h 359632"/>
                <a:gd name="connsiteX904" fmla="*/ 106088 w 218720"/>
                <a:gd name="connsiteY904" fmla="*/ 60896 h 359632"/>
                <a:gd name="connsiteX905" fmla="*/ 105941 w 218720"/>
                <a:gd name="connsiteY905" fmla="*/ 59853 h 359632"/>
                <a:gd name="connsiteX906" fmla="*/ 106094 w 218720"/>
                <a:gd name="connsiteY906" fmla="*/ 58347 h 359632"/>
                <a:gd name="connsiteX907" fmla="*/ 106900 w 218720"/>
                <a:gd name="connsiteY907" fmla="*/ 56202 h 359632"/>
                <a:gd name="connsiteX908" fmla="*/ 124031 w 218720"/>
                <a:gd name="connsiteY908" fmla="*/ 50542 h 359632"/>
                <a:gd name="connsiteX909" fmla="*/ 126876 w 218720"/>
                <a:gd name="connsiteY909" fmla="*/ 50758 h 359632"/>
                <a:gd name="connsiteX910" fmla="*/ 126370 w 218720"/>
                <a:gd name="connsiteY910" fmla="*/ 51625 h 359632"/>
                <a:gd name="connsiteX911" fmla="*/ 123738 w 218720"/>
                <a:gd name="connsiteY911" fmla="*/ 52921 h 359632"/>
                <a:gd name="connsiteX912" fmla="*/ 121235 w 218720"/>
                <a:gd name="connsiteY912" fmla="*/ 52960 h 359632"/>
                <a:gd name="connsiteX913" fmla="*/ 122528 w 218720"/>
                <a:gd name="connsiteY913" fmla="*/ 51028 h 359632"/>
                <a:gd name="connsiteX914" fmla="*/ 114304 w 218720"/>
                <a:gd name="connsiteY914" fmla="*/ 49137 h 359632"/>
                <a:gd name="connsiteX915" fmla="*/ 116822 w 218720"/>
                <a:gd name="connsiteY915" fmla="*/ 51059 h 359632"/>
                <a:gd name="connsiteX916" fmla="*/ 117853 w 218720"/>
                <a:gd name="connsiteY916" fmla="*/ 52612 h 359632"/>
                <a:gd name="connsiteX917" fmla="*/ 119718 w 218720"/>
                <a:gd name="connsiteY917" fmla="*/ 53071 h 359632"/>
                <a:gd name="connsiteX918" fmla="*/ 119956 w 218720"/>
                <a:gd name="connsiteY918" fmla="*/ 53309 h 359632"/>
                <a:gd name="connsiteX919" fmla="*/ 119746 w 218720"/>
                <a:gd name="connsiteY919" fmla="*/ 54377 h 359632"/>
                <a:gd name="connsiteX920" fmla="*/ 117848 w 218720"/>
                <a:gd name="connsiteY920" fmla="*/ 55188 h 359632"/>
                <a:gd name="connsiteX921" fmla="*/ 117038 w 218720"/>
                <a:gd name="connsiteY921" fmla="*/ 54517 h 359632"/>
                <a:gd name="connsiteX922" fmla="*/ 116827 w 218720"/>
                <a:gd name="connsiteY922" fmla="*/ 52416 h 359632"/>
                <a:gd name="connsiteX923" fmla="*/ 114564 w 218720"/>
                <a:gd name="connsiteY923" fmla="*/ 51516 h 359632"/>
                <a:gd name="connsiteX924" fmla="*/ 113464 w 218720"/>
                <a:gd name="connsiteY924" fmla="*/ 50957 h 359632"/>
                <a:gd name="connsiteX925" fmla="*/ 112612 w 218720"/>
                <a:gd name="connsiteY925" fmla="*/ 49897 h 359632"/>
                <a:gd name="connsiteX926" fmla="*/ 112829 w 218720"/>
                <a:gd name="connsiteY926" fmla="*/ 49572 h 359632"/>
                <a:gd name="connsiteX927" fmla="*/ 149939 w 218720"/>
                <a:gd name="connsiteY927" fmla="*/ 7430 h 359632"/>
                <a:gd name="connsiteX928" fmla="*/ 151315 w 218720"/>
                <a:gd name="connsiteY928" fmla="*/ 7494 h 359632"/>
                <a:gd name="connsiteX929" fmla="*/ 151174 w 218720"/>
                <a:gd name="connsiteY929" fmla="*/ 9833 h 359632"/>
                <a:gd name="connsiteX930" fmla="*/ 151632 w 218720"/>
                <a:gd name="connsiteY930" fmla="*/ 12180 h 359632"/>
                <a:gd name="connsiteX931" fmla="*/ 152774 w 218720"/>
                <a:gd name="connsiteY931" fmla="*/ 11572 h 359632"/>
                <a:gd name="connsiteX932" fmla="*/ 154498 w 218720"/>
                <a:gd name="connsiteY932" fmla="*/ 13821 h 359632"/>
                <a:gd name="connsiteX933" fmla="*/ 155378 w 218720"/>
                <a:gd name="connsiteY933" fmla="*/ 13824 h 359632"/>
                <a:gd name="connsiteX934" fmla="*/ 156827 w 218720"/>
                <a:gd name="connsiteY934" fmla="*/ 12931 h 359632"/>
                <a:gd name="connsiteX935" fmla="*/ 156535 w 218720"/>
                <a:gd name="connsiteY935" fmla="*/ 15023 h 359632"/>
                <a:gd name="connsiteX936" fmla="*/ 155031 w 218720"/>
                <a:gd name="connsiteY936" fmla="*/ 20819 h 359632"/>
                <a:gd name="connsiteX937" fmla="*/ 154608 w 218720"/>
                <a:gd name="connsiteY937" fmla="*/ 21802 h 359632"/>
                <a:gd name="connsiteX938" fmla="*/ 154322 w 218720"/>
                <a:gd name="connsiteY938" fmla="*/ 23560 h 359632"/>
                <a:gd name="connsiteX939" fmla="*/ 154023 w 218720"/>
                <a:gd name="connsiteY939" fmla="*/ 23902 h 359632"/>
                <a:gd name="connsiteX940" fmla="*/ 153579 w 218720"/>
                <a:gd name="connsiteY940" fmla="*/ 27452 h 359632"/>
                <a:gd name="connsiteX941" fmla="*/ 152562 w 218720"/>
                <a:gd name="connsiteY941" fmla="*/ 28620 h 359632"/>
                <a:gd name="connsiteX942" fmla="*/ 151712 w 218720"/>
                <a:gd name="connsiteY942" fmla="*/ 31404 h 359632"/>
                <a:gd name="connsiteX943" fmla="*/ 151365 w 218720"/>
                <a:gd name="connsiteY943" fmla="*/ 31676 h 359632"/>
                <a:gd name="connsiteX944" fmla="*/ 150118 w 218720"/>
                <a:gd name="connsiteY944" fmla="*/ 30605 h 359632"/>
                <a:gd name="connsiteX945" fmla="*/ 151364 w 218720"/>
                <a:gd name="connsiteY945" fmla="*/ 26353 h 359632"/>
                <a:gd name="connsiteX946" fmla="*/ 151880 w 218720"/>
                <a:gd name="connsiteY946" fmla="*/ 23878 h 359632"/>
                <a:gd name="connsiteX947" fmla="*/ 151554 w 218720"/>
                <a:gd name="connsiteY947" fmla="*/ 22593 h 359632"/>
                <a:gd name="connsiteX948" fmla="*/ 150849 w 218720"/>
                <a:gd name="connsiteY948" fmla="*/ 21436 h 359632"/>
                <a:gd name="connsiteX949" fmla="*/ 148942 w 218720"/>
                <a:gd name="connsiteY949" fmla="*/ 21399 h 359632"/>
                <a:gd name="connsiteX950" fmla="*/ 147340 w 218720"/>
                <a:gd name="connsiteY950" fmla="*/ 21933 h 359632"/>
                <a:gd name="connsiteX951" fmla="*/ 147000 w 218720"/>
                <a:gd name="connsiteY951" fmla="*/ 21250 h 359632"/>
                <a:gd name="connsiteX952" fmla="*/ 146950 w 218720"/>
                <a:gd name="connsiteY952" fmla="*/ 20329 h 359632"/>
                <a:gd name="connsiteX953" fmla="*/ 146564 w 218720"/>
                <a:gd name="connsiteY953" fmla="*/ 20023 h 359632"/>
                <a:gd name="connsiteX954" fmla="*/ 144431 w 218720"/>
                <a:gd name="connsiteY954" fmla="*/ 20086 h 359632"/>
                <a:gd name="connsiteX955" fmla="*/ 143805 w 218720"/>
                <a:gd name="connsiteY955" fmla="*/ 19832 h 359632"/>
                <a:gd name="connsiteX956" fmla="*/ 143392 w 218720"/>
                <a:gd name="connsiteY956" fmla="*/ 18986 h 359632"/>
                <a:gd name="connsiteX957" fmla="*/ 143310 w 218720"/>
                <a:gd name="connsiteY957" fmla="*/ 18314 h 359632"/>
                <a:gd name="connsiteX958" fmla="*/ 145236 w 218720"/>
                <a:gd name="connsiteY958" fmla="*/ 17787 h 359632"/>
                <a:gd name="connsiteX959" fmla="*/ 147054 w 218720"/>
                <a:gd name="connsiteY959" fmla="*/ 17983 h 359632"/>
                <a:gd name="connsiteX960" fmla="*/ 149703 w 218720"/>
                <a:gd name="connsiteY960" fmla="*/ 16640 h 359632"/>
                <a:gd name="connsiteX961" fmla="*/ 148046 w 218720"/>
                <a:gd name="connsiteY961" fmla="*/ 12130 h 359632"/>
                <a:gd name="connsiteX962" fmla="*/ 145851 w 218720"/>
                <a:gd name="connsiteY962" fmla="*/ 11705 h 359632"/>
                <a:gd name="connsiteX963" fmla="*/ 145344 w 218720"/>
                <a:gd name="connsiteY963" fmla="*/ 11268 h 359632"/>
                <a:gd name="connsiteX964" fmla="*/ 145767 w 218720"/>
                <a:gd name="connsiteY964" fmla="*/ 10502 h 359632"/>
                <a:gd name="connsiteX965" fmla="*/ 146972 w 218720"/>
                <a:gd name="connsiteY965" fmla="*/ 10089 h 359632"/>
                <a:gd name="connsiteX966" fmla="*/ 148828 w 218720"/>
                <a:gd name="connsiteY966" fmla="*/ 7792 h 359632"/>
                <a:gd name="connsiteX967" fmla="*/ 155924 w 218720"/>
                <a:gd name="connsiteY967" fmla="*/ 3736 h 359632"/>
                <a:gd name="connsiteX968" fmla="*/ 157863 w 218720"/>
                <a:gd name="connsiteY968" fmla="*/ 3860 h 359632"/>
                <a:gd name="connsiteX969" fmla="*/ 158171 w 218720"/>
                <a:gd name="connsiteY969" fmla="*/ 4878 h 359632"/>
                <a:gd name="connsiteX970" fmla="*/ 157979 w 218720"/>
                <a:gd name="connsiteY970" fmla="*/ 5814 h 359632"/>
                <a:gd name="connsiteX971" fmla="*/ 156991 w 218720"/>
                <a:gd name="connsiteY971" fmla="*/ 5897 h 359632"/>
                <a:gd name="connsiteX972" fmla="*/ 156903 w 218720"/>
                <a:gd name="connsiteY972" fmla="*/ 6184 h 359632"/>
                <a:gd name="connsiteX973" fmla="*/ 157211 w 218720"/>
                <a:gd name="connsiteY973" fmla="*/ 7986 h 359632"/>
                <a:gd name="connsiteX974" fmla="*/ 157230 w 218720"/>
                <a:gd name="connsiteY974" fmla="*/ 10077 h 359632"/>
                <a:gd name="connsiteX975" fmla="*/ 157046 w 218720"/>
                <a:gd name="connsiteY975" fmla="*/ 10621 h 359632"/>
                <a:gd name="connsiteX976" fmla="*/ 156486 w 218720"/>
                <a:gd name="connsiteY976" fmla="*/ 11006 h 359632"/>
                <a:gd name="connsiteX977" fmla="*/ 154327 w 218720"/>
                <a:gd name="connsiteY977" fmla="*/ 7619 h 359632"/>
                <a:gd name="connsiteX978" fmla="*/ 161891 w 218720"/>
                <a:gd name="connsiteY978" fmla="*/ 0 h 359632"/>
                <a:gd name="connsiteX979" fmla="*/ 162369 w 218720"/>
                <a:gd name="connsiteY979" fmla="*/ 21 h 359632"/>
                <a:gd name="connsiteX980" fmla="*/ 162978 w 218720"/>
                <a:gd name="connsiteY980" fmla="*/ 667 h 359632"/>
                <a:gd name="connsiteX981" fmla="*/ 162977 w 218720"/>
                <a:gd name="connsiteY981" fmla="*/ 1051 h 359632"/>
                <a:gd name="connsiteX982" fmla="*/ 161831 w 218720"/>
                <a:gd name="connsiteY982" fmla="*/ 3871 h 359632"/>
                <a:gd name="connsiteX983" fmla="*/ 161846 w 218720"/>
                <a:gd name="connsiteY983" fmla="*/ 4948 h 359632"/>
                <a:gd name="connsiteX984" fmla="*/ 159996 w 218720"/>
                <a:gd name="connsiteY984" fmla="*/ 4845 h 359632"/>
                <a:gd name="connsiteX985" fmla="*/ 159706 w 218720"/>
                <a:gd name="connsiteY985" fmla="*/ 4502 h 359632"/>
                <a:gd name="connsiteX986" fmla="*/ 159356 w 218720"/>
                <a:gd name="connsiteY986" fmla="*/ 2885 h 359632"/>
                <a:gd name="connsiteX987" fmla="*/ 159589 w 218720"/>
                <a:gd name="connsiteY987" fmla="*/ 1162 h 359632"/>
                <a:gd name="connsiteX988" fmla="*/ 159848 w 218720"/>
                <a:gd name="connsiteY988" fmla="*/ 718 h 359632"/>
                <a:gd name="connsiteX989" fmla="*/ 160388 w 218720"/>
                <a:gd name="connsiteY989" fmla="*/ 535 h 359632"/>
                <a:gd name="connsiteX990" fmla="*/ 160973 w 218720"/>
                <a:gd name="connsiteY990" fmla="*/ 873 h 35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Lst>
              <a:rect l="l" t="t" r="r" b="b"/>
              <a:pathLst>
                <a:path w="218720" h="359632">
                  <a:moveTo>
                    <a:pt x="130999" y="356870"/>
                  </a:moveTo>
                  <a:lnTo>
                    <a:pt x="134057" y="357184"/>
                  </a:lnTo>
                  <a:lnTo>
                    <a:pt x="135462" y="357875"/>
                  </a:lnTo>
                  <a:lnTo>
                    <a:pt x="135656" y="359317"/>
                  </a:lnTo>
                  <a:lnTo>
                    <a:pt x="134686" y="359632"/>
                  </a:lnTo>
                  <a:lnTo>
                    <a:pt x="133862" y="359129"/>
                  </a:lnTo>
                  <a:lnTo>
                    <a:pt x="132211" y="359129"/>
                  </a:lnTo>
                  <a:lnTo>
                    <a:pt x="130660" y="359444"/>
                  </a:lnTo>
                  <a:close/>
                  <a:moveTo>
                    <a:pt x="123886" y="349985"/>
                  </a:moveTo>
                  <a:lnTo>
                    <a:pt x="124356" y="349993"/>
                  </a:lnTo>
                  <a:lnTo>
                    <a:pt x="124547" y="350331"/>
                  </a:lnTo>
                  <a:lnTo>
                    <a:pt x="123771" y="352219"/>
                  </a:lnTo>
                  <a:lnTo>
                    <a:pt x="121745" y="351582"/>
                  </a:lnTo>
                  <a:lnTo>
                    <a:pt x="121587" y="351086"/>
                  </a:lnTo>
                  <a:close/>
                  <a:moveTo>
                    <a:pt x="151070" y="313354"/>
                  </a:moveTo>
                  <a:lnTo>
                    <a:pt x="154798" y="314483"/>
                  </a:lnTo>
                  <a:lnTo>
                    <a:pt x="156537" y="315778"/>
                  </a:lnTo>
                  <a:lnTo>
                    <a:pt x="154684" y="316783"/>
                  </a:lnTo>
                  <a:lnTo>
                    <a:pt x="154099" y="317960"/>
                  </a:lnTo>
                  <a:lnTo>
                    <a:pt x="153651" y="318425"/>
                  </a:lnTo>
                  <a:lnTo>
                    <a:pt x="152426" y="318728"/>
                  </a:lnTo>
                  <a:lnTo>
                    <a:pt x="151214" y="318736"/>
                  </a:lnTo>
                  <a:lnTo>
                    <a:pt x="146592" y="316373"/>
                  </a:lnTo>
                  <a:lnTo>
                    <a:pt x="145528" y="316480"/>
                  </a:lnTo>
                  <a:lnTo>
                    <a:pt x="146584" y="315397"/>
                  </a:lnTo>
                  <a:lnTo>
                    <a:pt x="149455" y="314517"/>
                  </a:lnTo>
                  <a:close/>
                  <a:moveTo>
                    <a:pt x="81441" y="235014"/>
                  </a:moveTo>
                  <a:lnTo>
                    <a:pt x="84683" y="235075"/>
                  </a:lnTo>
                  <a:lnTo>
                    <a:pt x="87299" y="237958"/>
                  </a:lnTo>
                  <a:lnTo>
                    <a:pt x="88226" y="238517"/>
                  </a:lnTo>
                  <a:lnTo>
                    <a:pt x="90559" y="238429"/>
                  </a:lnTo>
                  <a:lnTo>
                    <a:pt x="89787" y="239675"/>
                  </a:lnTo>
                  <a:lnTo>
                    <a:pt x="87220" y="241064"/>
                  </a:lnTo>
                  <a:lnTo>
                    <a:pt x="85490" y="242434"/>
                  </a:lnTo>
                  <a:lnTo>
                    <a:pt x="83402" y="243581"/>
                  </a:lnTo>
                  <a:lnTo>
                    <a:pt x="82389" y="242265"/>
                  </a:lnTo>
                  <a:lnTo>
                    <a:pt x="81214" y="242315"/>
                  </a:lnTo>
                  <a:lnTo>
                    <a:pt x="79418" y="239791"/>
                  </a:lnTo>
                  <a:lnTo>
                    <a:pt x="79094" y="236001"/>
                  </a:lnTo>
                  <a:close/>
                  <a:moveTo>
                    <a:pt x="82259" y="205081"/>
                  </a:moveTo>
                  <a:lnTo>
                    <a:pt x="82904" y="205211"/>
                  </a:lnTo>
                  <a:lnTo>
                    <a:pt x="83310" y="205526"/>
                  </a:lnTo>
                  <a:lnTo>
                    <a:pt x="84177" y="209288"/>
                  </a:lnTo>
                  <a:lnTo>
                    <a:pt x="82976" y="210618"/>
                  </a:lnTo>
                  <a:lnTo>
                    <a:pt x="82539" y="211836"/>
                  </a:lnTo>
                  <a:lnTo>
                    <a:pt x="78068" y="215684"/>
                  </a:lnTo>
                  <a:lnTo>
                    <a:pt x="76259" y="214993"/>
                  </a:lnTo>
                  <a:lnTo>
                    <a:pt x="74718" y="215358"/>
                  </a:lnTo>
                  <a:lnTo>
                    <a:pt x="74285" y="215248"/>
                  </a:lnTo>
                  <a:lnTo>
                    <a:pt x="75165" y="213859"/>
                  </a:lnTo>
                  <a:lnTo>
                    <a:pt x="76200" y="210633"/>
                  </a:lnTo>
                  <a:lnTo>
                    <a:pt x="78055" y="209353"/>
                  </a:lnTo>
                  <a:lnTo>
                    <a:pt x="80403" y="206010"/>
                  </a:lnTo>
                  <a:close/>
                  <a:moveTo>
                    <a:pt x="39128" y="179485"/>
                  </a:moveTo>
                  <a:lnTo>
                    <a:pt x="42247" y="180254"/>
                  </a:lnTo>
                  <a:lnTo>
                    <a:pt x="44571" y="180238"/>
                  </a:lnTo>
                  <a:lnTo>
                    <a:pt x="46635" y="182483"/>
                  </a:lnTo>
                  <a:lnTo>
                    <a:pt x="47742" y="186017"/>
                  </a:lnTo>
                  <a:lnTo>
                    <a:pt x="50319" y="189504"/>
                  </a:lnTo>
                  <a:lnTo>
                    <a:pt x="53688" y="192534"/>
                  </a:lnTo>
                  <a:lnTo>
                    <a:pt x="53822" y="194385"/>
                  </a:lnTo>
                  <a:lnTo>
                    <a:pt x="52619" y="195378"/>
                  </a:lnTo>
                  <a:lnTo>
                    <a:pt x="50100" y="196612"/>
                  </a:lnTo>
                  <a:lnTo>
                    <a:pt x="50111" y="197930"/>
                  </a:lnTo>
                  <a:lnTo>
                    <a:pt x="51772" y="197265"/>
                  </a:lnTo>
                  <a:lnTo>
                    <a:pt x="53206" y="196958"/>
                  </a:lnTo>
                  <a:lnTo>
                    <a:pt x="56658" y="197253"/>
                  </a:lnTo>
                  <a:lnTo>
                    <a:pt x="57865" y="198593"/>
                  </a:lnTo>
                  <a:lnTo>
                    <a:pt x="58699" y="200597"/>
                  </a:lnTo>
                  <a:lnTo>
                    <a:pt x="59137" y="202242"/>
                  </a:lnTo>
                  <a:lnTo>
                    <a:pt x="58839" y="204029"/>
                  </a:lnTo>
                  <a:lnTo>
                    <a:pt x="57910" y="203463"/>
                  </a:lnTo>
                  <a:lnTo>
                    <a:pt x="56966" y="201864"/>
                  </a:lnTo>
                  <a:lnTo>
                    <a:pt x="55918" y="201127"/>
                  </a:lnTo>
                  <a:lnTo>
                    <a:pt x="54699" y="200729"/>
                  </a:lnTo>
                  <a:lnTo>
                    <a:pt x="55252" y="202924"/>
                  </a:lnTo>
                  <a:lnTo>
                    <a:pt x="55034" y="205857"/>
                  </a:lnTo>
                  <a:lnTo>
                    <a:pt x="55566" y="206133"/>
                  </a:lnTo>
                  <a:lnTo>
                    <a:pt x="57204" y="206184"/>
                  </a:lnTo>
                  <a:lnTo>
                    <a:pt x="56121" y="209183"/>
                  </a:lnTo>
                  <a:lnTo>
                    <a:pt x="53882" y="209996"/>
                  </a:lnTo>
                  <a:lnTo>
                    <a:pt x="51270" y="210300"/>
                  </a:lnTo>
                  <a:lnTo>
                    <a:pt x="50640" y="211361"/>
                  </a:lnTo>
                  <a:lnTo>
                    <a:pt x="50166" y="212727"/>
                  </a:lnTo>
                  <a:lnTo>
                    <a:pt x="48803" y="214762"/>
                  </a:lnTo>
                  <a:lnTo>
                    <a:pt x="47005" y="215909"/>
                  </a:lnTo>
                  <a:lnTo>
                    <a:pt x="44783" y="215678"/>
                  </a:lnTo>
                  <a:lnTo>
                    <a:pt x="42606" y="214772"/>
                  </a:lnTo>
                  <a:lnTo>
                    <a:pt x="40712" y="214586"/>
                  </a:lnTo>
                  <a:lnTo>
                    <a:pt x="39385" y="215125"/>
                  </a:lnTo>
                  <a:lnTo>
                    <a:pt x="38524" y="215625"/>
                  </a:lnTo>
                  <a:lnTo>
                    <a:pt x="37691" y="215534"/>
                  </a:lnTo>
                  <a:lnTo>
                    <a:pt x="35306" y="215727"/>
                  </a:lnTo>
                  <a:lnTo>
                    <a:pt x="33058" y="215686"/>
                  </a:lnTo>
                  <a:lnTo>
                    <a:pt x="32739" y="214892"/>
                  </a:lnTo>
                  <a:lnTo>
                    <a:pt x="33122" y="212503"/>
                  </a:lnTo>
                  <a:lnTo>
                    <a:pt x="32622" y="211855"/>
                  </a:lnTo>
                  <a:lnTo>
                    <a:pt x="30475" y="211524"/>
                  </a:lnTo>
                  <a:lnTo>
                    <a:pt x="29679" y="210954"/>
                  </a:lnTo>
                  <a:lnTo>
                    <a:pt x="28446" y="209302"/>
                  </a:lnTo>
                  <a:lnTo>
                    <a:pt x="28206" y="208528"/>
                  </a:lnTo>
                  <a:lnTo>
                    <a:pt x="28029" y="207461"/>
                  </a:lnTo>
                  <a:lnTo>
                    <a:pt x="26726" y="206083"/>
                  </a:lnTo>
                  <a:lnTo>
                    <a:pt x="25144" y="205096"/>
                  </a:lnTo>
                  <a:lnTo>
                    <a:pt x="24215" y="205048"/>
                  </a:lnTo>
                  <a:lnTo>
                    <a:pt x="22362" y="206660"/>
                  </a:lnTo>
                  <a:lnTo>
                    <a:pt x="20834" y="208292"/>
                  </a:lnTo>
                  <a:lnTo>
                    <a:pt x="21377" y="209111"/>
                  </a:lnTo>
                  <a:lnTo>
                    <a:pt x="21876" y="210189"/>
                  </a:lnTo>
                  <a:lnTo>
                    <a:pt x="21045" y="210961"/>
                  </a:lnTo>
                  <a:lnTo>
                    <a:pt x="18532" y="212728"/>
                  </a:lnTo>
                  <a:lnTo>
                    <a:pt x="18139" y="213414"/>
                  </a:lnTo>
                  <a:lnTo>
                    <a:pt x="17461" y="213785"/>
                  </a:lnTo>
                  <a:lnTo>
                    <a:pt x="16261" y="213296"/>
                  </a:lnTo>
                  <a:lnTo>
                    <a:pt x="13276" y="213409"/>
                  </a:lnTo>
                  <a:lnTo>
                    <a:pt x="11902" y="213097"/>
                  </a:lnTo>
                  <a:lnTo>
                    <a:pt x="10305" y="211796"/>
                  </a:lnTo>
                  <a:lnTo>
                    <a:pt x="6410" y="210925"/>
                  </a:lnTo>
                  <a:lnTo>
                    <a:pt x="5757" y="208841"/>
                  </a:lnTo>
                  <a:lnTo>
                    <a:pt x="5005" y="208451"/>
                  </a:lnTo>
                  <a:lnTo>
                    <a:pt x="587" y="204865"/>
                  </a:lnTo>
                  <a:lnTo>
                    <a:pt x="0" y="203667"/>
                  </a:lnTo>
                  <a:lnTo>
                    <a:pt x="572" y="202952"/>
                  </a:lnTo>
                  <a:lnTo>
                    <a:pt x="2222" y="201868"/>
                  </a:lnTo>
                  <a:lnTo>
                    <a:pt x="7762" y="200072"/>
                  </a:lnTo>
                  <a:lnTo>
                    <a:pt x="8633" y="199348"/>
                  </a:lnTo>
                  <a:lnTo>
                    <a:pt x="8812" y="198709"/>
                  </a:lnTo>
                  <a:lnTo>
                    <a:pt x="7186" y="197979"/>
                  </a:lnTo>
                  <a:lnTo>
                    <a:pt x="5720" y="197172"/>
                  </a:lnTo>
                  <a:lnTo>
                    <a:pt x="5220" y="196643"/>
                  </a:lnTo>
                  <a:lnTo>
                    <a:pt x="5179" y="196184"/>
                  </a:lnTo>
                  <a:lnTo>
                    <a:pt x="6011" y="195586"/>
                  </a:lnTo>
                  <a:lnTo>
                    <a:pt x="7685" y="195543"/>
                  </a:lnTo>
                  <a:lnTo>
                    <a:pt x="9007" y="195813"/>
                  </a:lnTo>
                  <a:lnTo>
                    <a:pt x="10057" y="195275"/>
                  </a:lnTo>
                  <a:lnTo>
                    <a:pt x="11904" y="194734"/>
                  </a:lnTo>
                  <a:lnTo>
                    <a:pt x="13144" y="194052"/>
                  </a:lnTo>
                  <a:lnTo>
                    <a:pt x="14210" y="192290"/>
                  </a:lnTo>
                  <a:lnTo>
                    <a:pt x="15336" y="190705"/>
                  </a:lnTo>
                  <a:lnTo>
                    <a:pt x="15452" y="189845"/>
                  </a:lnTo>
                  <a:lnTo>
                    <a:pt x="16438" y="186828"/>
                  </a:lnTo>
                  <a:lnTo>
                    <a:pt x="16980" y="186079"/>
                  </a:lnTo>
                  <a:lnTo>
                    <a:pt x="20479" y="184101"/>
                  </a:lnTo>
                  <a:lnTo>
                    <a:pt x="21365" y="185181"/>
                  </a:lnTo>
                  <a:lnTo>
                    <a:pt x="23089" y="185445"/>
                  </a:lnTo>
                  <a:lnTo>
                    <a:pt x="24634" y="184451"/>
                  </a:lnTo>
                  <a:lnTo>
                    <a:pt x="26483" y="181313"/>
                  </a:lnTo>
                  <a:lnTo>
                    <a:pt x="27769" y="181116"/>
                  </a:lnTo>
                  <a:lnTo>
                    <a:pt x="29187" y="181370"/>
                  </a:lnTo>
                  <a:lnTo>
                    <a:pt x="31974" y="180975"/>
                  </a:lnTo>
                  <a:lnTo>
                    <a:pt x="36922" y="179509"/>
                  </a:lnTo>
                  <a:close/>
                  <a:moveTo>
                    <a:pt x="63975" y="164784"/>
                  </a:moveTo>
                  <a:lnTo>
                    <a:pt x="65438" y="165590"/>
                  </a:lnTo>
                  <a:lnTo>
                    <a:pt x="65992" y="166340"/>
                  </a:lnTo>
                  <a:lnTo>
                    <a:pt x="67217" y="169218"/>
                  </a:lnTo>
                  <a:lnTo>
                    <a:pt x="67444" y="171683"/>
                  </a:lnTo>
                  <a:lnTo>
                    <a:pt x="67207" y="173091"/>
                  </a:lnTo>
                  <a:lnTo>
                    <a:pt x="64420" y="173114"/>
                  </a:lnTo>
                  <a:lnTo>
                    <a:pt x="63412" y="172847"/>
                  </a:lnTo>
                  <a:lnTo>
                    <a:pt x="62208" y="172095"/>
                  </a:lnTo>
                  <a:lnTo>
                    <a:pt x="60856" y="167842"/>
                  </a:lnTo>
                  <a:lnTo>
                    <a:pt x="61339" y="166336"/>
                  </a:lnTo>
                  <a:lnTo>
                    <a:pt x="61894" y="165598"/>
                  </a:lnTo>
                  <a:lnTo>
                    <a:pt x="62504" y="165025"/>
                  </a:lnTo>
                  <a:close/>
                  <a:moveTo>
                    <a:pt x="44576" y="158143"/>
                  </a:moveTo>
                  <a:lnTo>
                    <a:pt x="45374" y="162138"/>
                  </a:lnTo>
                  <a:lnTo>
                    <a:pt x="46152" y="164611"/>
                  </a:lnTo>
                  <a:lnTo>
                    <a:pt x="46203" y="165455"/>
                  </a:lnTo>
                  <a:lnTo>
                    <a:pt x="45472" y="166628"/>
                  </a:lnTo>
                  <a:lnTo>
                    <a:pt x="41828" y="168187"/>
                  </a:lnTo>
                  <a:lnTo>
                    <a:pt x="40681" y="168196"/>
                  </a:lnTo>
                  <a:lnTo>
                    <a:pt x="40633" y="167818"/>
                  </a:lnTo>
                  <a:lnTo>
                    <a:pt x="41456" y="166231"/>
                  </a:lnTo>
                  <a:lnTo>
                    <a:pt x="40747" y="164429"/>
                  </a:lnTo>
                  <a:lnTo>
                    <a:pt x="41093" y="163059"/>
                  </a:lnTo>
                  <a:lnTo>
                    <a:pt x="40754" y="162807"/>
                  </a:lnTo>
                  <a:lnTo>
                    <a:pt x="40043" y="163001"/>
                  </a:lnTo>
                  <a:lnTo>
                    <a:pt x="37433" y="165178"/>
                  </a:lnTo>
                  <a:lnTo>
                    <a:pt x="36561" y="165393"/>
                  </a:lnTo>
                  <a:lnTo>
                    <a:pt x="36466" y="164951"/>
                  </a:lnTo>
                  <a:lnTo>
                    <a:pt x="37112" y="163168"/>
                  </a:lnTo>
                  <a:lnTo>
                    <a:pt x="37192" y="161948"/>
                  </a:lnTo>
                  <a:lnTo>
                    <a:pt x="37581" y="161198"/>
                  </a:lnTo>
                  <a:lnTo>
                    <a:pt x="38290" y="160506"/>
                  </a:lnTo>
                  <a:lnTo>
                    <a:pt x="39135" y="159986"/>
                  </a:lnTo>
                  <a:lnTo>
                    <a:pt x="39817" y="159912"/>
                  </a:lnTo>
                  <a:lnTo>
                    <a:pt x="40543" y="160448"/>
                  </a:lnTo>
                  <a:lnTo>
                    <a:pt x="42657" y="158952"/>
                  </a:lnTo>
                  <a:close/>
                  <a:moveTo>
                    <a:pt x="52683" y="152228"/>
                  </a:moveTo>
                  <a:lnTo>
                    <a:pt x="53504" y="152283"/>
                  </a:lnTo>
                  <a:lnTo>
                    <a:pt x="51910" y="155806"/>
                  </a:lnTo>
                  <a:lnTo>
                    <a:pt x="48088" y="161752"/>
                  </a:lnTo>
                  <a:lnTo>
                    <a:pt x="47627" y="162086"/>
                  </a:lnTo>
                  <a:lnTo>
                    <a:pt x="46507" y="161994"/>
                  </a:lnTo>
                  <a:lnTo>
                    <a:pt x="46092" y="161493"/>
                  </a:lnTo>
                  <a:lnTo>
                    <a:pt x="45863" y="160723"/>
                  </a:lnTo>
                  <a:lnTo>
                    <a:pt x="45835" y="159309"/>
                  </a:lnTo>
                  <a:lnTo>
                    <a:pt x="46513" y="158297"/>
                  </a:lnTo>
                  <a:lnTo>
                    <a:pt x="49377" y="156767"/>
                  </a:lnTo>
                  <a:lnTo>
                    <a:pt x="48083" y="156224"/>
                  </a:lnTo>
                  <a:lnTo>
                    <a:pt x="48031" y="155842"/>
                  </a:lnTo>
                  <a:lnTo>
                    <a:pt x="48774" y="154570"/>
                  </a:lnTo>
                  <a:lnTo>
                    <a:pt x="51857" y="152588"/>
                  </a:lnTo>
                  <a:close/>
                  <a:moveTo>
                    <a:pt x="44369" y="135637"/>
                  </a:moveTo>
                  <a:lnTo>
                    <a:pt x="45155" y="135769"/>
                  </a:lnTo>
                  <a:lnTo>
                    <a:pt x="46772" y="136896"/>
                  </a:lnTo>
                  <a:lnTo>
                    <a:pt x="48605" y="139261"/>
                  </a:lnTo>
                  <a:lnTo>
                    <a:pt x="51052" y="139637"/>
                  </a:lnTo>
                  <a:lnTo>
                    <a:pt x="52715" y="140638"/>
                  </a:lnTo>
                  <a:lnTo>
                    <a:pt x="52338" y="145224"/>
                  </a:lnTo>
                  <a:lnTo>
                    <a:pt x="43531" y="146965"/>
                  </a:lnTo>
                  <a:lnTo>
                    <a:pt x="40496" y="146811"/>
                  </a:lnTo>
                  <a:lnTo>
                    <a:pt x="40222" y="145957"/>
                  </a:lnTo>
                  <a:lnTo>
                    <a:pt x="40826" y="145386"/>
                  </a:lnTo>
                  <a:lnTo>
                    <a:pt x="43339" y="144831"/>
                  </a:lnTo>
                  <a:lnTo>
                    <a:pt x="44356" y="140639"/>
                  </a:lnTo>
                  <a:lnTo>
                    <a:pt x="40557" y="138708"/>
                  </a:lnTo>
                  <a:lnTo>
                    <a:pt x="40358" y="138165"/>
                  </a:lnTo>
                  <a:lnTo>
                    <a:pt x="40655" y="137243"/>
                  </a:lnTo>
                  <a:lnTo>
                    <a:pt x="41095" y="136832"/>
                  </a:lnTo>
                  <a:lnTo>
                    <a:pt x="43400" y="135854"/>
                  </a:lnTo>
                  <a:close/>
                  <a:moveTo>
                    <a:pt x="36236" y="134929"/>
                  </a:moveTo>
                  <a:lnTo>
                    <a:pt x="36731" y="135137"/>
                  </a:lnTo>
                  <a:lnTo>
                    <a:pt x="35705" y="136368"/>
                  </a:lnTo>
                  <a:lnTo>
                    <a:pt x="33991" y="137675"/>
                  </a:lnTo>
                  <a:lnTo>
                    <a:pt x="32734" y="137850"/>
                  </a:lnTo>
                  <a:lnTo>
                    <a:pt x="32643" y="137405"/>
                  </a:lnTo>
                  <a:lnTo>
                    <a:pt x="34824" y="135279"/>
                  </a:lnTo>
                  <a:close/>
                  <a:moveTo>
                    <a:pt x="15243" y="124000"/>
                  </a:moveTo>
                  <a:lnTo>
                    <a:pt x="16322" y="124589"/>
                  </a:lnTo>
                  <a:lnTo>
                    <a:pt x="16493" y="125125"/>
                  </a:lnTo>
                  <a:lnTo>
                    <a:pt x="16096" y="125691"/>
                  </a:lnTo>
                  <a:lnTo>
                    <a:pt x="14152" y="126126"/>
                  </a:lnTo>
                  <a:lnTo>
                    <a:pt x="13431" y="125871"/>
                  </a:lnTo>
                  <a:lnTo>
                    <a:pt x="13308" y="125472"/>
                  </a:lnTo>
                  <a:lnTo>
                    <a:pt x="13751" y="124384"/>
                  </a:lnTo>
                  <a:close/>
                  <a:moveTo>
                    <a:pt x="40298" y="123001"/>
                  </a:moveTo>
                  <a:lnTo>
                    <a:pt x="41274" y="123606"/>
                  </a:lnTo>
                  <a:lnTo>
                    <a:pt x="41649" y="124298"/>
                  </a:lnTo>
                  <a:lnTo>
                    <a:pt x="41665" y="125065"/>
                  </a:lnTo>
                  <a:lnTo>
                    <a:pt x="41256" y="125714"/>
                  </a:lnTo>
                  <a:lnTo>
                    <a:pt x="40600" y="126121"/>
                  </a:lnTo>
                  <a:lnTo>
                    <a:pt x="39770" y="126043"/>
                  </a:lnTo>
                  <a:lnTo>
                    <a:pt x="38948" y="125518"/>
                  </a:lnTo>
                  <a:lnTo>
                    <a:pt x="37860" y="124032"/>
                  </a:lnTo>
                  <a:close/>
                  <a:moveTo>
                    <a:pt x="18761" y="112439"/>
                  </a:moveTo>
                  <a:lnTo>
                    <a:pt x="19407" y="112818"/>
                  </a:lnTo>
                  <a:lnTo>
                    <a:pt x="19840" y="120602"/>
                  </a:lnTo>
                  <a:lnTo>
                    <a:pt x="19790" y="120951"/>
                  </a:lnTo>
                  <a:lnTo>
                    <a:pt x="18857" y="121127"/>
                  </a:lnTo>
                  <a:lnTo>
                    <a:pt x="17632" y="120957"/>
                  </a:lnTo>
                  <a:lnTo>
                    <a:pt x="16879" y="120465"/>
                  </a:lnTo>
                  <a:lnTo>
                    <a:pt x="16117" y="118518"/>
                  </a:lnTo>
                  <a:lnTo>
                    <a:pt x="15975" y="117339"/>
                  </a:lnTo>
                  <a:lnTo>
                    <a:pt x="16314" y="115145"/>
                  </a:lnTo>
                  <a:lnTo>
                    <a:pt x="16236" y="112521"/>
                  </a:lnTo>
                  <a:close/>
                  <a:moveTo>
                    <a:pt x="40661" y="103259"/>
                  </a:moveTo>
                  <a:lnTo>
                    <a:pt x="41966" y="103921"/>
                  </a:lnTo>
                  <a:lnTo>
                    <a:pt x="43754" y="106023"/>
                  </a:lnTo>
                  <a:lnTo>
                    <a:pt x="44226" y="108582"/>
                  </a:lnTo>
                  <a:lnTo>
                    <a:pt x="44195" y="109988"/>
                  </a:lnTo>
                  <a:lnTo>
                    <a:pt x="43805" y="111640"/>
                  </a:lnTo>
                  <a:lnTo>
                    <a:pt x="44313" y="113393"/>
                  </a:lnTo>
                  <a:lnTo>
                    <a:pt x="44429" y="114645"/>
                  </a:lnTo>
                  <a:lnTo>
                    <a:pt x="45361" y="115043"/>
                  </a:lnTo>
                  <a:lnTo>
                    <a:pt x="45931" y="115619"/>
                  </a:lnTo>
                  <a:lnTo>
                    <a:pt x="50074" y="116264"/>
                  </a:lnTo>
                  <a:lnTo>
                    <a:pt x="53927" y="116083"/>
                  </a:lnTo>
                  <a:lnTo>
                    <a:pt x="54669" y="116598"/>
                  </a:lnTo>
                  <a:lnTo>
                    <a:pt x="54753" y="117416"/>
                  </a:lnTo>
                  <a:lnTo>
                    <a:pt x="54144" y="118318"/>
                  </a:lnTo>
                  <a:lnTo>
                    <a:pt x="51950" y="119963"/>
                  </a:lnTo>
                  <a:lnTo>
                    <a:pt x="49333" y="122618"/>
                  </a:lnTo>
                  <a:lnTo>
                    <a:pt x="48553" y="123171"/>
                  </a:lnTo>
                  <a:lnTo>
                    <a:pt x="47707" y="123194"/>
                  </a:lnTo>
                  <a:lnTo>
                    <a:pt x="47100" y="122956"/>
                  </a:lnTo>
                  <a:lnTo>
                    <a:pt x="46666" y="118230"/>
                  </a:lnTo>
                  <a:lnTo>
                    <a:pt x="43828" y="118835"/>
                  </a:lnTo>
                  <a:lnTo>
                    <a:pt x="41542" y="118766"/>
                  </a:lnTo>
                  <a:lnTo>
                    <a:pt x="40291" y="118190"/>
                  </a:lnTo>
                  <a:lnTo>
                    <a:pt x="39413" y="117080"/>
                  </a:lnTo>
                  <a:lnTo>
                    <a:pt x="37643" y="114224"/>
                  </a:lnTo>
                  <a:lnTo>
                    <a:pt x="32491" y="113100"/>
                  </a:lnTo>
                  <a:lnTo>
                    <a:pt x="31034" y="111525"/>
                  </a:lnTo>
                  <a:lnTo>
                    <a:pt x="30596" y="110573"/>
                  </a:lnTo>
                  <a:lnTo>
                    <a:pt x="30782" y="110047"/>
                  </a:lnTo>
                  <a:lnTo>
                    <a:pt x="31855" y="108875"/>
                  </a:lnTo>
                  <a:lnTo>
                    <a:pt x="33198" y="109293"/>
                  </a:lnTo>
                  <a:lnTo>
                    <a:pt x="34029" y="109037"/>
                  </a:lnTo>
                  <a:lnTo>
                    <a:pt x="34535" y="108513"/>
                  </a:lnTo>
                  <a:lnTo>
                    <a:pt x="34524" y="108083"/>
                  </a:lnTo>
                  <a:lnTo>
                    <a:pt x="33821" y="107061"/>
                  </a:lnTo>
                  <a:lnTo>
                    <a:pt x="33788" y="106743"/>
                  </a:lnTo>
                  <a:lnTo>
                    <a:pt x="39057" y="105449"/>
                  </a:lnTo>
                  <a:lnTo>
                    <a:pt x="39517" y="103424"/>
                  </a:lnTo>
                  <a:close/>
                  <a:moveTo>
                    <a:pt x="20769" y="102908"/>
                  </a:moveTo>
                  <a:lnTo>
                    <a:pt x="23263" y="104705"/>
                  </a:lnTo>
                  <a:lnTo>
                    <a:pt x="21276" y="107680"/>
                  </a:lnTo>
                  <a:lnTo>
                    <a:pt x="18226" y="107666"/>
                  </a:lnTo>
                  <a:lnTo>
                    <a:pt x="13932" y="105492"/>
                  </a:lnTo>
                  <a:lnTo>
                    <a:pt x="13913" y="105049"/>
                  </a:lnTo>
                  <a:lnTo>
                    <a:pt x="14271" y="104396"/>
                  </a:lnTo>
                  <a:lnTo>
                    <a:pt x="14915" y="103879"/>
                  </a:lnTo>
                  <a:lnTo>
                    <a:pt x="15584" y="103756"/>
                  </a:lnTo>
                  <a:lnTo>
                    <a:pt x="16649" y="104113"/>
                  </a:lnTo>
                  <a:lnTo>
                    <a:pt x="18131" y="103541"/>
                  </a:lnTo>
                  <a:lnTo>
                    <a:pt x="19318" y="103722"/>
                  </a:lnTo>
                  <a:close/>
                  <a:moveTo>
                    <a:pt x="42176" y="76583"/>
                  </a:moveTo>
                  <a:lnTo>
                    <a:pt x="42574" y="77039"/>
                  </a:lnTo>
                  <a:lnTo>
                    <a:pt x="43131" y="78770"/>
                  </a:lnTo>
                  <a:lnTo>
                    <a:pt x="43033" y="81087"/>
                  </a:lnTo>
                  <a:lnTo>
                    <a:pt x="40222" y="86702"/>
                  </a:lnTo>
                  <a:lnTo>
                    <a:pt x="39121" y="86840"/>
                  </a:lnTo>
                  <a:lnTo>
                    <a:pt x="38155" y="88241"/>
                  </a:lnTo>
                  <a:lnTo>
                    <a:pt x="35163" y="89786"/>
                  </a:lnTo>
                  <a:lnTo>
                    <a:pt x="37774" y="89818"/>
                  </a:lnTo>
                  <a:lnTo>
                    <a:pt x="38507" y="90332"/>
                  </a:lnTo>
                  <a:lnTo>
                    <a:pt x="38528" y="91440"/>
                  </a:lnTo>
                  <a:lnTo>
                    <a:pt x="38025" y="92084"/>
                  </a:lnTo>
                  <a:lnTo>
                    <a:pt x="34643" y="94646"/>
                  </a:lnTo>
                  <a:lnTo>
                    <a:pt x="32317" y="95617"/>
                  </a:lnTo>
                  <a:lnTo>
                    <a:pt x="29812" y="98289"/>
                  </a:lnTo>
                  <a:lnTo>
                    <a:pt x="28548" y="98322"/>
                  </a:lnTo>
                  <a:lnTo>
                    <a:pt x="27296" y="100020"/>
                  </a:lnTo>
                  <a:lnTo>
                    <a:pt x="26266" y="100766"/>
                  </a:lnTo>
                  <a:lnTo>
                    <a:pt x="25688" y="100768"/>
                  </a:lnTo>
                  <a:lnTo>
                    <a:pt x="25023" y="100392"/>
                  </a:lnTo>
                  <a:lnTo>
                    <a:pt x="23469" y="98730"/>
                  </a:lnTo>
                  <a:lnTo>
                    <a:pt x="26288" y="97094"/>
                  </a:lnTo>
                  <a:lnTo>
                    <a:pt x="26549" y="96174"/>
                  </a:lnTo>
                  <a:lnTo>
                    <a:pt x="28480" y="95217"/>
                  </a:lnTo>
                  <a:lnTo>
                    <a:pt x="28318" y="94918"/>
                  </a:lnTo>
                  <a:lnTo>
                    <a:pt x="25258" y="93571"/>
                  </a:lnTo>
                  <a:lnTo>
                    <a:pt x="24052" y="92664"/>
                  </a:lnTo>
                  <a:lnTo>
                    <a:pt x="24166" y="92190"/>
                  </a:lnTo>
                  <a:lnTo>
                    <a:pt x="25639" y="91147"/>
                  </a:lnTo>
                  <a:lnTo>
                    <a:pt x="24941" y="91009"/>
                  </a:lnTo>
                  <a:lnTo>
                    <a:pt x="24469" y="90446"/>
                  </a:lnTo>
                  <a:lnTo>
                    <a:pt x="23614" y="90232"/>
                  </a:lnTo>
                  <a:lnTo>
                    <a:pt x="23358" y="89707"/>
                  </a:lnTo>
                  <a:lnTo>
                    <a:pt x="23200" y="88328"/>
                  </a:lnTo>
                  <a:lnTo>
                    <a:pt x="23429" y="86917"/>
                  </a:lnTo>
                  <a:lnTo>
                    <a:pt x="24321" y="86294"/>
                  </a:lnTo>
                  <a:lnTo>
                    <a:pt x="24686" y="85626"/>
                  </a:lnTo>
                  <a:lnTo>
                    <a:pt x="25047" y="85421"/>
                  </a:lnTo>
                  <a:lnTo>
                    <a:pt x="26429" y="85776"/>
                  </a:lnTo>
                  <a:lnTo>
                    <a:pt x="27830" y="86905"/>
                  </a:lnTo>
                  <a:lnTo>
                    <a:pt x="29465" y="86470"/>
                  </a:lnTo>
                  <a:lnTo>
                    <a:pt x="31363" y="86685"/>
                  </a:lnTo>
                  <a:lnTo>
                    <a:pt x="31402" y="86423"/>
                  </a:lnTo>
                  <a:lnTo>
                    <a:pt x="30008" y="83645"/>
                  </a:lnTo>
                  <a:lnTo>
                    <a:pt x="30257" y="83077"/>
                  </a:lnTo>
                  <a:lnTo>
                    <a:pt x="31013" y="82429"/>
                  </a:lnTo>
                  <a:lnTo>
                    <a:pt x="35393" y="80446"/>
                  </a:lnTo>
                  <a:lnTo>
                    <a:pt x="40855" y="77107"/>
                  </a:lnTo>
                  <a:close/>
                  <a:moveTo>
                    <a:pt x="108033" y="71824"/>
                  </a:moveTo>
                  <a:lnTo>
                    <a:pt x="112589" y="72316"/>
                  </a:lnTo>
                  <a:lnTo>
                    <a:pt x="112741" y="72940"/>
                  </a:lnTo>
                  <a:lnTo>
                    <a:pt x="112503" y="73806"/>
                  </a:lnTo>
                  <a:lnTo>
                    <a:pt x="111337" y="76175"/>
                  </a:lnTo>
                  <a:lnTo>
                    <a:pt x="111527" y="78816"/>
                  </a:lnTo>
                  <a:lnTo>
                    <a:pt x="111267" y="79616"/>
                  </a:lnTo>
                  <a:lnTo>
                    <a:pt x="110738" y="80602"/>
                  </a:lnTo>
                  <a:lnTo>
                    <a:pt x="109067" y="82442"/>
                  </a:lnTo>
                  <a:lnTo>
                    <a:pt x="104675" y="85069"/>
                  </a:lnTo>
                  <a:lnTo>
                    <a:pt x="96626" y="91095"/>
                  </a:lnTo>
                  <a:lnTo>
                    <a:pt x="91871" y="94080"/>
                  </a:lnTo>
                  <a:lnTo>
                    <a:pt x="91217" y="95514"/>
                  </a:lnTo>
                  <a:lnTo>
                    <a:pt x="90864" y="97507"/>
                  </a:lnTo>
                  <a:lnTo>
                    <a:pt x="93711" y="97902"/>
                  </a:lnTo>
                  <a:lnTo>
                    <a:pt x="94810" y="98577"/>
                  </a:lnTo>
                  <a:lnTo>
                    <a:pt x="94128" y="99588"/>
                  </a:lnTo>
                  <a:lnTo>
                    <a:pt x="89917" y="103097"/>
                  </a:lnTo>
                  <a:lnTo>
                    <a:pt x="88676" y="106264"/>
                  </a:lnTo>
                  <a:lnTo>
                    <a:pt x="91905" y="106152"/>
                  </a:lnTo>
                  <a:lnTo>
                    <a:pt x="94566" y="105544"/>
                  </a:lnTo>
                  <a:lnTo>
                    <a:pt x="99872" y="103569"/>
                  </a:lnTo>
                  <a:lnTo>
                    <a:pt x="104856" y="102101"/>
                  </a:lnTo>
                  <a:lnTo>
                    <a:pt x="107250" y="102040"/>
                  </a:lnTo>
                  <a:lnTo>
                    <a:pt x="111907" y="103211"/>
                  </a:lnTo>
                  <a:lnTo>
                    <a:pt x="112966" y="103248"/>
                  </a:lnTo>
                  <a:lnTo>
                    <a:pt x="114942" y="102707"/>
                  </a:lnTo>
                  <a:lnTo>
                    <a:pt x="116940" y="102611"/>
                  </a:lnTo>
                  <a:lnTo>
                    <a:pt x="130476" y="102975"/>
                  </a:lnTo>
                  <a:lnTo>
                    <a:pt x="134237" y="102288"/>
                  </a:lnTo>
                  <a:lnTo>
                    <a:pt x="136725" y="103110"/>
                  </a:lnTo>
                  <a:lnTo>
                    <a:pt x="138807" y="105161"/>
                  </a:lnTo>
                  <a:lnTo>
                    <a:pt x="140785" y="108939"/>
                  </a:lnTo>
                  <a:lnTo>
                    <a:pt x="140725" y="109567"/>
                  </a:lnTo>
                  <a:lnTo>
                    <a:pt x="139530" y="111286"/>
                  </a:lnTo>
                  <a:lnTo>
                    <a:pt x="137324" y="113440"/>
                  </a:lnTo>
                  <a:lnTo>
                    <a:pt x="135426" y="116402"/>
                  </a:lnTo>
                  <a:lnTo>
                    <a:pt x="134869" y="117998"/>
                  </a:lnTo>
                  <a:lnTo>
                    <a:pt x="134496" y="119743"/>
                  </a:lnTo>
                  <a:lnTo>
                    <a:pt x="133895" y="121356"/>
                  </a:lnTo>
                  <a:lnTo>
                    <a:pt x="130120" y="128914"/>
                  </a:lnTo>
                  <a:lnTo>
                    <a:pt x="126440" y="133093"/>
                  </a:lnTo>
                  <a:lnTo>
                    <a:pt x="124797" y="136055"/>
                  </a:lnTo>
                  <a:lnTo>
                    <a:pt x="122769" y="138412"/>
                  </a:lnTo>
                  <a:lnTo>
                    <a:pt x="120818" y="139893"/>
                  </a:lnTo>
                  <a:lnTo>
                    <a:pt x="118734" y="140879"/>
                  </a:lnTo>
                  <a:lnTo>
                    <a:pt x="112714" y="141933"/>
                  </a:lnTo>
                  <a:lnTo>
                    <a:pt x="111030" y="142688"/>
                  </a:lnTo>
                  <a:lnTo>
                    <a:pt x="109021" y="143984"/>
                  </a:lnTo>
                  <a:lnTo>
                    <a:pt x="106909" y="144625"/>
                  </a:lnTo>
                  <a:lnTo>
                    <a:pt x="109385" y="144544"/>
                  </a:lnTo>
                  <a:lnTo>
                    <a:pt x="111839" y="143823"/>
                  </a:lnTo>
                  <a:lnTo>
                    <a:pt x="116302" y="143559"/>
                  </a:lnTo>
                  <a:lnTo>
                    <a:pt x="121442" y="146041"/>
                  </a:lnTo>
                  <a:lnTo>
                    <a:pt x="120965" y="148069"/>
                  </a:lnTo>
                  <a:lnTo>
                    <a:pt x="118902" y="149672"/>
                  </a:lnTo>
                  <a:lnTo>
                    <a:pt x="114210" y="149924"/>
                  </a:lnTo>
                  <a:lnTo>
                    <a:pt x="109822" y="153482"/>
                  </a:lnTo>
                  <a:lnTo>
                    <a:pt x="107842" y="154576"/>
                  </a:lnTo>
                  <a:lnTo>
                    <a:pt x="105753" y="155119"/>
                  </a:lnTo>
                  <a:lnTo>
                    <a:pt x="103140" y="154958"/>
                  </a:lnTo>
                  <a:lnTo>
                    <a:pt x="98392" y="154006"/>
                  </a:lnTo>
                  <a:lnTo>
                    <a:pt x="96315" y="153011"/>
                  </a:lnTo>
                  <a:lnTo>
                    <a:pt x="98193" y="154635"/>
                  </a:lnTo>
                  <a:lnTo>
                    <a:pt x="100323" y="155481"/>
                  </a:lnTo>
                  <a:lnTo>
                    <a:pt x="112685" y="157477"/>
                  </a:lnTo>
                  <a:lnTo>
                    <a:pt x="113429" y="157270"/>
                  </a:lnTo>
                  <a:lnTo>
                    <a:pt x="117370" y="155162"/>
                  </a:lnTo>
                  <a:lnTo>
                    <a:pt x="122622" y="155130"/>
                  </a:lnTo>
                  <a:lnTo>
                    <a:pt x="132623" y="159002"/>
                  </a:lnTo>
                  <a:lnTo>
                    <a:pt x="135502" y="161957"/>
                  </a:lnTo>
                  <a:lnTo>
                    <a:pt x="139628" y="166187"/>
                  </a:lnTo>
                  <a:lnTo>
                    <a:pt x="141872" y="167836"/>
                  </a:lnTo>
                  <a:lnTo>
                    <a:pt x="143495" y="169330"/>
                  </a:lnTo>
                  <a:lnTo>
                    <a:pt x="144495" y="171567"/>
                  </a:lnTo>
                  <a:lnTo>
                    <a:pt x="146432" y="178938"/>
                  </a:lnTo>
                  <a:lnTo>
                    <a:pt x="148641" y="186118"/>
                  </a:lnTo>
                  <a:lnTo>
                    <a:pt x="151536" y="193871"/>
                  </a:lnTo>
                  <a:lnTo>
                    <a:pt x="152847" y="196020"/>
                  </a:lnTo>
                  <a:lnTo>
                    <a:pt x="154573" y="197526"/>
                  </a:lnTo>
                  <a:lnTo>
                    <a:pt x="163309" y="200984"/>
                  </a:lnTo>
                  <a:lnTo>
                    <a:pt x="165253" y="202129"/>
                  </a:lnTo>
                  <a:lnTo>
                    <a:pt x="168643" y="205449"/>
                  </a:lnTo>
                  <a:lnTo>
                    <a:pt x="171909" y="208981"/>
                  </a:lnTo>
                  <a:lnTo>
                    <a:pt x="174950" y="211690"/>
                  </a:lnTo>
                  <a:lnTo>
                    <a:pt x="178233" y="213881"/>
                  </a:lnTo>
                  <a:lnTo>
                    <a:pt x="176643" y="215018"/>
                  </a:lnTo>
                  <a:lnTo>
                    <a:pt x="175553" y="216806"/>
                  </a:lnTo>
                  <a:lnTo>
                    <a:pt x="176368" y="219234"/>
                  </a:lnTo>
                  <a:lnTo>
                    <a:pt x="177705" y="221551"/>
                  </a:lnTo>
                  <a:lnTo>
                    <a:pt x="180332" y="225253"/>
                  </a:lnTo>
                  <a:lnTo>
                    <a:pt x="182649" y="229287"/>
                  </a:lnTo>
                  <a:lnTo>
                    <a:pt x="181795" y="228678"/>
                  </a:lnTo>
                  <a:lnTo>
                    <a:pt x="180897" y="228344"/>
                  </a:lnTo>
                  <a:lnTo>
                    <a:pt x="179669" y="228444"/>
                  </a:lnTo>
                  <a:lnTo>
                    <a:pt x="178469" y="228249"/>
                  </a:lnTo>
                  <a:lnTo>
                    <a:pt x="176255" y="226987"/>
                  </a:lnTo>
                  <a:lnTo>
                    <a:pt x="174128" y="225436"/>
                  </a:lnTo>
                  <a:lnTo>
                    <a:pt x="169897" y="226059"/>
                  </a:lnTo>
                  <a:lnTo>
                    <a:pt x="167546" y="225780"/>
                  </a:lnTo>
                  <a:lnTo>
                    <a:pt x="165507" y="225821"/>
                  </a:lnTo>
                  <a:lnTo>
                    <a:pt x="169373" y="226717"/>
                  </a:lnTo>
                  <a:lnTo>
                    <a:pt x="173605" y="226779"/>
                  </a:lnTo>
                  <a:lnTo>
                    <a:pt x="182937" y="233539"/>
                  </a:lnTo>
                  <a:lnTo>
                    <a:pt x="186091" y="237535"/>
                  </a:lnTo>
                  <a:lnTo>
                    <a:pt x="187966" y="242808"/>
                  </a:lnTo>
                  <a:lnTo>
                    <a:pt x="186689" y="245172"/>
                  </a:lnTo>
                  <a:lnTo>
                    <a:pt x="184703" y="246703"/>
                  </a:lnTo>
                  <a:lnTo>
                    <a:pt x="182850" y="248453"/>
                  </a:lnTo>
                  <a:lnTo>
                    <a:pt x="181114" y="250427"/>
                  </a:lnTo>
                  <a:lnTo>
                    <a:pt x="186286" y="253324"/>
                  </a:lnTo>
                  <a:lnTo>
                    <a:pt x="187400" y="253236"/>
                  </a:lnTo>
                  <a:lnTo>
                    <a:pt x="188544" y="252831"/>
                  </a:lnTo>
                  <a:lnTo>
                    <a:pt x="189644" y="251846"/>
                  </a:lnTo>
                  <a:lnTo>
                    <a:pt x="191498" y="249447"/>
                  </a:lnTo>
                  <a:lnTo>
                    <a:pt x="192455" y="248592"/>
                  </a:lnTo>
                  <a:lnTo>
                    <a:pt x="195677" y="248284"/>
                  </a:lnTo>
                  <a:lnTo>
                    <a:pt x="198380" y="248468"/>
                  </a:lnTo>
                  <a:lnTo>
                    <a:pt x="201073" y="248998"/>
                  </a:lnTo>
                  <a:lnTo>
                    <a:pt x="203440" y="248830"/>
                  </a:lnTo>
                  <a:lnTo>
                    <a:pt x="208210" y="249860"/>
                  </a:lnTo>
                  <a:lnTo>
                    <a:pt x="210661" y="250789"/>
                  </a:lnTo>
                  <a:lnTo>
                    <a:pt x="216733" y="254966"/>
                  </a:lnTo>
                  <a:lnTo>
                    <a:pt x="218046" y="257247"/>
                  </a:lnTo>
                  <a:lnTo>
                    <a:pt x="218648" y="260190"/>
                  </a:lnTo>
                  <a:lnTo>
                    <a:pt x="218720" y="263449"/>
                  </a:lnTo>
                  <a:lnTo>
                    <a:pt x="217698" y="266425"/>
                  </a:lnTo>
                  <a:lnTo>
                    <a:pt x="216526" y="269108"/>
                  </a:lnTo>
                  <a:lnTo>
                    <a:pt x="215802" y="272568"/>
                  </a:lnTo>
                  <a:lnTo>
                    <a:pt x="215289" y="273813"/>
                  </a:lnTo>
                  <a:lnTo>
                    <a:pt x="214571" y="274788"/>
                  </a:lnTo>
                  <a:lnTo>
                    <a:pt x="211354" y="277512"/>
                  </a:lnTo>
                  <a:lnTo>
                    <a:pt x="209216" y="278631"/>
                  </a:lnTo>
                  <a:lnTo>
                    <a:pt x="208313" y="278140"/>
                  </a:lnTo>
                  <a:lnTo>
                    <a:pt x="207351" y="278208"/>
                  </a:lnTo>
                  <a:lnTo>
                    <a:pt x="207249" y="278862"/>
                  </a:lnTo>
                  <a:lnTo>
                    <a:pt x="208266" y="280251"/>
                  </a:lnTo>
                  <a:lnTo>
                    <a:pt x="208279" y="281926"/>
                  </a:lnTo>
                  <a:lnTo>
                    <a:pt x="206379" y="283165"/>
                  </a:lnTo>
                  <a:lnTo>
                    <a:pt x="204448" y="283694"/>
                  </a:lnTo>
                  <a:lnTo>
                    <a:pt x="201218" y="283034"/>
                  </a:lnTo>
                  <a:lnTo>
                    <a:pt x="196733" y="285340"/>
                  </a:lnTo>
                  <a:lnTo>
                    <a:pt x="199957" y="286524"/>
                  </a:lnTo>
                  <a:lnTo>
                    <a:pt x="200607" y="287784"/>
                  </a:lnTo>
                  <a:lnTo>
                    <a:pt x="199799" y="289997"/>
                  </a:lnTo>
                  <a:lnTo>
                    <a:pt x="197771" y="290983"/>
                  </a:lnTo>
                  <a:lnTo>
                    <a:pt x="195523" y="291420"/>
                  </a:lnTo>
                  <a:lnTo>
                    <a:pt x="193222" y="291524"/>
                  </a:lnTo>
                  <a:lnTo>
                    <a:pt x="191315" y="292065"/>
                  </a:lnTo>
                  <a:lnTo>
                    <a:pt x="189486" y="293107"/>
                  </a:lnTo>
                  <a:lnTo>
                    <a:pt x="191781" y="292553"/>
                  </a:lnTo>
                  <a:lnTo>
                    <a:pt x="193373" y="293038"/>
                  </a:lnTo>
                  <a:lnTo>
                    <a:pt x="194372" y="294897"/>
                  </a:lnTo>
                  <a:lnTo>
                    <a:pt x="195280" y="295428"/>
                  </a:lnTo>
                  <a:lnTo>
                    <a:pt x="199765" y="296222"/>
                  </a:lnTo>
                  <a:lnTo>
                    <a:pt x="202542" y="296216"/>
                  </a:lnTo>
                  <a:lnTo>
                    <a:pt x="207897" y="295765"/>
                  </a:lnTo>
                  <a:lnTo>
                    <a:pt x="210469" y="295776"/>
                  </a:lnTo>
                  <a:lnTo>
                    <a:pt x="211386" y="296112"/>
                  </a:lnTo>
                  <a:lnTo>
                    <a:pt x="211402" y="297650"/>
                  </a:lnTo>
                  <a:lnTo>
                    <a:pt x="211002" y="301424"/>
                  </a:lnTo>
                  <a:lnTo>
                    <a:pt x="210294" y="302201"/>
                  </a:lnTo>
                  <a:lnTo>
                    <a:pt x="203194" y="305366"/>
                  </a:lnTo>
                  <a:lnTo>
                    <a:pt x="201738" y="307574"/>
                  </a:lnTo>
                  <a:lnTo>
                    <a:pt x="201330" y="308911"/>
                  </a:lnTo>
                  <a:lnTo>
                    <a:pt x="197178" y="308674"/>
                  </a:lnTo>
                  <a:lnTo>
                    <a:pt x="195232" y="310087"/>
                  </a:lnTo>
                  <a:lnTo>
                    <a:pt x="191870" y="311025"/>
                  </a:lnTo>
                  <a:lnTo>
                    <a:pt x="189270" y="312022"/>
                  </a:lnTo>
                  <a:lnTo>
                    <a:pt x="186726" y="313282"/>
                  </a:lnTo>
                  <a:lnTo>
                    <a:pt x="184634" y="313658"/>
                  </a:lnTo>
                  <a:lnTo>
                    <a:pt x="175590" y="312163"/>
                  </a:lnTo>
                  <a:lnTo>
                    <a:pt x="170131" y="312286"/>
                  </a:lnTo>
                  <a:lnTo>
                    <a:pt x="162736" y="313589"/>
                  </a:lnTo>
                  <a:lnTo>
                    <a:pt x="160831" y="313374"/>
                  </a:lnTo>
                  <a:lnTo>
                    <a:pt x="157974" y="312126"/>
                  </a:lnTo>
                  <a:lnTo>
                    <a:pt x="155049" y="311282"/>
                  </a:lnTo>
                  <a:lnTo>
                    <a:pt x="151683" y="310911"/>
                  </a:lnTo>
                  <a:lnTo>
                    <a:pt x="148778" y="309757"/>
                  </a:lnTo>
                  <a:lnTo>
                    <a:pt x="150591" y="311976"/>
                  </a:lnTo>
                  <a:lnTo>
                    <a:pt x="146561" y="314112"/>
                  </a:lnTo>
                  <a:lnTo>
                    <a:pt x="144701" y="314537"/>
                  </a:lnTo>
                  <a:lnTo>
                    <a:pt x="142776" y="314471"/>
                  </a:lnTo>
                  <a:lnTo>
                    <a:pt x="138837" y="315051"/>
                  </a:lnTo>
                  <a:lnTo>
                    <a:pt x="135188" y="314755"/>
                  </a:lnTo>
                  <a:lnTo>
                    <a:pt x="135736" y="316273"/>
                  </a:lnTo>
                  <a:lnTo>
                    <a:pt x="136714" y="317595"/>
                  </a:lnTo>
                  <a:lnTo>
                    <a:pt x="135921" y="318170"/>
                  </a:lnTo>
                  <a:lnTo>
                    <a:pt x="135082" y="318313"/>
                  </a:lnTo>
                  <a:lnTo>
                    <a:pt x="128132" y="317315"/>
                  </a:lnTo>
                  <a:lnTo>
                    <a:pt x="127148" y="317504"/>
                  </a:lnTo>
                  <a:lnTo>
                    <a:pt x="126290" y="318425"/>
                  </a:lnTo>
                  <a:lnTo>
                    <a:pt x="123763" y="317928"/>
                  </a:lnTo>
                  <a:lnTo>
                    <a:pt x="121307" y="316375"/>
                  </a:lnTo>
                  <a:lnTo>
                    <a:pt x="118695" y="315332"/>
                  </a:lnTo>
                  <a:lnTo>
                    <a:pt x="115954" y="314842"/>
                  </a:lnTo>
                  <a:lnTo>
                    <a:pt x="113776" y="315011"/>
                  </a:lnTo>
                  <a:lnTo>
                    <a:pt x="104816" y="317460"/>
                  </a:lnTo>
                  <a:lnTo>
                    <a:pt x="103028" y="319915"/>
                  </a:lnTo>
                  <a:lnTo>
                    <a:pt x="102135" y="323393"/>
                  </a:lnTo>
                  <a:lnTo>
                    <a:pt x="100841" y="326476"/>
                  </a:lnTo>
                  <a:lnTo>
                    <a:pt x="98731" y="328848"/>
                  </a:lnTo>
                  <a:lnTo>
                    <a:pt x="96220" y="329157"/>
                  </a:lnTo>
                  <a:lnTo>
                    <a:pt x="93858" y="327516"/>
                  </a:lnTo>
                  <a:lnTo>
                    <a:pt x="89364" y="325702"/>
                  </a:lnTo>
                  <a:lnTo>
                    <a:pt x="87835" y="324476"/>
                  </a:lnTo>
                  <a:lnTo>
                    <a:pt x="87348" y="324404"/>
                  </a:lnTo>
                  <a:lnTo>
                    <a:pt x="86846" y="324843"/>
                  </a:lnTo>
                  <a:lnTo>
                    <a:pt x="85084" y="325396"/>
                  </a:lnTo>
                  <a:lnTo>
                    <a:pt x="83259" y="325422"/>
                  </a:lnTo>
                  <a:lnTo>
                    <a:pt x="80447" y="325910"/>
                  </a:lnTo>
                  <a:lnTo>
                    <a:pt x="75553" y="327384"/>
                  </a:lnTo>
                  <a:lnTo>
                    <a:pt x="73577" y="328384"/>
                  </a:lnTo>
                  <a:lnTo>
                    <a:pt x="69328" y="331139"/>
                  </a:lnTo>
                  <a:lnTo>
                    <a:pt x="68463" y="331901"/>
                  </a:lnTo>
                  <a:lnTo>
                    <a:pt x="66918" y="334677"/>
                  </a:lnTo>
                  <a:lnTo>
                    <a:pt x="64558" y="335166"/>
                  </a:lnTo>
                  <a:lnTo>
                    <a:pt x="62399" y="333388"/>
                  </a:lnTo>
                  <a:lnTo>
                    <a:pt x="59942" y="332767"/>
                  </a:lnTo>
                  <a:lnTo>
                    <a:pt x="57350" y="333375"/>
                  </a:lnTo>
                  <a:lnTo>
                    <a:pt x="55782" y="334320"/>
                  </a:lnTo>
                  <a:lnTo>
                    <a:pt x="55051" y="333552"/>
                  </a:lnTo>
                  <a:lnTo>
                    <a:pt x="55027" y="331973"/>
                  </a:lnTo>
                  <a:lnTo>
                    <a:pt x="56920" y="330091"/>
                  </a:lnTo>
                  <a:lnTo>
                    <a:pt x="61970" y="328668"/>
                  </a:lnTo>
                  <a:lnTo>
                    <a:pt x="66403" y="324972"/>
                  </a:lnTo>
                  <a:lnTo>
                    <a:pt x="68578" y="322716"/>
                  </a:lnTo>
                  <a:lnTo>
                    <a:pt x="69440" y="321446"/>
                  </a:lnTo>
                  <a:lnTo>
                    <a:pt x="70503" y="320636"/>
                  </a:lnTo>
                  <a:lnTo>
                    <a:pt x="71892" y="320330"/>
                  </a:lnTo>
                  <a:lnTo>
                    <a:pt x="72606" y="318925"/>
                  </a:lnTo>
                  <a:lnTo>
                    <a:pt x="78761" y="313270"/>
                  </a:lnTo>
                  <a:lnTo>
                    <a:pt x="79269" y="311971"/>
                  </a:lnTo>
                  <a:lnTo>
                    <a:pt x="79575" y="309646"/>
                  </a:lnTo>
                  <a:lnTo>
                    <a:pt x="80084" y="307405"/>
                  </a:lnTo>
                  <a:lnTo>
                    <a:pt x="85095" y="305953"/>
                  </a:lnTo>
                  <a:lnTo>
                    <a:pt x="87489" y="301233"/>
                  </a:lnTo>
                  <a:lnTo>
                    <a:pt x="88148" y="300859"/>
                  </a:lnTo>
                  <a:lnTo>
                    <a:pt x="95137" y="299992"/>
                  </a:lnTo>
                  <a:lnTo>
                    <a:pt x="100320" y="300061"/>
                  </a:lnTo>
                  <a:lnTo>
                    <a:pt x="105468" y="300986"/>
                  </a:lnTo>
                  <a:lnTo>
                    <a:pt x="108107" y="301069"/>
                  </a:lnTo>
                  <a:lnTo>
                    <a:pt x="110756" y="300750"/>
                  </a:lnTo>
                  <a:lnTo>
                    <a:pt x="112833" y="299474"/>
                  </a:lnTo>
                  <a:lnTo>
                    <a:pt x="116388" y="294868"/>
                  </a:lnTo>
                  <a:lnTo>
                    <a:pt x="118388" y="292838"/>
                  </a:lnTo>
                  <a:lnTo>
                    <a:pt x="120679" y="291002"/>
                  </a:lnTo>
                  <a:lnTo>
                    <a:pt x="122822" y="288904"/>
                  </a:lnTo>
                  <a:lnTo>
                    <a:pt x="126299" y="285012"/>
                  </a:lnTo>
                  <a:lnTo>
                    <a:pt x="123948" y="286353"/>
                  </a:lnTo>
                  <a:lnTo>
                    <a:pt x="121111" y="288480"/>
                  </a:lnTo>
                  <a:lnTo>
                    <a:pt x="119465" y="289713"/>
                  </a:lnTo>
                  <a:lnTo>
                    <a:pt x="114238" y="290955"/>
                  </a:lnTo>
                  <a:lnTo>
                    <a:pt x="111986" y="292221"/>
                  </a:lnTo>
                  <a:lnTo>
                    <a:pt x="108040" y="295078"/>
                  </a:lnTo>
                  <a:lnTo>
                    <a:pt x="107281" y="295315"/>
                  </a:lnTo>
                  <a:lnTo>
                    <a:pt x="101328" y="294629"/>
                  </a:lnTo>
                  <a:lnTo>
                    <a:pt x="96898" y="290923"/>
                  </a:lnTo>
                  <a:lnTo>
                    <a:pt x="94066" y="289402"/>
                  </a:lnTo>
                  <a:lnTo>
                    <a:pt x="92896" y="289230"/>
                  </a:lnTo>
                  <a:lnTo>
                    <a:pt x="91687" y="289682"/>
                  </a:lnTo>
                  <a:lnTo>
                    <a:pt x="89101" y="290145"/>
                  </a:lnTo>
                  <a:lnTo>
                    <a:pt x="86464" y="290066"/>
                  </a:lnTo>
                  <a:lnTo>
                    <a:pt x="87810" y="288352"/>
                  </a:lnTo>
                  <a:lnTo>
                    <a:pt x="89638" y="287393"/>
                  </a:lnTo>
                  <a:lnTo>
                    <a:pt x="85544" y="286727"/>
                  </a:lnTo>
                  <a:lnTo>
                    <a:pt x="84406" y="286205"/>
                  </a:lnTo>
                  <a:lnTo>
                    <a:pt x="83109" y="285002"/>
                  </a:lnTo>
                  <a:lnTo>
                    <a:pt x="79898" y="284796"/>
                  </a:lnTo>
                  <a:lnTo>
                    <a:pt x="78366" y="285103"/>
                  </a:lnTo>
                  <a:lnTo>
                    <a:pt x="75782" y="286693"/>
                  </a:lnTo>
                  <a:lnTo>
                    <a:pt x="71699" y="288383"/>
                  </a:lnTo>
                  <a:lnTo>
                    <a:pt x="66780" y="286040"/>
                  </a:lnTo>
                  <a:lnTo>
                    <a:pt x="65816" y="285012"/>
                  </a:lnTo>
                  <a:lnTo>
                    <a:pt x="65841" y="283027"/>
                  </a:lnTo>
                  <a:lnTo>
                    <a:pt x="65103" y="281453"/>
                  </a:lnTo>
                  <a:lnTo>
                    <a:pt x="63738" y="280898"/>
                  </a:lnTo>
                  <a:lnTo>
                    <a:pt x="65484" y="278846"/>
                  </a:lnTo>
                  <a:lnTo>
                    <a:pt x="67591" y="277479"/>
                  </a:lnTo>
                  <a:lnTo>
                    <a:pt x="72225" y="276120"/>
                  </a:lnTo>
                  <a:lnTo>
                    <a:pt x="79243" y="272892"/>
                  </a:lnTo>
                  <a:lnTo>
                    <a:pt x="83178" y="271516"/>
                  </a:lnTo>
                  <a:lnTo>
                    <a:pt x="86836" y="269140"/>
                  </a:lnTo>
                  <a:lnTo>
                    <a:pt x="88348" y="267690"/>
                  </a:lnTo>
                  <a:lnTo>
                    <a:pt x="89445" y="265705"/>
                  </a:lnTo>
                  <a:lnTo>
                    <a:pt x="90533" y="263266"/>
                  </a:lnTo>
                  <a:lnTo>
                    <a:pt x="92086" y="261284"/>
                  </a:lnTo>
                  <a:lnTo>
                    <a:pt x="90579" y="260812"/>
                  </a:lnTo>
                  <a:lnTo>
                    <a:pt x="89906" y="259315"/>
                  </a:lnTo>
                  <a:lnTo>
                    <a:pt x="90087" y="257796"/>
                  </a:lnTo>
                  <a:lnTo>
                    <a:pt x="90783" y="256448"/>
                  </a:lnTo>
                  <a:lnTo>
                    <a:pt x="90159" y="254756"/>
                  </a:lnTo>
                  <a:lnTo>
                    <a:pt x="89052" y="252986"/>
                  </a:lnTo>
                  <a:lnTo>
                    <a:pt x="89113" y="251607"/>
                  </a:lnTo>
                  <a:lnTo>
                    <a:pt x="89407" y="250132"/>
                  </a:lnTo>
                  <a:lnTo>
                    <a:pt x="86584" y="250211"/>
                  </a:lnTo>
                  <a:lnTo>
                    <a:pt x="83769" y="250672"/>
                  </a:lnTo>
                  <a:lnTo>
                    <a:pt x="81218" y="251718"/>
                  </a:lnTo>
                  <a:lnTo>
                    <a:pt x="78744" y="253137"/>
                  </a:lnTo>
                  <a:lnTo>
                    <a:pt x="76547" y="253400"/>
                  </a:lnTo>
                  <a:lnTo>
                    <a:pt x="76582" y="252265"/>
                  </a:lnTo>
                  <a:lnTo>
                    <a:pt x="77536" y="250861"/>
                  </a:lnTo>
                  <a:lnTo>
                    <a:pt x="80027" y="248854"/>
                  </a:lnTo>
                  <a:lnTo>
                    <a:pt x="82694" y="247189"/>
                  </a:lnTo>
                  <a:lnTo>
                    <a:pt x="83642" y="245923"/>
                  </a:lnTo>
                  <a:lnTo>
                    <a:pt x="84388" y="244452"/>
                  </a:lnTo>
                  <a:lnTo>
                    <a:pt x="85712" y="243271"/>
                  </a:lnTo>
                  <a:lnTo>
                    <a:pt x="89195" y="241037"/>
                  </a:lnTo>
                  <a:lnTo>
                    <a:pt x="95868" y="238521"/>
                  </a:lnTo>
                  <a:lnTo>
                    <a:pt x="96864" y="238373"/>
                  </a:lnTo>
                  <a:lnTo>
                    <a:pt x="99480" y="238665"/>
                  </a:lnTo>
                  <a:lnTo>
                    <a:pt x="102052" y="238285"/>
                  </a:lnTo>
                  <a:lnTo>
                    <a:pt x="104305" y="237379"/>
                  </a:lnTo>
                  <a:lnTo>
                    <a:pt x="106550" y="237184"/>
                  </a:lnTo>
                  <a:lnTo>
                    <a:pt x="111605" y="239795"/>
                  </a:lnTo>
                  <a:lnTo>
                    <a:pt x="110102" y="235754"/>
                  </a:lnTo>
                  <a:lnTo>
                    <a:pt x="112331" y="234786"/>
                  </a:lnTo>
                  <a:lnTo>
                    <a:pt x="115564" y="238440"/>
                  </a:lnTo>
                  <a:lnTo>
                    <a:pt x="116766" y="238825"/>
                  </a:lnTo>
                  <a:lnTo>
                    <a:pt x="119301" y="238295"/>
                  </a:lnTo>
                  <a:lnTo>
                    <a:pt x="118323" y="237679"/>
                  </a:lnTo>
                  <a:lnTo>
                    <a:pt x="117181" y="237642"/>
                  </a:lnTo>
                  <a:lnTo>
                    <a:pt x="115685" y="237091"/>
                  </a:lnTo>
                  <a:lnTo>
                    <a:pt x="114427" y="235919"/>
                  </a:lnTo>
                  <a:lnTo>
                    <a:pt x="112334" y="232195"/>
                  </a:lnTo>
                  <a:lnTo>
                    <a:pt x="112447" y="229982"/>
                  </a:lnTo>
                  <a:lnTo>
                    <a:pt x="113857" y="227679"/>
                  </a:lnTo>
                  <a:lnTo>
                    <a:pt x="115419" y="225557"/>
                  </a:lnTo>
                  <a:lnTo>
                    <a:pt x="114109" y="225135"/>
                  </a:lnTo>
                  <a:lnTo>
                    <a:pt x="113060" y="224323"/>
                  </a:lnTo>
                  <a:lnTo>
                    <a:pt x="112759" y="222197"/>
                  </a:lnTo>
                  <a:lnTo>
                    <a:pt x="113171" y="220318"/>
                  </a:lnTo>
                  <a:lnTo>
                    <a:pt x="115977" y="218657"/>
                  </a:lnTo>
                  <a:lnTo>
                    <a:pt x="116805" y="216135"/>
                  </a:lnTo>
                  <a:lnTo>
                    <a:pt x="117157" y="213357"/>
                  </a:lnTo>
                  <a:lnTo>
                    <a:pt x="116691" y="212082"/>
                  </a:lnTo>
                  <a:lnTo>
                    <a:pt x="113906" y="212287"/>
                  </a:lnTo>
                  <a:lnTo>
                    <a:pt x="112552" y="212807"/>
                  </a:lnTo>
                  <a:lnTo>
                    <a:pt x="111337" y="213630"/>
                  </a:lnTo>
                  <a:lnTo>
                    <a:pt x="110093" y="213581"/>
                  </a:lnTo>
                  <a:lnTo>
                    <a:pt x="106653" y="210505"/>
                  </a:lnTo>
                  <a:lnTo>
                    <a:pt x="104691" y="208176"/>
                  </a:lnTo>
                  <a:lnTo>
                    <a:pt x="101172" y="203238"/>
                  </a:lnTo>
                  <a:lnTo>
                    <a:pt x="100671" y="200283"/>
                  </a:lnTo>
                  <a:lnTo>
                    <a:pt x="103490" y="193894"/>
                  </a:lnTo>
                  <a:lnTo>
                    <a:pt x="107838" y="189799"/>
                  </a:lnTo>
                  <a:lnTo>
                    <a:pt x="112961" y="188372"/>
                  </a:lnTo>
                  <a:lnTo>
                    <a:pt x="111970" y="188099"/>
                  </a:lnTo>
                  <a:lnTo>
                    <a:pt x="104164" y="188044"/>
                  </a:lnTo>
                  <a:lnTo>
                    <a:pt x="101591" y="188546"/>
                  </a:lnTo>
                  <a:lnTo>
                    <a:pt x="99206" y="190221"/>
                  </a:lnTo>
                  <a:lnTo>
                    <a:pt x="97859" y="190735"/>
                  </a:lnTo>
                  <a:lnTo>
                    <a:pt x="96443" y="190925"/>
                  </a:lnTo>
                  <a:lnTo>
                    <a:pt x="95153" y="191758"/>
                  </a:lnTo>
                  <a:lnTo>
                    <a:pt x="93893" y="192914"/>
                  </a:lnTo>
                  <a:lnTo>
                    <a:pt x="92581" y="193653"/>
                  </a:lnTo>
                  <a:lnTo>
                    <a:pt x="89975" y="193462"/>
                  </a:lnTo>
                  <a:lnTo>
                    <a:pt x="88711" y="193706"/>
                  </a:lnTo>
                  <a:lnTo>
                    <a:pt x="87802" y="193037"/>
                  </a:lnTo>
                  <a:lnTo>
                    <a:pt x="87042" y="191930"/>
                  </a:lnTo>
                  <a:lnTo>
                    <a:pt x="86047" y="191635"/>
                  </a:lnTo>
                  <a:lnTo>
                    <a:pt x="84936" y="191975"/>
                  </a:lnTo>
                  <a:lnTo>
                    <a:pt x="82587" y="193466"/>
                  </a:lnTo>
                  <a:lnTo>
                    <a:pt x="80208" y="194346"/>
                  </a:lnTo>
                  <a:lnTo>
                    <a:pt x="77332" y="193407"/>
                  </a:lnTo>
                  <a:lnTo>
                    <a:pt x="73562" y="191655"/>
                  </a:lnTo>
                  <a:lnTo>
                    <a:pt x="72817" y="192294"/>
                  </a:lnTo>
                  <a:lnTo>
                    <a:pt x="71982" y="193920"/>
                  </a:lnTo>
                  <a:lnTo>
                    <a:pt x="71501" y="196456"/>
                  </a:lnTo>
                  <a:lnTo>
                    <a:pt x="68824" y="194254"/>
                  </a:lnTo>
                  <a:lnTo>
                    <a:pt x="66542" y="191306"/>
                  </a:lnTo>
                  <a:lnTo>
                    <a:pt x="65777" y="189452"/>
                  </a:lnTo>
                  <a:lnTo>
                    <a:pt x="65720" y="187364"/>
                  </a:lnTo>
                  <a:lnTo>
                    <a:pt x="66958" y="186553"/>
                  </a:lnTo>
                  <a:lnTo>
                    <a:pt x="68303" y="187295"/>
                  </a:lnTo>
                  <a:lnTo>
                    <a:pt x="70308" y="182331"/>
                  </a:lnTo>
                  <a:lnTo>
                    <a:pt x="74297" y="175855"/>
                  </a:lnTo>
                  <a:lnTo>
                    <a:pt x="75704" y="173952"/>
                  </a:lnTo>
                  <a:lnTo>
                    <a:pt x="76686" y="171467"/>
                  </a:lnTo>
                  <a:lnTo>
                    <a:pt x="76518" y="169839"/>
                  </a:lnTo>
                  <a:lnTo>
                    <a:pt x="75638" y="168464"/>
                  </a:lnTo>
                  <a:lnTo>
                    <a:pt x="71930" y="165337"/>
                  </a:lnTo>
                  <a:lnTo>
                    <a:pt x="71979" y="162788"/>
                  </a:lnTo>
                  <a:lnTo>
                    <a:pt x="72376" y="159906"/>
                  </a:lnTo>
                  <a:lnTo>
                    <a:pt x="73384" y="158175"/>
                  </a:lnTo>
                  <a:lnTo>
                    <a:pt x="73810" y="157845"/>
                  </a:lnTo>
                  <a:lnTo>
                    <a:pt x="78735" y="157891"/>
                  </a:lnTo>
                  <a:lnTo>
                    <a:pt x="76814" y="156997"/>
                  </a:lnTo>
                  <a:lnTo>
                    <a:pt x="72986" y="154385"/>
                  </a:lnTo>
                  <a:lnTo>
                    <a:pt x="73054" y="153459"/>
                  </a:lnTo>
                  <a:lnTo>
                    <a:pt x="73955" y="151041"/>
                  </a:lnTo>
                  <a:lnTo>
                    <a:pt x="73537" y="151286"/>
                  </a:lnTo>
                  <a:lnTo>
                    <a:pt x="72717" y="152403"/>
                  </a:lnTo>
                  <a:lnTo>
                    <a:pt x="71150" y="155105"/>
                  </a:lnTo>
                  <a:lnTo>
                    <a:pt x="70194" y="155735"/>
                  </a:lnTo>
                  <a:lnTo>
                    <a:pt x="67486" y="156376"/>
                  </a:lnTo>
                  <a:lnTo>
                    <a:pt x="66996" y="157705"/>
                  </a:lnTo>
                  <a:lnTo>
                    <a:pt x="66561" y="158052"/>
                  </a:lnTo>
                  <a:lnTo>
                    <a:pt x="65208" y="158203"/>
                  </a:lnTo>
                  <a:lnTo>
                    <a:pt x="64793" y="159441"/>
                  </a:lnTo>
                  <a:lnTo>
                    <a:pt x="64492" y="159520"/>
                  </a:lnTo>
                  <a:lnTo>
                    <a:pt x="64107" y="158184"/>
                  </a:lnTo>
                  <a:lnTo>
                    <a:pt x="64070" y="155968"/>
                  </a:lnTo>
                  <a:lnTo>
                    <a:pt x="64609" y="153929"/>
                  </a:lnTo>
                  <a:lnTo>
                    <a:pt x="65638" y="152332"/>
                  </a:lnTo>
                  <a:lnTo>
                    <a:pt x="69606" y="148697"/>
                  </a:lnTo>
                  <a:lnTo>
                    <a:pt x="67674" y="149819"/>
                  </a:lnTo>
                  <a:lnTo>
                    <a:pt x="63295" y="153176"/>
                  </a:lnTo>
                  <a:lnTo>
                    <a:pt x="61060" y="155381"/>
                  </a:lnTo>
                  <a:lnTo>
                    <a:pt x="60463" y="156125"/>
                  </a:lnTo>
                  <a:lnTo>
                    <a:pt x="60276" y="156752"/>
                  </a:lnTo>
                  <a:lnTo>
                    <a:pt x="60289" y="157474"/>
                  </a:lnTo>
                  <a:lnTo>
                    <a:pt x="61293" y="161344"/>
                  </a:lnTo>
                  <a:lnTo>
                    <a:pt x="61007" y="163133"/>
                  </a:lnTo>
                  <a:lnTo>
                    <a:pt x="57234" y="174922"/>
                  </a:lnTo>
                  <a:lnTo>
                    <a:pt x="56520" y="176102"/>
                  </a:lnTo>
                  <a:lnTo>
                    <a:pt x="55863" y="176719"/>
                  </a:lnTo>
                  <a:lnTo>
                    <a:pt x="55242" y="176860"/>
                  </a:lnTo>
                  <a:lnTo>
                    <a:pt x="53382" y="176636"/>
                  </a:lnTo>
                  <a:lnTo>
                    <a:pt x="52552" y="175755"/>
                  </a:lnTo>
                  <a:lnTo>
                    <a:pt x="52559" y="174757"/>
                  </a:lnTo>
                  <a:lnTo>
                    <a:pt x="52908" y="173257"/>
                  </a:lnTo>
                  <a:lnTo>
                    <a:pt x="54472" y="167668"/>
                  </a:lnTo>
                  <a:lnTo>
                    <a:pt x="55151" y="166113"/>
                  </a:lnTo>
                  <a:lnTo>
                    <a:pt x="56160" y="164666"/>
                  </a:lnTo>
                  <a:lnTo>
                    <a:pt x="58383" y="162130"/>
                  </a:lnTo>
                  <a:lnTo>
                    <a:pt x="58329" y="161965"/>
                  </a:lnTo>
                  <a:lnTo>
                    <a:pt x="56849" y="162462"/>
                  </a:lnTo>
                  <a:lnTo>
                    <a:pt x="56218" y="162298"/>
                  </a:lnTo>
                  <a:lnTo>
                    <a:pt x="55766" y="161796"/>
                  </a:lnTo>
                  <a:lnTo>
                    <a:pt x="56059" y="154257"/>
                  </a:lnTo>
                  <a:lnTo>
                    <a:pt x="57260" y="151771"/>
                  </a:lnTo>
                  <a:lnTo>
                    <a:pt x="57709" y="148150"/>
                  </a:lnTo>
                  <a:lnTo>
                    <a:pt x="58750" y="145045"/>
                  </a:lnTo>
                  <a:lnTo>
                    <a:pt x="59955" y="142781"/>
                  </a:lnTo>
                  <a:lnTo>
                    <a:pt x="60872" y="139881"/>
                  </a:lnTo>
                  <a:lnTo>
                    <a:pt x="62254" y="138590"/>
                  </a:lnTo>
                  <a:lnTo>
                    <a:pt x="62624" y="136614"/>
                  </a:lnTo>
                  <a:lnTo>
                    <a:pt x="64174" y="134473"/>
                  </a:lnTo>
                  <a:lnTo>
                    <a:pt x="65373" y="132232"/>
                  </a:lnTo>
                  <a:lnTo>
                    <a:pt x="64727" y="132454"/>
                  </a:lnTo>
                  <a:lnTo>
                    <a:pt x="57063" y="138281"/>
                  </a:lnTo>
                  <a:lnTo>
                    <a:pt x="55111" y="139341"/>
                  </a:lnTo>
                  <a:lnTo>
                    <a:pt x="52450" y="139057"/>
                  </a:lnTo>
                  <a:lnTo>
                    <a:pt x="50415" y="138403"/>
                  </a:lnTo>
                  <a:lnTo>
                    <a:pt x="48825" y="137025"/>
                  </a:lnTo>
                  <a:lnTo>
                    <a:pt x="48114" y="134378"/>
                  </a:lnTo>
                  <a:lnTo>
                    <a:pt x="46150" y="134307"/>
                  </a:lnTo>
                  <a:lnTo>
                    <a:pt x="44470" y="133849"/>
                  </a:lnTo>
                  <a:lnTo>
                    <a:pt x="44491" y="133493"/>
                  </a:lnTo>
                  <a:lnTo>
                    <a:pt x="46658" y="132048"/>
                  </a:lnTo>
                  <a:lnTo>
                    <a:pt x="50132" y="131552"/>
                  </a:lnTo>
                  <a:lnTo>
                    <a:pt x="53383" y="129237"/>
                  </a:lnTo>
                  <a:lnTo>
                    <a:pt x="50490" y="127672"/>
                  </a:lnTo>
                  <a:lnTo>
                    <a:pt x="50735" y="127176"/>
                  </a:lnTo>
                  <a:lnTo>
                    <a:pt x="53258" y="125842"/>
                  </a:lnTo>
                  <a:lnTo>
                    <a:pt x="56463" y="121362"/>
                  </a:lnTo>
                  <a:lnTo>
                    <a:pt x="57113" y="117232"/>
                  </a:lnTo>
                  <a:lnTo>
                    <a:pt x="55580" y="115289"/>
                  </a:lnTo>
                  <a:lnTo>
                    <a:pt x="55025" y="114015"/>
                  </a:lnTo>
                  <a:lnTo>
                    <a:pt x="51961" y="112594"/>
                  </a:lnTo>
                  <a:lnTo>
                    <a:pt x="51449" y="110774"/>
                  </a:lnTo>
                  <a:lnTo>
                    <a:pt x="51805" y="109758"/>
                  </a:lnTo>
                  <a:lnTo>
                    <a:pt x="52805" y="108765"/>
                  </a:lnTo>
                  <a:lnTo>
                    <a:pt x="54312" y="107991"/>
                  </a:lnTo>
                  <a:lnTo>
                    <a:pt x="56674" y="107251"/>
                  </a:lnTo>
                  <a:lnTo>
                    <a:pt x="54530" y="106457"/>
                  </a:lnTo>
                  <a:lnTo>
                    <a:pt x="53730" y="105520"/>
                  </a:lnTo>
                  <a:lnTo>
                    <a:pt x="53123" y="104163"/>
                  </a:lnTo>
                  <a:lnTo>
                    <a:pt x="53067" y="103376"/>
                  </a:lnTo>
                  <a:lnTo>
                    <a:pt x="54177" y="99866"/>
                  </a:lnTo>
                  <a:lnTo>
                    <a:pt x="54823" y="98417"/>
                  </a:lnTo>
                  <a:lnTo>
                    <a:pt x="56087" y="96568"/>
                  </a:lnTo>
                  <a:lnTo>
                    <a:pt x="61821" y="96672"/>
                  </a:lnTo>
                  <a:lnTo>
                    <a:pt x="62480" y="95855"/>
                  </a:lnTo>
                  <a:lnTo>
                    <a:pt x="63130" y="95823"/>
                  </a:lnTo>
                  <a:lnTo>
                    <a:pt x="66062" y="96568"/>
                  </a:lnTo>
                  <a:lnTo>
                    <a:pt x="65627" y="95766"/>
                  </a:lnTo>
                  <a:lnTo>
                    <a:pt x="60832" y="91368"/>
                  </a:lnTo>
                  <a:lnTo>
                    <a:pt x="60402" y="90530"/>
                  </a:lnTo>
                  <a:lnTo>
                    <a:pt x="61769" y="88154"/>
                  </a:lnTo>
                  <a:lnTo>
                    <a:pt x="61868" y="87094"/>
                  </a:lnTo>
                  <a:lnTo>
                    <a:pt x="61668" y="85961"/>
                  </a:lnTo>
                  <a:lnTo>
                    <a:pt x="62058" y="85098"/>
                  </a:lnTo>
                  <a:lnTo>
                    <a:pt x="63578" y="84690"/>
                  </a:lnTo>
                  <a:lnTo>
                    <a:pt x="68213" y="84731"/>
                  </a:lnTo>
                  <a:lnTo>
                    <a:pt x="69355" y="84329"/>
                  </a:lnTo>
                  <a:lnTo>
                    <a:pt x="68835" y="83181"/>
                  </a:lnTo>
                  <a:lnTo>
                    <a:pt x="67756" y="81671"/>
                  </a:lnTo>
                  <a:lnTo>
                    <a:pt x="67545" y="80402"/>
                  </a:lnTo>
                  <a:lnTo>
                    <a:pt x="67798" y="79281"/>
                  </a:lnTo>
                  <a:lnTo>
                    <a:pt x="67857" y="77022"/>
                  </a:lnTo>
                  <a:lnTo>
                    <a:pt x="68068" y="76022"/>
                  </a:lnTo>
                  <a:lnTo>
                    <a:pt x="69168" y="74524"/>
                  </a:lnTo>
                  <a:lnTo>
                    <a:pt x="70077" y="74079"/>
                  </a:lnTo>
                  <a:lnTo>
                    <a:pt x="71204" y="73818"/>
                  </a:lnTo>
                  <a:lnTo>
                    <a:pt x="73748" y="74319"/>
                  </a:lnTo>
                  <a:lnTo>
                    <a:pt x="74718" y="74924"/>
                  </a:lnTo>
                  <a:lnTo>
                    <a:pt x="75831" y="76352"/>
                  </a:lnTo>
                  <a:lnTo>
                    <a:pt x="76654" y="76236"/>
                  </a:lnTo>
                  <a:lnTo>
                    <a:pt x="79822" y="74685"/>
                  </a:lnTo>
                  <a:lnTo>
                    <a:pt x="80774" y="74462"/>
                  </a:lnTo>
                  <a:lnTo>
                    <a:pt x="82070" y="76260"/>
                  </a:lnTo>
                  <a:lnTo>
                    <a:pt x="87480" y="74826"/>
                  </a:lnTo>
                  <a:lnTo>
                    <a:pt x="94757" y="74183"/>
                  </a:lnTo>
                  <a:lnTo>
                    <a:pt x="99129" y="73239"/>
                  </a:lnTo>
                  <a:lnTo>
                    <a:pt x="103733" y="72896"/>
                  </a:lnTo>
                  <a:close/>
                  <a:moveTo>
                    <a:pt x="115062" y="65804"/>
                  </a:moveTo>
                  <a:lnTo>
                    <a:pt x="116053" y="66067"/>
                  </a:lnTo>
                  <a:lnTo>
                    <a:pt x="115685" y="66975"/>
                  </a:lnTo>
                  <a:lnTo>
                    <a:pt x="115324" y="68857"/>
                  </a:lnTo>
                  <a:lnTo>
                    <a:pt x="115112" y="68953"/>
                  </a:lnTo>
                  <a:lnTo>
                    <a:pt x="114307" y="68360"/>
                  </a:lnTo>
                  <a:lnTo>
                    <a:pt x="112979" y="66228"/>
                  </a:lnTo>
                  <a:close/>
                  <a:moveTo>
                    <a:pt x="105859" y="63098"/>
                  </a:moveTo>
                  <a:lnTo>
                    <a:pt x="107750" y="63544"/>
                  </a:lnTo>
                  <a:lnTo>
                    <a:pt x="108729" y="65107"/>
                  </a:lnTo>
                  <a:lnTo>
                    <a:pt x="108851" y="66123"/>
                  </a:lnTo>
                  <a:lnTo>
                    <a:pt x="109083" y="66522"/>
                  </a:lnTo>
                  <a:lnTo>
                    <a:pt x="110257" y="66923"/>
                  </a:lnTo>
                  <a:lnTo>
                    <a:pt x="110115" y="67151"/>
                  </a:lnTo>
                  <a:lnTo>
                    <a:pt x="108851" y="67581"/>
                  </a:lnTo>
                  <a:lnTo>
                    <a:pt x="107598" y="67549"/>
                  </a:lnTo>
                  <a:lnTo>
                    <a:pt x="105643" y="65673"/>
                  </a:lnTo>
                  <a:lnTo>
                    <a:pt x="104900" y="64307"/>
                  </a:lnTo>
                  <a:lnTo>
                    <a:pt x="105034" y="63403"/>
                  </a:lnTo>
                  <a:close/>
                  <a:moveTo>
                    <a:pt x="108266" y="55774"/>
                  </a:moveTo>
                  <a:lnTo>
                    <a:pt x="110302" y="56022"/>
                  </a:lnTo>
                  <a:lnTo>
                    <a:pt x="112632" y="57239"/>
                  </a:lnTo>
                  <a:lnTo>
                    <a:pt x="113337" y="57988"/>
                  </a:lnTo>
                  <a:lnTo>
                    <a:pt x="113320" y="58586"/>
                  </a:lnTo>
                  <a:lnTo>
                    <a:pt x="112493" y="59499"/>
                  </a:lnTo>
                  <a:lnTo>
                    <a:pt x="112199" y="60302"/>
                  </a:lnTo>
                  <a:lnTo>
                    <a:pt x="113880" y="60283"/>
                  </a:lnTo>
                  <a:lnTo>
                    <a:pt x="116315" y="60967"/>
                  </a:lnTo>
                  <a:lnTo>
                    <a:pt x="117789" y="61053"/>
                  </a:lnTo>
                  <a:lnTo>
                    <a:pt x="119015" y="61901"/>
                  </a:lnTo>
                  <a:lnTo>
                    <a:pt x="118339" y="63490"/>
                  </a:lnTo>
                  <a:lnTo>
                    <a:pt x="117605" y="63935"/>
                  </a:lnTo>
                  <a:lnTo>
                    <a:pt x="116775" y="64023"/>
                  </a:lnTo>
                  <a:lnTo>
                    <a:pt x="113877" y="62436"/>
                  </a:lnTo>
                  <a:lnTo>
                    <a:pt x="110079" y="63095"/>
                  </a:lnTo>
                  <a:lnTo>
                    <a:pt x="109323" y="62894"/>
                  </a:lnTo>
                  <a:lnTo>
                    <a:pt x="108824" y="62455"/>
                  </a:lnTo>
                  <a:lnTo>
                    <a:pt x="108619" y="61911"/>
                  </a:lnTo>
                  <a:lnTo>
                    <a:pt x="108615" y="60801"/>
                  </a:lnTo>
                  <a:lnTo>
                    <a:pt x="108409" y="60473"/>
                  </a:lnTo>
                  <a:lnTo>
                    <a:pt x="107033" y="61523"/>
                  </a:lnTo>
                  <a:lnTo>
                    <a:pt x="106429" y="61399"/>
                  </a:lnTo>
                  <a:lnTo>
                    <a:pt x="106088" y="60896"/>
                  </a:lnTo>
                  <a:lnTo>
                    <a:pt x="105941" y="59853"/>
                  </a:lnTo>
                  <a:lnTo>
                    <a:pt x="106094" y="58347"/>
                  </a:lnTo>
                  <a:lnTo>
                    <a:pt x="106900" y="56202"/>
                  </a:lnTo>
                  <a:close/>
                  <a:moveTo>
                    <a:pt x="124031" y="50542"/>
                  </a:moveTo>
                  <a:lnTo>
                    <a:pt x="126876" y="50758"/>
                  </a:lnTo>
                  <a:lnTo>
                    <a:pt x="126370" y="51625"/>
                  </a:lnTo>
                  <a:lnTo>
                    <a:pt x="123738" y="52921"/>
                  </a:lnTo>
                  <a:lnTo>
                    <a:pt x="121235" y="52960"/>
                  </a:lnTo>
                  <a:lnTo>
                    <a:pt x="122528" y="51028"/>
                  </a:lnTo>
                  <a:close/>
                  <a:moveTo>
                    <a:pt x="114304" y="49137"/>
                  </a:moveTo>
                  <a:lnTo>
                    <a:pt x="116822" y="51059"/>
                  </a:lnTo>
                  <a:lnTo>
                    <a:pt x="117853" y="52612"/>
                  </a:lnTo>
                  <a:lnTo>
                    <a:pt x="119718" y="53071"/>
                  </a:lnTo>
                  <a:lnTo>
                    <a:pt x="119956" y="53309"/>
                  </a:lnTo>
                  <a:lnTo>
                    <a:pt x="119746" y="54377"/>
                  </a:lnTo>
                  <a:lnTo>
                    <a:pt x="117848" y="55188"/>
                  </a:lnTo>
                  <a:lnTo>
                    <a:pt x="117038" y="54517"/>
                  </a:lnTo>
                  <a:lnTo>
                    <a:pt x="116827" y="52416"/>
                  </a:lnTo>
                  <a:lnTo>
                    <a:pt x="114564" y="51516"/>
                  </a:lnTo>
                  <a:lnTo>
                    <a:pt x="113464" y="50957"/>
                  </a:lnTo>
                  <a:lnTo>
                    <a:pt x="112612" y="49897"/>
                  </a:lnTo>
                  <a:lnTo>
                    <a:pt x="112829" y="49572"/>
                  </a:lnTo>
                  <a:close/>
                  <a:moveTo>
                    <a:pt x="149939" y="7430"/>
                  </a:moveTo>
                  <a:lnTo>
                    <a:pt x="151315" y="7494"/>
                  </a:lnTo>
                  <a:lnTo>
                    <a:pt x="151174" y="9833"/>
                  </a:lnTo>
                  <a:lnTo>
                    <a:pt x="151632" y="12180"/>
                  </a:lnTo>
                  <a:lnTo>
                    <a:pt x="152774" y="11572"/>
                  </a:lnTo>
                  <a:lnTo>
                    <a:pt x="154498" y="13821"/>
                  </a:lnTo>
                  <a:lnTo>
                    <a:pt x="155378" y="13824"/>
                  </a:lnTo>
                  <a:lnTo>
                    <a:pt x="156827" y="12931"/>
                  </a:lnTo>
                  <a:lnTo>
                    <a:pt x="156535" y="15023"/>
                  </a:lnTo>
                  <a:lnTo>
                    <a:pt x="155031" y="20819"/>
                  </a:lnTo>
                  <a:lnTo>
                    <a:pt x="154608" y="21802"/>
                  </a:lnTo>
                  <a:lnTo>
                    <a:pt x="154322" y="23560"/>
                  </a:lnTo>
                  <a:lnTo>
                    <a:pt x="154023" y="23902"/>
                  </a:lnTo>
                  <a:lnTo>
                    <a:pt x="153579" y="27452"/>
                  </a:lnTo>
                  <a:lnTo>
                    <a:pt x="152562" y="28620"/>
                  </a:lnTo>
                  <a:lnTo>
                    <a:pt x="151712" y="31404"/>
                  </a:lnTo>
                  <a:lnTo>
                    <a:pt x="151365" y="31676"/>
                  </a:lnTo>
                  <a:lnTo>
                    <a:pt x="150118" y="30605"/>
                  </a:lnTo>
                  <a:lnTo>
                    <a:pt x="151364" y="26353"/>
                  </a:lnTo>
                  <a:lnTo>
                    <a:pt x="151880" y="23878"/>
                  </a:lnTo>
                  <a:lnTo>
                    <a:pt x="151554" y="22593"/>
                  </a:lnTo>
                  <a:lnTo>
                    <a:pt x="150849" y="21436"/>
                  </a:lnTo>
                  <a:lnTo>
                    <a:pt x="148942" y="21399"/>
                  </a:lnTo>
                  <a:lnTo>
                    <a:pt x="147340" y="21933"/>
                  </a:lnTo>
                  <a:lnTo>
                    <a:pt x="147000" y="21250"/>
                  </a:lnTo>
                  <a:lnTo>
                    <a:pt x="146950" y="20329"/>
                  </a:lnTo>
                  <a:lnTo>
                    <a:pt x="146564" y="20023"/>
                  </a:lnTo>
                  <a:lnTo>
                    <a:pt x="144431" y="20086"/>
                  </a:lnTo>
                  <a:lnTo>
                    <a:pt x="143805" y="19832"/>
                  </a:lnTo>
                  <a:lnTo>
                    <a:pt x="143392" y="18986"/>
                  </a:lnTo>
                  <a:lnTo>
                    <a:pt x="143310" y="18314"/>
                  </a:lnTo>
                  <a:lnTo>
                    <a:pt x="145236" y="17787"/>
                  </a:lnTo>
                  <a:lnTo>
                    <a:pt x="147054" y="17983"/>
                  </a:lnTo>
                  <a:lnTo>
                    <a:pt x="149703" y="16640"/>
                  </a:lnTo>
                  <a:lnTo>
                    <a:pt x="148046" y="12130"/>
                  </a:lnTo>
                  <a:lnTo>
                    <a:pt x="145851" y="11705"/>
                  </a:lnTo>
                  <a:lnTo>
                    <a:pt x="145344" y="11268"/>
                  </a:lnTo>
                  <a:lnTo>
                    <a:pt x="145767" y="10502"/>
                  </a:lnTo>
                  <a:lnTo>
                    <a:pt x="146972" y="10089"/>
                  </a:lnTo>
                  <a:lnTo>
                    <a:pt x="148828" y="7792"/>
                  </a:lnTo>
                  <a:close/>
                  <a:moveTo>
                    <a:pt x="155924" y="3736"/>
                  </a:moveTo>
                  <a:lnTo>
                    <a:pt x="157863" y="3860"/>
                  </a:lnTo>
                  <a:lnTo>
                    <a:pt x="158171" y="4878"/>
                  </a:lnTo>
                  <a:lnTo>
                    <a:pt x="157979" y="5814"/>
                  </a:lnTo>
                  <a:lnTo>
                    <a:pt x="156991" y="5897"/>
                  </a:lnTo>
                  <a:lnTo>
                    <a:pt x="156903" y="6184"/>
                  </a:lnTo>
                  <a:lnTo>
                    <a:pt x="157211" y="7986"/>
                  </a:lnTo>
                  <a:lnTo>
                    <a:pt x="157230" y="10077"/>
                  </a:lnTo>
                  <a:lnTo>
                    <a:pt x="157046" y="10621"/>
                  </a:lnTo>
                  <a:lnTo>
                    <a:pt x="156486" y="11006"/>
                  </a:lnTo>
                  <a:lnTo>
                    <a:pt x="154327" y="7619"/>
                  </a:lnTo>
                  <a:close/>
                  <a:moveTo>
                    <a:pt x="161891" y="0"/>
                  </a:moveTo>
                  <a:lnTo>
                    <a:pt x="162369" y="21"/>
                  </a:lnTo>
                  <a:lnTo>
                    <a:pt x="162978" y="667"/>
                  </a:lnTo>
                  <a:lnTo>
                    <a:pt x="162977" y="1051"/>
                  </a:lnTo>
                  <a:lnTo>
                    <a:pt x="161831" y="3871"/>
                  </a:lnTo>
                  <a:lnTo>
                    <a:pt x="161846" y="4948"/>
                  </a:lnTo>
                  <a:lnTo>
                    <a:pt x="159996" y="4845"/>
                  </a:lnTo>
                  <a:lnTo>
                    <a:pt x="159706" y="4502"/>
                  </a:lnTo>
                  <a:lnTo>
                    <a:pt x="159356" y="2885"/>
                  </a:lnTo>
                  <a:lnTo>
                    <a:pt x="159589" y="1162"/>
                  </a:lnTo>
                  <a:lnTo>
                    <a:pt x="159848" y="718"/>
                  </a:lnTo>
                  <a:lnTo>
                    <a:pt x="160388" y="535"/>
                  </a:lnTo>
                  <a:lnTo>
                    <a:pt x="160973" y="873"/>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0" name="ee4p_GR_1_15912">
              <a:extLst>
                <a:ext uri="{FF2B5EF4-FFF2-40B4-BE49-F238E27FC236}">
                  <a16:creationId xmlns:a16="http://schemas.microsoft.com/office/drawing/2014/main" id="{8DD285F1-310F-5E63-667B-4E4425EE69E2}"/>
                </a:ext>
              </a:extLst>
            </p:cNvPr>
            <p:cNvSpPr>
              <a:spLocks noChangeAspect="1"/>
            </p:cNvSpPr>
            <p:nvPr>
              <p:custDataLst>
                <p:tags r:id="rId32"/>
              </p:custDataLst>
            </p:nvPr>
          </p:nvSpPr>
          <p:spPr>
            <a:xfrm>
              <a:off x="5493872" y="5435278"/>
              <a:ext cx="752573" cy="694414"/>
            </a:xfrm>
            <a:custGeom>
              <a:avLst/>
              <a:gdLst>
                <a:gd name="connsiteX0" fmla="*/ 90448 w 189841"/>
                <a:gd name="connsiteY0" fmla="*/ 157073 h 175170"/>
                <a:gd name="connsiteX1" fmla="*/ 91198 w 189841"/>
                <a:gd name="connsiteY1" fmla="*/ 157609 h 175170"/>
                <a:gd name="connsiteX2" fmla="*/ 91697 w 189841"/>
                <a:gd name="connsiteY2" fmla="*/ 159571 h 175170"/>
                <a:gd name="connsiteX3" fmla="*/ 92998 w 189841"/>
                <a:gd name="connsiteY3" fmla="*/ 160093 h 175170"/>
                <a:gd name="connsiteX4" fmla="*/ 94510 w 189841"/>
                <a:gd name="connsiteY4" fmla="*/ 160276 h 175170"/>
                <a:gd name="connsiteX5" fmla="*/ 96559 w 189841"/>
                <a:gd name="connsiteY5" fmla="*/ 160244 h 175170"/>
                <a:gd name="connsiteX6" fmla="*/ 97026 w 189841"/>
                <a:gd name="connsiteY6" fmla="*/ 160094 h 175170"/>
                <a:gd name="connsiteX7" fmla="*/ 98330 w 189841"/>
                <a:gd name="connsiteY7" fmla="*/ 158624 h 175170"/>
                <a:gd name="connsiteX8" fmla="*/ 99937 w 189841"/>
                <a:gd name="connsiteY8" fmla="*/ 158590 h 175170"/>
                <a:gd name="connsiteX9" fmla="*/ 100638 w 189841"/>
                <a:gd name="connsiteY9" fmla="*/ 160043 h 175170"/>
                <a:gd name="connsiteX10" fmla="*/ 99008 w 189841"/>
                <a:gd name="connsiteY10" fmla="*/ 160712 h 175170"/>
                <a:gd name="connsiteX11" fmla="*/ 98676 w 189841"/>
                <a:gd name="connsiteY11" fmla="*/ 161090 h 175170"/>
                <a:gd name="connsiteX12" fmla="*/ 98989 w 189841"/>
                <a:gd name="connsiteY12" fmla="*/ 161396 h 175170"/>
                <a:gd name="connsiteX13" fmla="*/ 100213 w 189841"/>
                <a:gd name="connsiteY13" fmla="*/ 162002 h 175170"/>
                <a:gd name="connsiteX14" fmla="*/ 101913 w 189841"/>
                <a:gd name="connsiteY14" fmla="*/ 161773 h 175170"/>
                <a:gd name="connsiteX15" fmla="*/ 101964 w 189841"/>
                <a:gd name="connsiteY15" fmla="*/ 162916 h 175170"/>
                <a:gd name="connsiteX16" fmla="*/ 102344 w 189841"/>
                <a:gd name="connsiteY16" fmla="*/ 163849 h 175170"/>
                <a:gd name="connsiteX17" fmla="*/ 103184 w 189841"/>
                <a:gd name="connsiteY17" fmla="*/ 164406 h 175170"/>
                <a:gd name="connsiteX18" fmla="*/ 104093 w 189841"/>
                <a:gd name="connsiteY18" fmla="*/ 164515 h 175170"/>
                <a:gd name="connsiteX19" fmla="*/ 106104 w 189841"/>
                <a:gd name="connsiteY19" fmla="*/ 164350 h 175170"/>
                <a:gd name="connsiteX20" fmla="*/ 108086 w 189841"/>
                <a:gd name="connsiteY20" fmla="*/ 163980 h 175170"/>
                <a:gd name="connsiteX21" fmla="*/ 110129 w 189841"/>
                <a:gd name="connsiteY21" fmla="*/ 163248 h 175170"/>
                <a:gd name="connsiteX22" fmla="*/ 112215 w 189841"/>
                <a:gd name="connsiteY22" fmla="*/ 162874 h 175170"/>
                <a:gd name="connsiteX23" fmla="*/ 118447 w 189841"/>
                <a:gd name="connsiteY23" fmla="*/ 163249 h 175170"/>
                <a:gd name="connsiteX24" fmla="*/ 120684 w 189841"/>
                <a:gd name="connsiteY24" fmla="*/ 164830 h 175170"/>
                <a:gd name="connsiteX25" fmla="*/ 124940 w 189841"/>
                <a:gd name="connsiteY25" fmla="*/ 165020 h 175170"/>
                <a:gd name="connsiteX26" fmla="*/ 128896 w 189841"/>
                <a:gd name="connsiteY26" fmla="*/ 165852 h 175170"/>
                <a:gd name="connsiteX27" fmla="*/ 130974 w 189841"/>
                <a:gd name="connsiteY27" fmla="*/ 165303 h 175170"/>
                <a:gd name="connsiteX28" fmla="*/ 134523 w 189841"/>
                <a:gd name="connsiteY28" fmla="*/ 164788 h 175170"/>
                <a:gd name="connsiteX29" fmla="*/ 135092 w 189841"/>
                <a:gd name="connsiteY29" fmla="*/ 165346 h 175170"/>
                <a:gd name="connsiteX30" fmla="*/ 134633 w 189841"/>
                <a:gd name="connsiteY30" fmla="*/ 168918 h 175170"/>
                <a:gd name="connsiteX31" fmla="*/ 134852 w 189841"/>
                <a:gd name="connsiteY31" fmla="*/ 169953 h 175170"/>
                <a:gd name="connsiteX32" fmla="*/ 135875 w 189841"/>
                <a:gd name="connsiteY32" fmla="*/ 170451 h 175170"/>
                <a:gd name="connsiteX33" fmla="*/ 136888 w 189841"/>
                <a:gd name="connsiteY33" fmla="*/ 170208 h 175170"/>
                <a:gd name="connsiteX34" fmla="*/ 138132 w 189841"/>
                <a:gd name="connsiteY34" fmla="*/ 169039 h 175170"/>
                <a:gd name="connsiteX35" fmla="*/ 141109 w 189841"/>
                <a:gd name="connsiteY35" fmla="*/ 168134 h 175170"/>
                <a:gd name="connsiteX36" fmla="*/ 144202 w 189841"/>
                <a:gd name="connsiteY36" fmla="*/ 168139 h 175170"/>
                <a:gd name="connsiteX37" fmla="*/ 146804 w 189841"/>
                <a:gd name="connsiteY37" fmla="*/ 165763 h 175170"/>
                <a:gd name="connsiteX38" fmla="*/ 147571 w 189841"/>
                <a:gd name="connsiteY38" fmla="*/ 165628 h 175170"/>
                <a:gd name="connsiteX39" fmla="*/ 147093 w 189841"/>
                <a:gd name="connsiteY39" fmla="*/ 166796 h 175170"/>
                <a:gd name="connsiteX40" fmla="*/ 146700 w 189841"/>
                <a:gd name="connsiteY40" fmla="*/ 169539 h 175170"/>
                <a:gd name="connsiteX41" fmla="*/ 146141 w 189841"/>
                <a:gd name="connsiteY41" fmla="*/ 171145 h 175170"/>
                <a:gd name="connsiteX42" fmla="*/ 145892 w 189841"/>
                <a:gd name="connsiteY42" fmla="*/ 172410 h 175170"/>
                <a:gd name="connsiteX43" fmla="*/ 144152 w 189841"/>
                <a:gd name="connsiteY43" fmla="*/ 173063 h 175170"/>
                <a:gd name="connsiteX44" fmla="*/ 141522 w 189841"/>
                <a:gd name="connsiteY44" fmla="*/ 173175 h 175170"/>
                <a:gd name="connsiteX45" fmla="*/ 136724 w 189841"/>
                <a:gd name="connsiteY45" fmla="*/ 172898 h 175170"/>
                <a:gd name="connsiteX46" fmla="*/ 131887 w 189841"/>
                <a:gd name="connsiteY46" fmla="*/ 173346 h 175170"/>
                <a:gd name="connsiteX47" fmla="*/ 122928 w 189841"/>
                <a:gd name="connsiteY47" fmla="*/ 174549 h 175170"/>
                <a:gd name="connsiteX48" fmla="*/ 113951 w 189841"/>
                <a:gd name="connsiteY48" fmla="*/ 175170 h 175170"/>
                <a:gd name="connsiteX49" fmla="*/ 112744 w 189841"/>
                <a:gd name="connsiteY49" fmla="*/ 174765 h 175170"/>
                <a:gd name="connsiteX50" fmla="*/ 112716 w 189841"/>
                <a:gd name="connsiteY50" fmla="*/ 173170 h 175170"/>
                <a:gd name="connsiteX51" fmla="*/ 112522 w 189841"/>
                <a:gd name="connsiteY51" fmla="*/ 172069 h 175170"/>
                <a:gd name="connsiteX52" fmla="*/ 111941 w 189841"/>
                <a:gd name="connsiteY52" fmla="*/ 171298 h 175170"/>
                <a:gd name="connsiteX53" fmla="*/ 109166 w 189841"/>
                <a:gd name="connsiteY53" fmla="*/ 170640 h 175170"/>
                <a:gd name="connsiteX54" fmla="*/ 106519 w 189841"/>
                <a:gd name="connsiteY54" fmla="*/ 169511 h 175170"/>
                <a:gd name="connsiteX55" fmla="*/ 96140 w 189841"/>
                <a:gd name="connsiteY55" fmla="*/ 167967 h 175170"/>
                <a:gd name="connsiteX56" fmla="*/ 93692 w 189841"/>
                <a:gd name="connsiteY56" fmla="*/ 167361 h 175170"/>
                <a:gd name="connsiteX57" fmla="*/ 89718 w 189841"/>
                <a:gd name="connsiteY57" fmla="*/ 167677 h 175170"/>
                <a:gd name="connsiteX58" fmla="*/ 88263 w 189841"/>
                <a:gd name="connsiteY58" fmla="*/ 167635 h 175170"/>
                <a:gd name="connsiteX59" fmla="*/ 87261 w 189841"/>
                <a:gd name="connsiteY59" fmla="*/ 167081 h 175170"/>
                <a:gd name="connsiteX60" fmla="*/ 86572 w 189841"/>
                <a:gd name="connsiteY60" fmla="*/ 166129 h 175170"/>
                <a:gd name="connsiteX61" fmla="*/ 86261 w 189841"/>
                <a:gd name="connsiteY61" fmla="*/ 163106 h 175170"/>
                <a:gd name="connsiteX62" fmla="*/ 86753 w 189841"/>
                <a:gd name="connsiteY62" fmla="*/ 160110 h 175170"/>
                <a:gd name="connsiteX63" fmla="*/ 87613 w 189841"/>
                <a:gd name="connsiteY63" fmla="*/ 159318 h 175170"/>
                <a:gd name="connsiteX64" fmla="*/ 88008 w 189841"/>
                <a:gd name="connsiteY64" fmla="*/ 160221 h 175170"/>
                <a:gd name="connsiteX65" fmla="*/ 89027 w 189841"/>
                <a:gd name="connsiteY65" fmla="*/ 160634 h 175170"/>
                <a:gd name="connsiteX66" fmla="*/ 89973 w 189841"/>
                <a:gd name="connsiteY66" fmla="*/ 159724 h 175170"/>
                <a:gd name="connsiteX67" fmla="*/ 89964 w 189841"/>
                <a:gd name="connsiteY67" fmla="*/ 158350 h 175170"/>
                <a:gd name="connsiteX68" fmla="*/ 167536 w 189841"/>
                <a:gd name="connsiteY68" fmla="*/ 152919 h 175170"/>
                <a:gd name="connsiteX69" fmla="*/ 167180 w 189841"/>
                <a:gd name="connsiteY69" fmla="*/ 155589 h 175170"/>
                <a:gd name="connsiteX70" fmla="*/ 166078 w 189841"/>
                <a:gd name="connsiteY70" fmla="*/ 157728 h 175170"/>
                <a:gd name="connsiteX71" fmla="*/ 167221 w 189841"/>
                <a:gd name="connsiteY71" fmla="*/ 159502 h 175170"/>
                <a:gd name="connsiteX72" fmla="*/ 167767 w 189841"/>
                <a:gd name="connsiteY72" fmla="*/ 161523 h 175170"/>
                <a:gd name="connsiteX73" fmla="*/ 166495 w 189841"/>
                <a:gd name="connsiteY73" fmla="*/ 161857 h 175170"/>
                <a:gd name="connsiteX74" fmla="*/ 165651 w 189841"/>
                <a:gd name="connsiteY74" fmla="*/ 163269 h 175170"/>
                <a:gd name="connsiteX75" fmla="*/ 164794 w 189841"/>
                <a:gd name="connsiteY75" fmla="*/ 162079 h 175170"/>
                <a:gd name="connsiteX76" fmla="*/ 165163 w 189841"/>
                <a:gd name="connsiteY76" fmla="*/ 160705 h 175170"/>
                <a:gd name="connsiteX77" fmla="*/ 164165 w 189841"/>
                <a:gd name="connsiteY77" fmla="*/ 158526 h 175170"/>
                <a:gd name="connsiteX78" fmla="*/ 166053 w 189841"/>
                <a:gd name="connsiteY78" fmla="*/ 155292 h 175170"/>
                <a:gd name="connsiteX79" fmla="*/ 166096 w 189841"/>
                <a:gd name="connsiteY79" fmla="*/ 153720 h 175170"/>
                <a:gd name="connsiteX80" fmla="*/ 73059 w 189841"/>
                <a:gd name="connsiteY80" fmla="*/ 138689 h 175170"/>
                <a:gd name="connsiteX81" fmla="*/ 74106 w 189841"/>
                <a:gd name="connsiteY81" fmla="*/ 140102 h 175170"/>
                <a:gd name="connsiteX82" fmla="*/ 76300 w 189841"/>
                <a:gd name="connsiteY82" fmla="*/ 142164 h 175170"/>
                <a:gd name="connsiteX83" fmla="*/ 75343 w 189841"/>
                <a:gd name="connsiteY83" fmla="*/ 143599 h 175170"/>
                <a:gd name="connsiteX84" fmla="*/ 75086 w 189841"/>
                <a:gd name="connsiteY84" fmla="*/ 144696 h 175170"/>
                <a:gd name="connsiteX85" fmla="*/ 72815 w 189841"/>
                <a:gd name="connsiteY85" fmla="*/ 143942 h 175170"/>
                <a:gd name="connsiteX86" fmla="*/ 72182 w 189841"/>
                <a:gd name="connsiteY86" fmla="*/ 142810 h 175170"/>
                <a:gd name="connsiteX87" fmla="*/ 72068 w 189841"/>
                <a:gd name="connsiteY87" fmla="*/ 140299 h 175170"/>
                <a:gd name="connsiteX88" fmla="*/ 72664 w 189841"/>
                <a:gd name="connsiteY88" fmla="*/ 139074 h 175170"/>
                <a:gd name="connsiteX89" fmla="*/ 189841 w 189841"/>
                <a:gd name="connsiteY89" fmla="*/ 137431 h 175170"/>
                <a:gd name="connsiteX90" fmla="*/ 189801 w 189841"/>
                <a:gd name="connsiteY90" fmla="*/ 139035 h 175170"/>
                <a:gd name="connsiteX91" fmla="*/ 187899 w 189841"/>
                <a:gd name="connsiteY91" fmla="*/ 143092 h 175170"/>
                <a:gd name="connsiteX92" fmla="*/ 186211 w 189841"/>
                <a:gd name="connsiteY92" fmla="*/ 145117 h 175170"/>
                <a:gd name="connsiteX93" fmla="*/ 186655 w 189841"/>
                <a:gd name="connsiteY93" fmla="*/ 146743 h 175170"/>
                <a:gd name="connsiteX94" fmla="*/ 183952 w 189841"/>
                <a:gd name="connsiteY94" fmla="*/ 147193 h 175170"/>
                <a:gd name="connsiteX95" fmla="*/ 181238 w 189841"/>
                <a:gd name="connsiteY95" fmla="*/ 150175 h 175170"/>
                <a:gd name="connsiteX96" fmla="*/ 179642 w 189841"/>
                <a:gd name="connsiteY96" fmla="*/ 150705 h 175170"/>
                <a:gd name="connsiteX97" fmla="*/ 179091 w 189841"/>
                <a:gd name="connsiteY97" fmla="*/ 150636 h 175170"/>
                <a:gd name="connsiteX98" fmla="*/ 178424 w 189841"/>
                <a:gd name="connsiteY98" fmla="*/ 149468 h 175170"/>
                <a:gd name="connsiteX99" fmla="*/ 179348 w 189841"/>
                <a:gd name="connsiteY99" fmla="*/ 146645 h 175170"/>
                <a:gd name="connsiteX100" fmla="*/ 178493 w 189841"/>
                <a:gd name="connsiteY100" fmla="*/ 144829 h 175170"/>
                <a:gd name="connsiteX101" fmla="*/ 178441 w 189841"/>
                <a:gd name="connsiteY101" fmla="*/ 144059 h 175170"/>
                <a:gd name="connsiteX102" fmla="*/ 179726 w 189841"/>
                <a:gd name="connsiteY102" fmla="*/ 142993 h 175170"/>
                <a:gd name="connsiteX103" fmla="*/ 180629 w 189841"/>
                <a:gd name="connsiteY103" fmla="*/ 141396 h 175170"/>
                <a:gd name="connsiteX104" fmla="*/ 182822 w 189841"/>
                <a:gd name="connsiteY104" fmla="*/ 139667 h 175170"/>
                <a:gd name="connsiteX105" fmla="*/ 188506 w 189841"/>
                <a:gd name="connsiteY105" fmla="*/ 137619 h 175170"/>
                <a:gd name="connsiteX106" fmla="*/ 127421 w 189841"/>
                <a:gd name="connsiteY106" fmla="*/ 136416 h 175170"/>
                <a:gd name="connsiteX107" fmla="*/ 128713 w 189841"/>
                <a:gd name="connsiteY107" fmla="*/ 137395 h 175170"/>
                <a:gd name="connsiteX108" fmla="*/ 129045 w 189841"/>
                <a:gd name="connsiteY108" fmla="*/ 138469 h 175170"/>
                <a:gd name="connsiteX109" fmla="*/ 128017 w 189841"/>
                <a:gd name="connsiteY109" fmla="*/ 139799 h 175170"/>
                <a:gd name="connsiteX110" fmla="*/ 126570 w 189841"/>
                <a:gd name="connsiteY110" fmla="*/ 139322 h 175170"/>
                <a:gd name="connsiteX111" fmla="*/ 127160 w 189841"/>
                <a:gd name="connsiteY111" fmla="*/ 138816 h 175170"/>
                <a:gd name="connsiteX112" fmla="*/ 127508 w 189841"/>
                <a:gd name="connsiteY112" fmla="*/ 138159 h 175170"/>
                <a:gd name="connsiteX113" fmla="*/ 127546 w 189841"/>
                <a:gd name="connsiteY113" fmla="*/ 137212 h 175170"/>
                <a:gd name="connsiteX114" fmla="*/ 127154 w 189841"/>
                <a:gd name="connsiteY114" fmla="*/ 136629 h 175170"/>
                <a:gd name="connsiteX115" fmla="*/ 148672 w 189841"/>
                <a:gd name="connsiteY115" fmla="*/ 132238 h 175170"/>
                <a:gd name="connsiteX116" fmla="*/ 149805 w 189841"/>
                <a:gd name="connsiteY116" fmla="*/ 132602 h 175170"/>
                <a:gd name="connsiteX117" fmla="*/ 150676 w 189841"/>
                <a:gd name="connsiteY117" fmla="*/ 133587 h 175170"/>
                <a:gd name="connsiteX118" fmla="*/ 148929 w 189841"/>
                <a:gd name="connsiteY118" fmla="*/ 134192 h 175170"/>
                <a:gd name="connsiteX119" fmla="*/ 147819 w 189841"/>
                <a:gd name="connsiteY119" fmla="*/ 135462 h 175170"/>
                <a:gd name="connsiteX120" fmla="*/ 146461 w 189841"/>
                <a:gd name="connsiteY120" fmla="*/ 134562 h 175170"/>
                <a:gd name="connsiteX121" fmla="*/ 146456 w 189841"/>
                <a:gd name="connsiteY121" fmla="*/ 133333 h 175170"/>
                <a:gd name="connsiteX122" fmla="*/ 147942 w 189841"/>
                <a:gd name="connsiteY122" fmla="*/ 133709 h 175170"/>
                <a:gd name="connsiteX123" fmla="*/ 148985 w 189841"/>
                <a:gd name="connsiteY123" fmla="*/ 133017 h 175170"/>
                <a:gd name="connsiteX124" fmla="*/ 181674 w 189841"/>
                <a:gd name="connsiteY124" fmla="*/ 132173 h 175170"/>
                <a:gd name="connsiteX125" fmla="*/ 181836 w 189841"/>
                <a:gd name="connsiteY125" fmla="*/ 132646 h 175170"/>
                <a:gd name="connsiteX126" fmla="*/ 181818 w 189841"/>
                <a:gd name="connsiteY126" fmla="*/ 133656 h 175170"/>
                <a:gd name="connsiteX127" fmla="*/ 181622 w 189841"/>
                <a:gd name="connsiteY127" fmla="*/ 134385 h 175170"/>
                <a:gd name="connsiteX128" fmla="*/ 181138 w 189841"/>
                <a:gd name="connsiteY128" fmla="*/ 134788 h 175170"/>
                <a:gd name="connsiteX129" fmla="*/ 180028 w 189841"/>
                <a:gd name="connsiteY129" fmla="*/ 133630 h 175170"/>
                <a:gd name="connsiteX130" fmla="*/ 179976 w 189841"/>
                <a:gd name="connsiteY130" fmla="*/ 133026 h 175170"/>
                <a:gd name="connsiteX131" fmla="*/ 181106 w 189841"/>
                <a:gd name="connsiteY131" fmla="*/ 132333 h 175170"/>
                <a:gd name="connsiteX132" fmla="*/ 108112 w 189841"/>
                <a:gd name="connsiteY132" fmla="*/ 129062 h 175170"/>
                <a:gd name="connsiteX133" fmla="*/ 108151 w 189841"/>
                <a:gd name="connsiteY133" fmla="*/ 130553 h 175170"/>
                <a:gd name="connsiteX134" fmla="*/ 108000 w 189841"/>
                <a:gd name="connsiteY134" fmla="*/ 131087 h 175170"/>
                <a:gd name="connsiteX135" fmla="*/ 103474 w 189841"/>
                <a:gd name="connsiteY135" fmla="*/ 131806 h 175170"/>
                <a:gd name="connsiteX136" fmla="*/ 103893 w 189841"/>
                <a:gd name="connsiteY136" fmla="*/ 130097 h 175170"/>
                <a:gd name="connsiteX137" fmla="*/ 104169 w 189841"/>
                <a:gd name="connsiteY137" fmla="*/ 129557 h 175170"/>
                <a:gd name="connsiteX138" fmla="*/ 105668 w 189841"/>
                <a:gd name="connsiteY138" fmla="*/ 130352 h 175170"/>
                <a:gd name="connsiteX139" fmla="*/ 106220 w 189841"/>
                <a:gd name="connsiteY139" fmla="*/ 129946 h 175170"/>
                <a:gd name="connsiteX140" fmla="*/ 106445 w 189841"/>
                <a:gd name="connsiteY140" fmla="*/ 129476 h 175170"/>
                <a:gd name="connsiteX141" fmla="*/ 124921 w 189841"/>
                <a:gd name="connsiteY141" fmla="*/ 128417 h 175170"/>
                <a:gd name="connsiteX142" fmla="*/ 127376 w 189841"/>
                <a:gd name="connsiteY142" fmla="*/ 130240 h 175170"/>
                <a:gd name="connsiteX143" fmla="*/ 126819 w 189841"/>
                <a:gd name="connsiteY143" fmla="*/ 131339 h 175170"/>
                <a:gd name="connsiteX144" fmla="*/ 126434 w 189841"/>
                <a:gd name="connsiteY144" fmla="*/ 131737 h 175170"/>
                <a:gd name="connsiteX145" fmla="*/ 124761 w 189841"/>
                <a:gd name="connsiteY145" fmla="*/ 130134 h 175170"/>
                <a:gd name="connsiteX146" fmla="*/ 124126 w 189841"/>
                <a:gd name="connsiteY146" fmla="*/ 129197 h 175170"/>
                <a:gd name="connsiteX147" fmla="*/ 168476 w 189841"/>
                <a:gd name="connsiteY147" fmla="*/ 125472 h 175170"/>
                <a:gd name="connsiteX148" fmla="*/ 170389 w 189841"/>
                <a:gd name="connsiteY148" fmla="*/ 126393 h 175170"/>
                <a:gd name="connsiteX149" fmla="*/ 166873 w 189841"/>
                <a:gd name="connsiteY149" fmla="*/ 127910 h 175170"/>
                <a:gd name="connsiteX150" fmla="*/ 165940 w 189841"/>
                <a:gd name="connsiteY150" fmla="*/ 128712 h 175170"/>
                <a:gd name="connsiteX151" fmla="*/ 163345 w 189841"/>
                <a:gd name="connsiteY151" fmla="*/ 128885 h 175170"/>
                <a:gd name="connsiteX152" fmla="*/ 161488 w 189841"/>
                <a:gd name="connsiteY152" fmla="*/ 129993 h 175170"/>
                <a:gd name="connsiteX153" fmla="*/ 160797 w 189841"/>
                <a:gd name="connsiteY153" fmla="*/ 130023 h 175170"/>
                <a:gd name="connsiteX154" fmla="*/ 161619 w 189841"/>
                <a:gd name="connsiteY154" fmla="*/ 128797 h 175170"/>
                <a:gd name="connsiteX155" fmla="*/ 163954 w 189841"/>
                <a:gd name="connsiteY155" fmla="*/ 127117 h 175170"/>
                <a:gd name="connsiteX156" fmla="*/ 167355 w 189841"/>
                <a:gd name="connsiteY156" fmla="*/ 125637 h 175170"/>
                <a:gd name="connsiteX157" fmla="*/ 140505 w 189841"/>
                <a:gd name="connsiteY157" fmla="*/ 124652 h 175170"/>
                <a:gd name="connsiteX158" fmla="*/ 141915 w 189841"/>
                <a:gd name="connsiteY158" fmla="*/ 125533 h 175170"/>
                <a:gd name="connsiteX159" fmla="*/ 140151 w 189841"/>
                <a:gd name="connsiteY159" fmla="*/ 126118 h 175170"/>
                <a:gd name="connsiteX160" fmla="*/ 137380 w 189841"/>
                <a:gd name="connsiteY160" fmla="*/ 128386 h 175170"/>
                <a:gd name="connsiteX161" fmla="*/ 135428 w 189841"/>
                <a:gd name="connsiteY161" fmla="*/ 128594 h 175170"/>
                <a:gd name="connsiteX162" fmla="*/ 134811 w 189841"/>
                <a:gd name="connsiteY162" fmla="*/ 128403 h 175170"/>
                <a:gd name="connsiteX163" fmla="*/ 135996 w 189841"/>
                <a:gd name="connsiteY163" fmla="*/ 127964 h 175170"/>
                <a:gd name="connsiteX164" fmla="*/ 136828 w 189841"/>
                <a:gd name="connsiteY164" fmla="*/ 127498 h 175170"/>
                <a:gd name="connsiteX165" fmla="*/ 137227 w 189841"/>
                <a:gd name="connsiteY165" fmla="*/ 126934 h 175170"/>
                <a:gd name="connsiteX166" fmla="*/ 139207 w 189841"/>
                <a:gd name="connsiteY166" fmla="*/ 125943 h 175170"/>
                <a:gd name="connsiteX167" fmla="*/ 112100 w 189841"/>
                <a:gd name="connsiteY167" fmla="*/ 122454 h 175170"/>
                <a:gd name="connsiteX168" fmla="*/ 113141 w 189841"/>
                <a:gd name="connsiteY168" fmla="*/ 124351 h 175170"/>
                <a:gd name="connsiteX169" fmla="*/ 112206 w 189841"/>
                <a:gd name="connsiteY169" fmla="*/ 125057 h 175170"/>
                <a:gd name="connsiteX170" fmla="*/ 111802 w 189841"/>
                <a:gd name="connsiteY170" fmla="*/ 125168 h 175170"/>
                <a:gd name="connsiteX171" fmla="*/ 111224 w 189841"/>
                <a:gd name="connsiteY171" fmla="*/ 124096 h 175170"/>
                <a:gd name="connsiteX172" fmla="*/ 111103 w 189841"/>
                <a:gd name="connsiteY172" fmla="*/ 123096 h 175170"/>
                <a:gd name="connsiteX173" fmla="*/ 111334 w 189841"/>
                <a:gd name="connsiteY173" fmla="*/ 122510 h 175170"/>
                <a:gd name="connsiteX174" fmla="*/ 160140 w 189841"/>
                <a:gd name="connsiteY174" fmla="*/ 120840 h 175170"/>
                <a:gd name="connsiteX175" fmla="*/ 161864 w 189841"/>
                <a:gd name="connsiteY175" fmla="*/ 121735 h 175170"/>
                <a:gd name="connsiteX176" fmla="*/ 162956 w 189841"/>
                <a:gd name="connsiteY176" fmla="*/ 122814 h 175170"/>
                <a:gd name="connsiteX177" fmla="*/ 163489 w 189841"/>
                <a:gd name="connsiteY177" fmla="*/ 123020 h 175170"/>
                <a:gd name="connsiteX178" fmla="*/ 163366 w 189841"/>
                <a:gd name="connsiteY178" fmla="*/ 123671 h 175170"/>
                <a:gd name="connsiteX179" fmla="*/ 163038 w 189841"/>
                <a:gd name="connsiteY179" fmla="*/ 124102 h 175170"/>
                <a:gd name="connsiteX180" fmla="*/ 160831 w 189841"/>
                <a:gd name="connsiteY180" fmla="*/ 124453 h 175170"/>
                <a:gd name="connsiteX181" fmla="*/ 161224 w 189841"/>
                <a:gd name="connsiteY181" fmla="*/ 122434 h 175170"/>
                <a:gd name="connsiteX182" fmla="*/ 123575 w 189841"/>
                <a:gd name="connsiteY182" fmla="*/ 119280 h 175170"/>
                <a:gd name="connsiteX183" fmla="*/ 124465 w 189841"/>
                <a:gd name="connsiteY183" fmla="*/ 119553 h 175170"/>
                <a:gd name="connsiteX184" fmla="*/ 124381 w 189841"/>
                <a:gd name="connsiteY184" fmla="*/ 120919 h 175170"/>
                <a:gd name="connsiteX185" fmla="*/ 124545 w 189841"/>
                <a:gd name="connsiteY185" fmla="*/ 121320 h 175170"/>
                <a:gd name="connsiteX186" fmla="*/ 122787 w 189841"/>
                <a:gd name="connsiteY186" fmla="*/ 123281 h 175170"/>
                <a:gd name="connsiteX187" fmla="*/ 121325 w 189841"/>
                <a:gd name="connsiteY187" fmla="*/ 123069 h 175170"/>
                <a:gd name="connsiteX188" fmla="*/ 120710 w 189841"/>
                <a:gd name="connsiteY188" fmla="*/ 122171 h 175170"/>
                <a:gd name="connsiteX189" fmla="*/ 121617 w 189841"/>
                <a:gd name="connsiteY189" fmla="*/ 120327 h 175170"/>
                <a:gd name="connsiteX190" fmla="*/ 129993 w 189841"/>
                <a:gd name="connsiteY190" fmla="*/ 118062 h 175170"/>
                <a:gd name="connsiteX191" fmla="*/ 130857 w 189841"/>
                <a:gd name="connsiteY191" fmla="*/ 118349 h 175170"/>
                <a:gd name="connsiteX192" fmla="*/ 131377 w 189841"/>
                <a:gd name="connsiteY192" fmla="*/ 119179 h 175170"/>
                <a:gd name="connsiteX193" fmla="*/ 131297 w 189841"/>
                <a:gd name="connsiteY193" fmla="*/ 122060 h 175170"/>
                <a:gd name="connsiteX194" fmla="*/ 130449 w 189841"/>
                <a:gd name="connsiteY194" fmla="*/ 123885 h 175170"/>
                <a:gd name="connsiteX195" fmla="*/ 128477 w 189841"/>
                <a:gd name="connsiteY195" fmla="*/ 124848 h 175170"/>
                <a:gd name="connsiteX196" fmla="*/ 127132 w 189841"/>
                <a:gd name="connsiteY196" fmla="*/ 123458 h 175170"/>
                <a:gd name="connsiteX197" fmla="*/ 126380 w 189841"/>
                <a:gd name="connsiteY197" fmla="*/ 121269 h 175170"/>
                <a:gd name="connsiteX198" fmla="*/ 106963 w 189841"/>
                <a:gd name="connsiteY198" fmla="*/ 117710 h 175170"/>
                <a:gd name="connsiteX199" fmla="*/ 107965 w 189841"/>
                <a:gd name="connsiteY199" fmla="*/ 118165 h 175170"/>
                <a:gd name="connsiteX200" fmla="*/ 108116 w 189841"/>
                <a:gd name="connsiteY200" fmla="*/ 118793 h 175170"/>
                <a:gd name="connsiteX201" fmla="*/ 107842 w 189841"/>
                <a:gd name="connsiteY201" fmla="*/ 119877 h 175170"/>
                <a:gd name="connsiteX202" fmla="*/ 107024 w 189841"/>
                <a:gd name="connsiteY202" fmla="*/ 120260 h 175170"/>
                <a:gd name="connsiteX203" fmla="*/ 105659 w 189841"/>
                <a:gd name="connsiteY203" fmla="*/ 119702 h 175170"/>
                <a:gd name="connsiteX204" fmla="*/ 106022 w 189841"/>
                <a:gd name="connsiteY204" fmla="*/ 118304 h 175170"/>
                <a:gd name="connsiteX205" fmla="*/ 105802 w 189841"/>
                <a:gd name="connsiteY205" fmla="*/ 110953 h 175170"/>
                <a:gd name="connsiteX206" fmla="*/ 106184 w 189841"/>
                <a:gd name="connsiteY206" fmla="*/ 111607 h 175170"/>
                <a:gd name="connsiteX207" fmla="*/ 106912 w 189841"/>
                <a:gd name="connsiteY207" fmla="*/ 112667 h 175170"/>
                <a:gd name="connsiteX208" fmla="*/ 105901 w 189841"/>
                <a:gd name="connsiteY208" fmla="*/ 114289 h 175170"/>
                <a:gd name="connsiteX209" fmla="*/ 104644 w 189841"/>
                <a:gd name="connsiteY209" fmla="*/ 115062 h 175170"/>
                <a:gd name="connsiteX210" fmla="*/ 105061 w 189841"/>
                <a:gd name="connsiteY210" fmla="*/ 113294 h 175170"/>
                <a:gd name="connsiteX211" fmla="*/ 104441 w 189841"/>
                <a:gd name="connsiteY211" fmla="*/ 112371 h 175170"/>
                <a:gd name="connsiteX212" fmla="*/ 104996 w 189841"/>
                <a:gd name="connsiteY212" fmla="*/ 111586 h 175170"/>
                <a:gd name="connsiteX213" fmla="*/ 116311 w 189841"/>
                <a:gd name="connsiteY213" fmla="*/ 110092 h 175170"/>
                <a:gd name="connsiteX214" fmla="*/ 117114 w 189841"/>
                <a:gd name="connsiteY214" fmla="*/ 110485 h 175170"/>
                <a:gd name="connsiteX215" fmla="*/ 117004 w 189841"/>
                <a:gd name="connsiteY215" fmla="*/ 113135 h 175170"/>
                <a:gd name="connsiteX216" fmla="*/ 116421 w 189841"/>
                <a:gd name="connsiteY216" fmla="*/ 113112 h 175170"/>
                <a:gd name="connsiteX217" fmla="*/ 116082 w 189841"/>
                <a:gd name="connsiteY217" fmla="*/ 112703 h 175170"/>
                <a:gd name="connsiteX218" fmla="*/ 116063 w 189841"/>
                <a:gd name="connsiteY218" fmla="*/ 111689 h 175170"/>
                <a:gd name="connsiteX219" fmla="*/ 126076 w 189841"/>
                <a:gd name="connsiteY219" fmla="*/ 110085 h 175170"/>
                <a:gd name="connsiteX220" fmla="*/ 128615 w 189841"/>
                <a:gd name="connsiteY220" fmla="*/ 111057 h 175170"/>
                <a:gd name="connsiteX221" fmla="*/ 128492 w 189841"/>
                <a:gd name="connsiteY221" fmla="*/ 111670 h 175170"/>
                <a:gd name="connsiteX222" fmla="*/ 127283 w 189841"/>
                <a:gd name="connsiteY222" fmla="*/ 112383 h 175170"/>
                <a:gd name="connsiteX223" fmla="*/ 125169 w 189841"/>
                <a:gd name="connsiteY223" fmla="*/ 112540 h 175170"/>
                <a:gd name="connsiteX224" fmla="*/ 125292 w 189841"/>
                <a:gd name="connsiteY224" fmla="*/ 110592 h 175170"/>
                <a:gd name="connsiteX225" fmla="*/ 148259 w 189841"/>
                <a:gd name="connsiteY225" fmla="*/ 105865 h 175170"/>
                <a:gd name="connsiteX226" fmla="*/ 147054 w 189841"/>
                <a:gd name="connsiteY226" fmla="*/ 107265 h 175170"/>
                <a:gd name="connsiteX227" fmla="*/ 145020 w 189841"/>
                <a:gd name="connsiteY227" fmla="*/ 108570 h 175170"/>
                <a:gd name="connsiteX228" fmla="*/ 141138 w 189841"/>
                <a:gd name="connsiteY228" fmla="*/ 109568 h 175170"/>
                <a:gd name="connsiteX229" fmla="*/ 140101 w 189841"/>
                <a:gd name="connsiteY229" fmla="*/ 109666 h 175170"/>
                <a:gd name="connsiteX230" fmla="*/ 140418 w 189841"/>
                <a:gd name="connsiteY230" fmla="*/ 108645 h 175170"/>
                <a:gd name="connsiteX231" fmla="*/ 142399 w 189841"/>
                <a:gd name="connsiteY231" fmla="*/ 106873 h 175170"/>
                <a:gd name="connsiteX232" fmla="*/ 145167 w 189841"/>
                <a:gd name="connsiteY232" fmla="*/ 106786 h 175170"/>
                <a:gd name="connsiteX233" fmla="*/ 147689 w 189841"/>
                <a:gd name="connsiteY233" fmla="*/ 105898 h 175170"/>
                <a:gd name="connsiteX234" fmla="*/ 119248 w 189841"/>
                <a:gd name="connsiteY234" fmla="*/ 105703 h 175170"/>
                <a:gd name="connsiteX235" fmla="*/ 120408 w 189841"/>
                <a:gd name="connsiteY235" fmla="*/ 106538 h 175170"/>
                <a:gd name="connsiteX236" fmla="*/ 123362 w 189841"/>
                <a:gd name="connsiteY236" fmla="*/ 106981 h 175170"/>
                <a:gd name="connsiteX237" fmla="*/ 124035 w 189841"/>
                <a:gd name="connsiteY237" fmla="*/ 107775 h 175170"/>
                <a:gd name="connsiteX238" fmla="*/ 123215 w 189841"/>
                <a:gd name="connsiteY238" fmla="*/ 109423 h 175170"/>
                <a:gd name="connsiteX239" fmla="*/ 121835 w 189841"/>
                <a:gd name="connsiteY239" fmla="*/ 109169 h 175170"/>
                <a:gd name="connsiteX240" fmla="*/ 119527 w 189841"/>
                <a:gd name="connsiteY240" fmla="*/ 107396 h 175170"/>
                <a:gd name="connsiteX241" fmla="*/ 118738 w 189841"/>
                <a:gd name="connsiteY241" fmla="*/ 106591 h 175170"/>
                <a:gd name="connsiteX242" fmla="*/ 118300 w 189841"/>
                <a:gd name="connsiteY242" fmla="*/ 105799 h 175170"/>
                <a:gd name="connsiteX243" fmla="*/ 104648 w 189841"/>
                <a:gd name="connsiteY243" fmla="*/ 105651 h 175170"/>
                <a:gd name="connsiteX244" fmla="*/ 105128 w 189841"/>
                <a:gd name="connsiteY244" fmla="*/ 106512 h 175170"/>
                <a:gd name="connsiteX245" fmla="*/ 104136 w 189841"/>
                <a:gd name="connsiteY245" fmla="*/ 108356 h 175170"/>
                <a:gd name="connsiteX246" fmla="*/ 102655 w 189841"/>
                <a:gd name="connsiteY246" fmla="*/ 109597 h 175170"/>
                <a:gd name="connsiteX247" fmla="*/ 102401 w 189841"/>
                <a:gd name="connsiteY247" fmla="*/ 107736 h 175170"/>
                <a:gd name="connsiteX248" fmla="*/ 103350 w 189841"/>
                <a:gd name="connsiteY248" fmla="*/ 105778 h 175170"/>
                <a:gd name="connsiteX249" fmla="*/ 158719 w 189841"/>
                <a:gd name="connsiteY249" fmla="*/ 102358 h 175170"/>
                <a:gd name="connsiteX250" fmla="*/ 161438 w 189841"/>
                <a:gd name="connsiteY250" fmla="*/ 103201 h 175170"/>
                <a:gd name="connsiteX251" fmla="*/ 162194 w 189841"/>
                <a:gd name="connsiteY251" fmla="*/ 103111 h 175170"/>
                <a:gd name="connsiteX252" fmla="*/ 163479 w 189841"/>
                <a:gd name="connsiteY252" fmla="*/ 103417 h 175170"/>
                <a:gd name="connsiteX253" fmla="*/ 163820 w 189841"/>
                <a:gd name="connsiteY253" fmla="*/ 104971 h 175170"/>
                <a:gd name="connsiteX254" fmla="*/ 162118 w 189841"/>
                <a:gd name="connsiteY254" fmla="*/ 105196 h 175170"/>
                <a:gd name="connsiteX255" fmla="*/ 159173 w 189841"/>
                <a:gd name="connsiteY255" fmla="*/ 106622 h 175170"/>
                <a:gd name="connsiteX256" fmla="*/ 157920 w 189841"/>
                <a:gd name="connsiteY256" fmla="*/ 106309 h 175170"/>
                <a:gd name="connsiteX257" fmla="*/ 156422 w 189841"/>
                <a:gd name="connsiteY257" fmla="*/ 105069 h 175170"/>
                <a:gd name="connsiteX258" fmla="*/ 154042 w 189841"/>
                <a:gd name="connsiteY258" fmla="*/ 104940 h 175170"/>
                <a:gd name="connsiteX259" fmla="*/ 153338 w 189841"/>
                <a:gd name="connsiteY259" fmla="*/ 104602 h 175170"/>
                <a:gd name="connsiteX260" fmla="*/ 154612 w 189841"/>
                <a:gd name="connsiteY260" fmla="*/ 103140 h 175170"/>
                <a:gd name="connsiteX261" fmla="*/ 156927 w 189841"/>
                <a:gd name="connsiteY261" fmla="*/ 102400 h 175170"/>
                <a:gd name="connsiteX262" fmla="*/ 23108 w 189841"/>
                <a:gd name="connsiteY262" fmla="*/ 99333 h 175170"/>
                <a:gd name="connsiteX263" fmla="*/ 24593 w 189841"/>
                <a:gd name="connsiteY263" fmla="*/ 101294 h 175170"/>
                <a:gd name="connsiteX264" fmla="*/ 26388 w 189841"/>
                <a:gd name="connsiteY264" fmla="*/ 101608 h 175170"/>
                <a:gd name="connsiteX265" fmla="*/ 27463 w 189841"/>
                <a:gd name="connsiteY265" fmla="*/ 102513 h 175170"/>
                <a:gd name="connsiteX266" fmla="*/ 29795 w 189841"/>
                <a:gd name="connsiteY266" fmla="*/ 105004 h 175170"/>
                <a:gd name="connsiteX267" fmla="*/ 27919 w 189841"/>
                <a:gd name="connsiteY267" fmla="*/ 104387 h 175170"/>
                <a:gd name="connsiteX268" fmla="*/ 25917 w 189841"/>
                <a:gd name="connsiteY268" fmla="*/ 106110 h 175170"/>
                <a:gd name="connsiteX269" fmla="*/ 23380 w 189841"/>
                <a:gd name="connsiteY269" fmla="*/ 104097 h 175170"/>
                <a:gd name="connsiteX270" fmla="*/ 21860 w 189841"/>
                <a:gd name="connsiteY270" fmla="*/ 102058 h 175170"/>
                <a:gd name="connsiteX271" fmla="*/ 21516 w 189841"/>
                <a:gd name="connsiteY271" fmla="*/ 101241 h 175170"/>
                <a:gd name="connsiteX272" fmla="*/ 113744 w 189841"/>
                <a:gd name="connsiteY272" fmla="*/ 97780 h 175170"/>
                <a:gd name="connsiteX273" fmla="*/ 115173 w 189841"/>
                <a:gd name="connsiteY273" fmla="*/ 99739 h 175170"/>
                <a:gd name="connsiteX274" fmla="*/ 117412 w 189841"/>
                <a:gd name="connsiteY274" fmla="*/ 99967 h 175170"/>
                <a:gd name="connsiteX275" fmla="*/ 117238 w 189841"/>
                <a:gd name="connsiteY275" fmla="*/ 101174 h 175170"/>
                <a:gd name="connsiteX276" fmla="*/ 117946 w 189841"/>
                <a:gd name="connsiteY276" fmla="*/ 102729 h 175170"/>
                <a:gd name="connsiteX277" fmla="*/ 118194 w 189841"/>
                <a:gd name="connsiteY277" fmla="*/ 103684 h 175170"/>
                <a:gd name="connsiteX278" fmla="*/ 117542 w 189841"/>
                <a:gd name="connsiteY278" fmla="*/ 105403 h 175170"/>
                <a:gd name="connsiteX279" fmla="*/ 115814 w 189841"/>
                <a:gd name="connsiteY279" fmla="*/ 103405 h 175170"/>
                <a:gd name="connsiteX280" fmla="*/ 113923 w 189841"/>
                <a:gd name="connsiteY280" fmla="*/ 102035 h 175170"/>
                <a:gd name="connsiteX281" fmla="*/ 113215 w 189841"/>
                <a:gd name="connsiteY281" fmla="*/ 100840 h 175170"/>
                <a:gd name="connsiteX282" fmla="*/ 112062 w 189841"/>
                <a:gd name="connsiteY282" fmla="*/ 100118 h 175170"/>
                <a:gd name="connsiteX283" fmla="*/ 111748 w 189841"/>
                <a:gd name="connsiteY283" fmla="*/ 98509 h 175170"/>
                <a:gd name="connsiteX284" fmla="*/ 113146 w 189841"/>
                <a:gd name="connsiteY284" fmla="*/ 97847 h 175170"/>
                <a:gd name="connsiteX285" fmla="*/ 84849 w 189841"/>
                <a:gd name="connsiteY285" fmla="*/ 97755 h 175170"/>
                <a:gd name="connsiteX286" fmla="*/ 85553 w 189841"/>
                <a:gd name="connsiteY286" fmla="*/ 97885 h 175170"/>
                <a:gd name="connsiteX287" fmla="*/ 85981 w 189841"/>
                <a:gd name="connsiteY287" fmla="*/ 98290 h 175170"/>
                <a:gd name="connsiteX288" fmla="*/ 86337 w 189841"/>
                <a:gd name="connsiteY288" fmla="*/ 99426 h 175170"/>
                <a:gd name="connsiteX289" fmla="*/ 85462 w 189841"/>
                <a:gd name="connsiteY289" fmla="*/ 100060 h 175170"/>
                <a:gd name="connsiteX290" fmla="*/ 84475 w 189841"/>
                <a:gd name="connsiteY290" fmla="*/ 100028 h 175170"/>
                <a:gd name="connsiteX291" fmla="*/ 83778 w 189841"/>
                <a:gd name="connsiteY291" fmla="*/ 99795 h 175170"/>
                <a:gd name="connsiteX292" fmla="*/ 83426 w 189841"/>
                <a:gd name="connsiteY292" fmla="*/ 99289 h 175170"/>
                <a:gd name="connsiteX293" fmla="*/ 83862 w 189841"/>
                <a:gd name="connsiteY293" fmla="*/ 99047 h 175170"/>
                <a:gd name="connsiteX294" fmla="*/ 84374 w 189841"/>
                <a:gd name="connsiteY294" fmla="*/ 98030 h 175170"/>
                <a:gd name="connsiteX295" fmla="*/ 20270 w 189841"/>
                <a:gd name="connsiteY295" fmla="*/ 85327 h 175170"/>
                <a:gd name="connsiteX296" fmla="*/ 21357 w 189841"/>
                <a:gd name="connsiteY296" fmla="*/ 87684 h 175170"/>
                <a:gd name="connsiteX297" fmla="*/ 21631 w 189841"/>
                <a:gd name="connsiteY297" fmla="*/ 90652 h 175170"/>
                <a:gd name="connsiteX298" fmla="*/ 23190 w 189841"/>
                <a:gd name="connsiteY298" fmla="*/ 91209 h 175170"/>
                <a:gd name="connsiteX299" fmla="*/ 25261 w 189841"/>
                <a:gd name="connsiteY299" fmla="*/ 93882 h 175170"/>
                <a:gd name="connsiteX300" fmla="*/ 25082 w 189841"/>
                <a:gd name="connsiteY300" fmla="*/ 95249 h 175170"/>
                <a:gd name="connsiteX301" fmla="*/ 24652 w 189841"/>
                <a:gd name="connsiteY301" fmla="*/ 95717 h 175170"/>
                <a:gd name="connsiteX302" fmla="*/ 21221 w 189841"/>
                <a:gd name="connsiteY302" fmla="*/ 94456 h 175170"/>
                <a:gd name="connsiteX303" fmla="*/ 20398 w 189841"/>
                <a:gd name="connsiteY303" fmla="*/ 95022 h 175170"/>
                <a:gd name="connsiteX304" fmla="*/ 19394 w 189841"/>
                <a:gd name="connsiteY304" fmla="*/ 94792 h 175170"/>
                <a:gd name="connsiteX305" fmla="*/ 18774 w 189841"/>
                <a:gd name="connsiteY305" fmla="*/ 93316 h 175170"/>
                <a:gd name="connsiteX306" fmla="*/ 18845 w 189841"/>
                <a:gd name="connsiteY306" fmla="*/ 92797 h 175170"/>
                <a:gd name="connsiteX307" fmla="*/ 18284 w 189841"/>
                <a:gd name="connsiteY307" fmla="*/ 91913 h 175170"/>
                <a:gd name="connsiteX308" fmla="*/ 17815 w 189841"/>
                <a:gd name="connsiteY308" fmla="*/ 91518 h 175170"/>
                <a:gd name="connsiteX309" fmla="*/ 16464 w 189841"/>
                <a:gd name="connsiteY309" fmla="*/ 92692 h 175170"/>
                <a:gd name="connsiteX310" fmla="*/ 15612 w 189841"/>
                <a:gd name="connsiteY310" fmla="*/ 92912 h 175170"/>
                <a:gd name="connsiteX311" fmla="*/ 15606 w 189841"/>
                <a:gd name="connsiteY311" fmla="*/ 91837 h 175170"/>
                <a:gd name="connsiteX312" fmla="*/ 16854 w 189841"/>
                <a:gd name="connsiteY312" fmla="*/ 88881 h 175170"/>
                <a:gd name="connsiteX313" fmla="*/ 17437 w 189841"/>
                <a:gd name="connsiteY313" fmla="*/ 88382 h 175170"/>
                <a:gd name="connsiteX314" fmla="*/ 18463 w 189841"/>
                <a:gd name="connsiteY314" fmla="*/ 89358 h 175170"/>
                <a:gd name="connsiteX315" fmla="*/ 19307 w 189841"/>
                <a:gd name="connsiteY315" fmla="*/ 88995 h 175170"/>
                <a:gd name="connsiteX316" fmla="*/ 19942 w 189841"/>
                <a:gd name="connsiteY316" fmla="*/ 87396 h 175170"/>
                <a:gd name="connsiteX317" fmla="*/ 19985 w 189841"/>
                <a:gd name="connsiteY317" fmla="*/ 85801 h 175170"/>
                <a:gd name="connsiteX318" fmla="*/ 22184 w 189841"/>
                <a:gd name="connsiteY318" fmla="*/ 85094 h 175170"/>
                <a:gd name="connsiteX319" fmla="*/ 22739 w 189841"/>
                <a:gd name="connsiteY319" fmla="*/ 85292 h 175170"/>
                <a:gd name="connsiteX320" fmla="*/ 23324 w 189841"/>
                <a:gd name="connsiteY320" fmla="*/ 85933 h 175170"/>
                <a:gd name="connsiteX321" fmla="*/ 23319 w 189841"/>
                <a:gd name="connsiteY321" fmla="*/ 86588 h 175170"/>
                <a:gd name="connsiteX322" fmla="*/ 23553 w 189841"/>
                <a:gd name="connsiteY322" fmla="*/ 87290 h 175170"/>
                <a:gd name="connsiteX323" fmla="*/ 24162 w 189841"/>
                <a:gd name="connsiteY323" fmla="*/ 88136 h 175170"/>
                <a:gd name="connsiteX324" fmla="*/ 24593 w 189841"/>
                <a:gd name="connsiteY324" fmla="*/ 89070 h 175170"/>
                <a:gd name="connsiteX325" fmla="*/ 23501 w 189841"/>
                <a:gd name="connsiteY325" fmla="*/ 89348 h 175170"/>
                <a:gd name="connsiteX326" fmla="*/ 22110 w 189841"/>
                <a:gd name="connsiteY326" fmla="*/ 86887 h 175170"/>
                <a:gd name="connsiteX327" fmla="*/ 21607 w 189841"/>
                <a:gd name="connsiteY327" fmla="*/ 85189 h 175170"/>
                <a:gd name="connsiteX328" fmla="*/ 140766 w 189841"/>
                <a:gd name="connsiteY328" fmla="*/ 82063 h 175170"/>
                <a:gd name="connsiteX329" fmla="*/ 142932 w 189841"/>
                <a:gd name="connsiteY329" fmla="*/ 83533 h 175170"/>
                <a:gd name="connsiteX330" fmla="*/ 144036 w 189841"/>
                <a:gd name="connsiteY330" fmla="*/ 83634 h 175170"/>
                <a:gd name="connsiteX331" fmla="*/ 143612 w 189841"/>
                <a:gd name="connsiteY331" fmla="*/ 85038 h 175170"/>
                <a:gd name="connsiteX332" fmla="*/ 143798 w 189841"/>
                <a:gd name="connsiteY332" fmla="*/ 85494 h 175170"/>
                <a:gd name="connsiteX333" fmla="*/ 143962 w 189841"/>
                <a:gd name="connsiteY333" fmla="*/ 89751 h 175170"/>
                <a:gd name="connsiteX334" fmla="*/ 142939 w 189841"/>
                <a:gd name="connsiteY334" fmla="*/ 90350 h 175170"/>
                <a:gd name="connsiteX335" fmla="*/ 142770 w 189841"/>
                <a:gd name="connsiteY335" fmla="*/ 91518 h 175170"/>
                <a:gd name="connsiteX336" fmla="*/ 142569 w 189841"/>
                <a:gd name="connsiteY336" fmla="*/ 91932 h 175170"/>
                <a:gd name="connsiteX337" fmla="*/ 140458 w 189841"/>
                <a:gd name="connsiteY337" fmla="*/ 93383 h 175170"/>
                <a:gd name="connsiteX338" fmla="*/ 138100 w 189841"/>
                <a:gd name="connsiteY338" fmla="*/ 91283 h 175170"/>
                <a:gd name="connsiteX339" fmla="*/ 137711 w 189841"/>
                <a:gd name="connsiteY339" fmla="*/ 90607 h 175170"/>
                <a:gd name="connsiteX340" fmla="*/ 139442 w 189841"/>
                <a:gd name="connsiteY340" fmla="*/ 89759 h 175170"/>
                <a:gd name="connsiteX341" fmla="*/ 140300 w 189841"/>
                <a:gd name="connsiteY341" fmla="*/ 88451 h 175170"/>
                <a:gd name="connsiteX342" fmla="*/ 139604 w 189841"/>
                <a:gd name="connsiteY342" fmla="*/ 86844 h 175170"/>
                <a:gd name="connsiteX343" fmla="*/ 137201 w 189841"/>
                <a:gd name="connsiteY343" fmla="*/ 84466 h 175170"/>
                <a:gd name="connsiteX344" fmla="*/ 137087 w 189841"/>
                <a:gd name="connsiteY344" fmla="*/ 82776 h 175170"/>
                <a:gd name="connsiteX345" fmla="*/ 23166 w 189841"/>
                <a:gd name="connsiteY345" fmla="*/ 75808 h 175170"/>
                <a:gd name="connsiteX346" fmla="*/ 23730 w 189841"/>
                <a:gd name="connsiteY346" fmla="*/ 76971 h 175170"/>
                <a:gd name="connsiteX347" fmla="*/ 23624 w 189841"/>
                <a:gd name="connsiteY347" fmla="*/ 81119 h 175170"/>
                <a:gd name="connsiteX348" fmla="*/ 23002 w 189841"/>
                <a:gd name="connsiteY348" fmla="*/ 81883 h 175170"/>
                <a:gd name="connsiteX349" fmla="*/ 22143 w 189841"/>
                <a:gd name="connsiteY349" fmla="*/ 82082 h 175170"/>
                <a:gd name="connsiteX350" fmla="*/ 21402 w 189841"/>
                <a:gd name="connsiteY350" fmla="*/ 81946 h 175170"/>
                <a:gd name="connsiteX351" fmla="*/ 20730 w 189841"/>
                <a:gd name="connsiteY351" fmla="*/ 82063 h 175170"/>
                <a:gd name="connsiteX352" fmla="*/ 20083 w 189841"/>
                <a:gd name="connsiteY352" fmla="*/ 82556 h 175170"/>
                <a:gd name="connsiteX353" fmla="*/ 20154 w 189841"/>
                <a:gd name="connsiteY353" fmla="*/ 80513 h 175170"/>
                <a:gd name="connsiteX354" fmla="*/ 20918 w 189841"/>
                <a:gd name="connsiteY354" fmla="*/ 77978 h 175170"/>
                <a:gd name="connsiteX355" fmla="*/ 21851 w 189841"/>
                <a:gd name="connsiteY355" fmla="*/ 76496 h 175170"/>
                <a:gd name="connsiteX356" fmla="*/ 107004 w 189841"/>
                <a:gd name="connsiteY356" fmla="*/ 72294 h 175170"/>
                <a:gd name="connsiteX357" fmla="*/ 108738 w 189841"/>
                <a:gd name="connsiteY357" fmla="*/ 73277 h 175170"/>
                <a:gd name="connsiteX358" fmla="*/ 109118 w 189841"/>
                <a:gd name="connsiteY358" fmla="*/ 74914 h 175170"/>
                <a:gd name="connsiteX359" fmla="*/ 111185 w 189841"/>
                <a:gd name="connsiteY359" fmla="*/ 76712 h 175170"/>
                <a:gd name="connsiteX360" fmla="*/ 108848 w 189841"/>
                <a:gd name="connsiteY360" fmla="*/ 77341 h 175170"/>
                <a:gd name="connsiteX361" fmla="*/ 108228 w 189841"/>
                <a:gd name="connsiteY361" fmla="*/ 77242 h 175170"/>
                <a:gd name="connsiteX362" fmla="*/ 108749 w 189841"/>
                <a:gd name="connsiteY362" fmla="*/ 76448 h 175170"/>
                <a:gd name="connsiteX363" fmla="*/ 108790 w 189841"/>
                <a:gd name="connsiteY363" fmla="*/ 76114 h 175170"/>
                <a:gd name="connsiteX364" fmla="*/ 106460 w 189841"/>
                <a:gd name="connsiteY364" fmla="*/ 74662 h 175170"/>
                <a:gd name="connsiteX365" fmla="*/ 106734 w 189841"/>
                <a:gd name="connsiteY365" fmla="*/ 72775 h 175170"/>
                <a:gd name="connsiteX366" fmla="*/ 81068 w 189841"/>
                <a:gd name="connsiteY366" fmla="*/ 70881 h 175170"/>
                <a:gd name="connsiteX367" fmla="*/ 83340 w 189841"/>
                <a:gd name="connsiteY367" fmla="*/ 72853 h 175170"/>
                <a:gd name="connsiteX368" fmla="*/ 84590 w 189841"/>
                <a:gd name="connsiteY368" fmla="*/ 75656 h 175170"/>
                <a:gd name="connsiteX369" fmla="*/ 85762 w 189841"/>
                <a:gd name="connsiteY369" fmla="*/ 76602 h 175170"/>
                <a:gd name="connsiteX370" fmla="*/ 88222 w 189841"/>
                <a:gd name="connsiteY370" fmla="*/ 77718 h 175170"/>
                <a:gd name="connsiteX371" fmla="*/ 89377 w 189841"/>
                <a:gd name="connsiteY371" fmla="*/ 77860 h 175170"/>
                <a:gd name="connsiteX372" fmla="*/ 93573 w 189841"/>
                <a:gd name="connsiteY372" fmla="*/ 79875 h 175170"/>
                <a:gd name="connsiteX373" fmla="*/ 98455 w 189841"/>
                <a:gd name="connsiteY373" fmla="*/ 80277 h 175170"/>
                <a:gd name="connsiteX374" fmla="*/ 99086 w 189841"/>
                <a:gd name="connsiteY374" fmla="*/ 80857 h 175170"/>
                <a:gd name="connsiteX375" fmla="*/ 99686 w 189841"/>
                <a:gd name="connsiteY375" fmla="*/ 82409 h 175170"/>
                <a:gd name="connsiteX376" fmla="*/ 100682 w 189841"/>
                <a:gd name="connsiteY376" fmla="*/ 83626 h 175170"/>
                <a:gd name="connsiteX377" fmla="*/ 100932 w 189841"/>
                <a:gd name="connsiteY377" fmla="*/ 84573 h 175170"/>
                <a:gd name="connsiteX378" fmla="*/ 100412 w 189841"/>
                <a:gd name="connsiteY378" fmla="*/ 85623 h 175170"/>
                <a:gd name="connsiteX379" fmla="*/ 101133 w 189841"/>
                <a:gd name="connsiteY379" fmla="*/ 88834 h 175170"/>
                <a:gd name="connsiteX380" fmla="*/ 102364 w 189841"/>
                <a:gd name="connsiteY380" fmla="*/ 91881 h 175170"/>
                <a:gd name="connsiteX381" fmla="*/ 104219 w 189841"/>
                <a:gd name="connsiteY381" fmla="*/ 93358 h 175170"/>
                <a:gd name="connsiteX382" fmla="*/ 106525 w 189841"/>
                <a:gd name="connsiteY382" fmla="*/ 93804 h 175170"/>
                <a:gd name="connsiteX383" fmla="*/ 108721 w 189841"/>
                <a:gd name="connsiteY383" fmla="*/ 93743 h 175170"/>
                <a:gd name="connsiteX384" fmla="*/ 109276 w 189841"/>
                <a:gd name="connsiteY384" fmla="*/ 94347 h 175170"/>
                <a:gd name="connsiteX385" fmla="*/ 109058 w 189841"/>
                <a:gd name="connsiteY385" fmla="*/ 97010 h 175170"/>
                <a:gd name="connsiteX386" fmla="*/ 108129 w 189841"/>
                <a:gd name="connsiteY386" fmla="*/ 98046 h 175170"/>
                <a:gd name="connsiteX387" fmla="*/ 107374 w 189841"/>
                <a:gd name="connsiteY387" fmla="*/ 98298 h 175170"/>
                <a:gd name="connsiteX388" fmla="*/ 106717 w 189841"/>
                <a:gd name="connsiteY388" fmla="*/ 98026 h 175170"/>
                <a:gd name="connsiteX389" fmla="*/ 106123 w 189841"/>
                <a:gd name="connsiteY389" fmla="*/ 97399 h 175170"/>
                <a:gd name="connsiteX390" fmla="*/ 105476 w 189841"/>
                <a:gd name="connsiteY390" fmla="*/ 97103 h 175170"/>
                <a:gd name="connsiteX391" fmla="*/ 104214 w 189841"/>
                <a:gd name="connsiteY391" fmla="*/ 97051 h 175170"/>
                <a:gd name="connsiteX392" fmla="*/ 103292 w 189841"/>
                <a:gd name="connsiteY392" fmla="*/ 95979 h 175170"/>
                <a:gd name="connsiteX393" fmla="*/ 100954 w 189841"/>
                <a:gd name="connsiteY393" fmla="*/ 94512 h 175170"/>
                <a:gd name="connsiteX394" fmla="*/ 100524 w 189841"/>
                <a:gd name="connsiteY394" fmla="*/ 93637 h 175170"/>
                <a:gd name="connsiteX395" fmla="*/ 100446 w 189841"/>
                <a:gd name="connsiteY395" fmla="*/ 92285 h 175170"/>
                <a:gd name="connsiteX396" fmla="*/ 99453 w 189841"/>
                <a:gd name="connsiteY396" fmla="*/ 91289 h 175170"/>
                <a:gd name="connsiteX397" fmla="*/ 98540 w 189841"/>
                <a:gd name="connsiteY397" fmla="*/ 89393 h 175170"/>
                <a:gd name="connsiteX398" fmla="*/ 97671 w 189841"/>
                <a:gd name="connsiteY398" fmla="*/ 88870 h 175170"/>
                <a:gd name="connsiteX399" fmla="*/ 97192 w 189841"/>
                <a:gd name="connsiteY399" fmla="*/ 87921 h 175170"/>
                <a:gd name="connsiteX400" fmla="*/ 97153 w 189841"/>
                <a:gd name="connsiteY400" fmla="*/ 87513 h 175170"/>
                <a:gd name="connsiteX401" fmla="*/ 93750 w 189841"/>
                <a:gd name="connsiteY401" fmla="*/ 87237 h 175170"/>
                <a:gd name="connsiteX402" fmla="*/ 90932 w 189841"/>
                <a:gd name="connsiteY402" fmla="*/ 87224 h 175170"/>
                <a:gd name="connsiteX403" fmla="*/ 88544 w 189841"/>
                <a:gd name="connsiteY403" fmla="*/ 86147 h 175170"/>
                <a:gd name="connsiteX404" fmla="*/ 87805 w 189841"/>
                <a:gd name="connsiteY404" fmla="*/ 83329 h 175170"/>
                <a:gd name="connsiteX405" fmla="*/ 86389 w 189841"/>
                <a:gd name="connsiteY405" fmla="*/ 82571 h 175170"/>
                <a:gd name="connsiteX406" fmla="*/ 85326 w 189841"/>
                <a:gd name="connsiteY406" fmla="*/ 81773 h 175170"/>
                <a:gd name="connsiteX407" fmla="*/ 84441 w 189841"/>
                <a:gd name="connsiteY407" fmla="*/ 80667 h 175170"/>
                <a:gd name="connsiteX408" fmla="*/ 82204 w 189841"/>
                <a:gd name="connsiteY408" fmla="*/ 78627 h 175170"/>
                <a:gd name="connsiteX409" fmla="*/ 79729 w 189841"/>
                <a:gd name="connsiteY409" fmla="*/ 76918 h 175170"/>
                <a:gd name="connsiteX410" fmla="*/ 77337 w 189841"/>
                <a:gd name="connsiteY410" fmla="*/ 75793 h 175170"/>
                <a:gd name="connsiteX411" fmla="*/ 74797 w 189841"/>
                <a:gd name="connsiteY411" fmla="*/ 75055 h 175170"/>
                <a:gd name="connsiteX412" fmla="*/ 72733 w 189841"/>
                <a:gd name="connsiteY412" fmla="*/ 75926 h 175170"/>
                <a:gd name="connsiteX413" fmla="*/ 71530 w 189841"/>
                <a:gd name="connsiteY413" fmla="*/ 75719 h 175170"/>
                <a:gd name="connsiteX414" fmla="*/ 71286 w 189841"/>
                <a:gd name="connsiteY414" fmla="*/ 75130 h 175170"/>
                <a:gd name="connsiteX415" fmla="*/ 73851 w 189841"/>
                <a:gd name="connsiteY415" fmla="*/ 73957 h 175170"/>
                <a:gd name="connsiteX416" fmla="*/ 77378 w 189841"/>
                <a:gd name="connsiteY416" fmla="*/ 71714 h 175170"/>
                <a:gd name="connsiteX417" fmla="*/ 79863 w 189841"/>
                <a:gd name="connsiteY417" fmla="*/ 70973 h 175170"/>
                <a:gd name="connsiteX418" fmla="*/ 87287 w 189841"/>
                <a:gd name="connsiteY418" fmla="*/ 66387 h 175170"/>
                <a:gd name="connsiteX419" fmla="*/ 91396 w 189841"/>
                <a:gd name="connsiteY419" fmla="*/ 68825 h 175170"/>
                <a:gd name="connsiteX420" fmla="*/ 90409 w 189841"/>
                <a:gd name="connsiteY420" fmla="*/ 69700 h 175170"/>
                <a:gd name="connsiteX421" fmla="*/ 88883 w 189841"/>
                <a:gd name="connsiteY421" fmla="*/ 69317 h 175170"/>
                <a:gd name="connsiteX422" fmla="*/ 95622 w 189841"/>
                <a:gd name="connsiteY422" fmla="*/ 64855 h 175170"/>
                <a:gd name="connsiteX423" fmla="*/ 94933 w 189841"/>
                <a:gd name="connsiteY423" fmla="*/ 66595 h 175170"/>
                <a:gd name="connsiteX424" fmla="*/ 93789 w 189841"/>
                <a:gd name="connsiteY424" fmla="*/ 67688 h 175170"/>
                <a:gd name="connsiteX425" fmla="*/ 92755 w 189841"/>
                <a:gd name="connsiteY425" fmla="*/ 67992 h 175170"/>
                <a:gd name="connsiteX426" fmla="*/ 93791 w 189841"/>
                <a:gd name="connsiteY426" fmla="*/ 65926 h 175170"/>
                <a:gd name="connsiteX427" fmla="*/ 148180 w 189841"/>
                <a:gd name="connsiteY427" fmla="*/ 61866 h 175170"/>
                <a:gd name="connsiteX428" fmla="*/ 149559 w 189841"/>
                <a:gd name="connsiteY428" fmla="*/ 63255 h 175170"/>
                <a:gd name="connsiteX429" fmla="*/ 149175 w 189841"/>
                <a:gd name="connsiteY429" fmla="*/ 64793 h 175170"/>
                <a:gd name="connsiteX430" fmla="*/ 152233 w 189841"/>
                <a:gd name="connsiteY430" fmla="*/ 67340 h 175170"/>
                <a:gd name="connsiteX431" fmla="*/ 153276 w 189841"/>
                <a:gd name="connsiteY431" fmla="*/ 68951 h 175170"/>
                <a:gd name="connsiteX432" fmla="*/ 153660 w 189841"/>
                <a:gd name="connsiteY432" fmla="*/ 70521 h 175170"/>
                <a:gd name="connsiteX433" fmla="*/ 153403 w 189841"/>
                <a:gd name="connsiteY433" fmla="*/ 70971 h 175170"/>
                <a:gd name="connsiteX434" fmla="*/ 152243 w 189841"/>
                <a:gd name="connsiteY434" fmla="*/ 70120 h 175170"/>
                <a:gd name="connsiteX435" fmla="*/ 151296 w 189841"/>
                <a:gd name="connsiteY435" fmla="*/ 69849 h 175170"/>
                <a:gd name="connsiteX436" fmla="*/ 151615 w 189841"/>
                <a:gd name="connsiteY436" fmla="*/ 70971 h 175170"/>
                <a:gd name="connsiteX437" fmla="*/ 152589 w 189841"/>
                <a:gd name="connsiteY437" fmla="*/ 71935 h 175170"/>
                <a:gd name="connsiteX438" fmla="*/ 150855 w 189841"/>
                <a:gd name="connsiteY438" fmla="*/ 72487 h 175170"/>
                <a:gd name="connsiteX439" fmla="*/ 149117 w 189841"/>
                <a:gd name="connsiteY439" fmla="*/ 72458 h 175170"/>
                <a:gd name="connsiteX440" fmla="*/ 144046 w 189841"/>
                <a:gd name="connsiteY440" fmla="*/ 71115 h 175170"/>
                <a:gd name="connsiteX441" fmla="*/ 142876 w 189841"/>
                <a:gd name="connsiteY441" fmla="*/ 69688 h 175170"/>
                <a:gd name="connsiteX442" fmla="*/ 145910 w 189841"/>
                <a:gd name="connsiteY442" fmla="*/ 67538 h 175170"/>
                <a:gd name="connsiteX443" fmla="*/ 146530 w 189841"/>
                <a:gd name="connsiteY443" fmla="*/ 66672 h 175170"/>
                <a:gd name="connsiteX444" fmla="*/ 144381 w 189841"/>
                <a:gd name="connsiteY444" fmla="*/ 66757 h 175170"/>
                <a:gd name="connsiteX445" fmla="*/ 142090 w 189841"/>
                <a:gd name="connsiteY445" fmla="*/ 69311 h 175170"/>
                <a:gd name="connsiteX446" fmla="*/ 138417 w 189841"/>
                <a:gd name="connsiteY446" fmla="*/ 68189 h 175170"/>
                <a:gd name="connsiteX447" fmla="*/ 137294 w 189841"/>
                <a:gd name="connsiteY447" fmla="*/ 67162 h 175170"/>
                <a:gd name="connsiteX448" fmla="*/ 137043 w 189841"/>
                <a:gd name="connsiteY448" fmla="*/ 66608 h 175170"/>
                <a:gd name="connsiteX449" fmla="*/ 138490 w 189841"/>
                <a:gd name="connsiteY449" fmla="*/ 64341 h 175170"/>
                <a:gd name="connsiteX450" fmla="*/ 141075 w 189841"/>
                <a:gd name="connsiteY450" fmla="*/ 64417 h 175170"/>
                <a:gd name="connsiteX451" fmla="*/ 142444 w 189841"/>
                <a:gd name="connsiteY451" fmla="*/ 63907 h 175170"/>
                <a:gd name="connsiteX452" fmla="*/ 144135 w 189841"/>
                <a:gd name="connsiteY452" fmla="*/ 63190 h 175170"/>
                <a:gd name="connsiteX453" fmla="*/ 144148 w 189841"/>
                <a:gd name="connsiteY453" fmla="*/ 62112 h 175170"/>
                <a:gd name="connsiteX454" fmla="*/ 4248 w 189841"/>
                <a:gd name="connsiteY454" fmla="*/ 50509 h 175170"/>
                <a:gd name="connsiteX455" fmla="*/ 5422 w 189841"/>
                <a:gd name="connsiteY455" fmla="*/ 51103 h 175170"/>
                <a:gd name="connsiteX456" fmla="*/ 6182 w 189841"/>
                <a:gd name="connsiteY456" fmla="*/ 51716 h 175170"/>
                <a:gd name="connsiteX457" fmla="*/ 6420 w 189841"/>
                <a:gd name="connsiteY457" fmla="*/ 52418 h 175170"/>
                <a:gd name="connsiteX458" fmla="*/ 4770 w 189841"/>
                <a:gd name="connsiteY458" fmla="*/ 53826 h 175170"/>
                <a:gd name="connsiteX459" fmla="*/ 4427 w 189841"/>
                <a:gd name="connsiteY459" fmla="*/ 54463 h 175170"/>
                <a:gd name="connsiteX460" fmla="*/ 5697 w 189841"/>
                <a:gd name="connsiteY460" fmla="*/ 55727 h 175170"/>
                <a:gd name="connsiteX461" fmla="*/ 5675 w 189841"/>
                <a:gd name="connsiteY461" fmla="*/ 56233 h 175170"/>
                <a:gd name="connsiteX462" fmla="*/ 6211 w 189841"/>
                <a:gd name="connsiteY462" fmla="*/ 58677 h 175170"/>
                <a:gd name="connsiteX463" fmla="*/ 6828 w 189841"/>
                <a:gd name="connsiteY463" fmla="*/ 59599 h 175170"/>
                <a:gd name="connsiteX464" fmla="*/ 8430 w 189841"/>
                <a:gd name="connsiteY464" fmla="*/ 60334 h 175170"/>
                <a:gd name="connsiteX465" fmla="*/ 9540 w 189841"/>
                <a:gd name="connsiteY465" fmla="*/ 60577 h 175170"/>
                <a:gd name="connsiteX466" fmla="*/ 10020 w 189841"/>
                <a:gd name="connsiteY466" fmla="*/ 62032 h 175170"/>
                <a:gd name="connsiteX467" fmla="*/ 7265 w 189841"/>
                <a:gd name="connsiteY467" fmla="*/ 61129 h 175170"/>
                <a:gd name="connsiteX468" fmla="*/ 5252 w 189841"/>
                <a:gd name="connsiteY468" fmla="*/ 59829 h 175170"/>
                <a:gd name="connsiteX469" fmla="*/ 3591 w 189841"/>
                <a:gd name="connsiteY469" fmla="*/ 56615 h 175170"/>
                <a:gd name="connsiteX470" fmla="*/ 54 w 189841"/>
                <a:gd name="connsiteY470" fmla="*/ 52953 h 175170"/>
                <a:gd name="connsiteX471" fmla="*/ 0 w 189841"/>
                <a:gd name="connsiteY471" fmla="*/ 51889 h 175170"/>
                <a:gd name="connsiteX472" fmla="*/ 1345 w 189841"/>
                <a:gd name="connsiteY472" fmla="*/ 51082 h 175170"/>
                <a:gd name="connsiteX473" fmla="*/ 128309 w 189841"/>
                <a:gd name="connsiteY473" fmla="*/ 44914 h 175170"/>
                <a:gd name="connsiteX474" fmla="*/ 128056 w 189841"/>
                <a:gd name="connsiteY474" fmla="*/ 46257 h 175170"/>
                <a:gd name="connsiteX475" fmla="*/ 127220 w 189841"/>
                <a:gd name="connsiteY475" fmla="*/ 47137 h 175170"/>
                <a:gd name="connsiteX476" fmla="*/ 126605 w 189841"/>
                <a:gd name="connsiteY476" fmla="*/ 48654 h 175170"/>
                <a:gd name="connsiteX477" fmla="*/ 126272 w 189841"/>
                <a:gd name="connsiteY477" fmla="*/ 50821 h 175170"/>
                <a:gd name="connsiteX478" fmla="*/ 124983 w 189841"/>
                <a:gd name="connsiteY478" fmla="*/ 50873 h 175170"/>
                <a:gd name="connsiteX479" fmla="*/ 124202 w 189841"/>
                <a:gd name="connsiteY479" fmla="*/ 50435 h 175170"/>
                <a:gd name="connsiteX480" fmla="*/ 123945 w 189841"/>
                <a:gd name="connsiteY480" fmla="*/ 49616 h 175170"/>
                <a:gd name="connsiteX481" fmla="*/ 123893 w 189841"/>
                <a:gd name="connsiteY481" fmla="*/ 48581 h 175170"/>
                <a:gd name="connsiteX482" fmla="*/ 123327 w 189841"/>
                <a:gd name="connsiteY482" fmla="*/ 48621 h 175170"/>
                <a:gd name="connsiteX483" fmla="*/ 122871 w 189841"/>
                <a:gd name="connsiteY483" fmla="*/ 49746 h 175170"/>
                <a:gd name="connsiteX484" fmla="*/ 122472 w 189841"/>
                <a:gd name="connsiteY484" fmla="*/ 50253 h 175170"/>
                <a:gd name="connsiteX485" fmla="*/ 121174 w 189841"/>
                <a:gd name="connsiteY485" fmla="*/ 50360 h 175170"/>
                <a:gd name="connsiteX486" fmla="*/ 119753 w 189841"/>
                <a:gd name="connsiteY486" fmla="*/ 49668 h 175170"/>
                <a:gd name="connsiteX487" fmla="*/ 119820 w 189841"/>
                <a:gd name="connsiteY487" fmla="*/ 48171 h 175170"/>
                <a:gd name="connsiteX488" fmla="*/ 119535 w 189841"/>
                <a:gd name="connsiteY488" fmla="*/ 46438 h 175170"/>
                <a:gd name="connsiteX489" fmla="*/ 119660 w 189841"/>
                <a:gd name="connsiteY489" fmla="*/ 45831 h 175170"/>
                <a:gd name="connsiteX490" fmla="*/ 123556 w 189841"/>
                <a:gd name="connsiteY490" fmla="*/ 45681 h 175170"/>
                <a:gd name="connsiteX491" fmla="*/ 124696 w 189841"/>
                <a:gd name="connsiteY491" fmla="*/ 46961 h 175170"/>
                <a:gd name="connsiteX492" fmla="*/ 126074 w 189841"/>
                <a:gd name="connsiteY492" fmla="*/ 46219 h 175170"/>
                <a:gd name="connsiteX493" fmla="*/ 126639 w 189841"/>
                <a:gd name="connsiteY493" fmla="*/ 45417 h 175170"/>
                <a:gd name="connsiteX494" fmla="*/ 130950 w 189841"/>
                <a:gd name="connsiteY494" fmla="*/ 32341 h 175170"/>
                <a:gd name="connsiteX495" fmla="*/ 132183 w 189841"/>
                <a:gd name="connsiteY495" fmla="*/ 32966 h 175170"/>
                <a:gd name="connsiteX496" fmla="*/ 133066 w 189841"/>
                <a:gd name="connsiteY496" fmla="*/ 33702 h 175170"/>
                <a:gd name="connsiteX497" fmla="*/ 133541 w 189841"/>
                <a:gd name="connsiteY497" fmla="*/ 34679 h 175170"/>
                <a:gd name="connsiteX498" fmla="*/ 131040 w 189841"/>
                <a:gd name="connsiteY498" fmla="*/ 35363 h 175170"/>
                <a:gd name="connsiteX499" fmla="*/ 128285 w 189841"/>
                <a:gd name="connsiteY499" fmla="*/ 33206 h 175170"/>
                <a:gd name="connsiteX500" fmla="*/ 110049 w 189841"/>
                <a:gd name="connsiteY500" fmla="*/ 25075 h 175170"/>
                <a:gd name="connsiteX501" fmla="*/ 112167 w 189841"/>
                <a:gd name="connsiteY501" fmla="*/ 25249 h 175170"/>
                <a:gd name="connsiteX502" fmla="*/ 113372 w 189841"/>
                <a:gd name="connsiteY502" fmla="*/ 26719 h 175170"/>
                <a:gd name="connsiteX503" fmla="*/ 113653 w 189841"/>
                <a:gd name="connsiteY503" fmla="*/ 27413 h 175170"/>
                <a:gd name="connsiteX504" fmla="*/ 113262 w 189841"/>
                <a:gd name="connsiteY504" fmla="*/ 28592 h 175170"/>
                <a:gd name="connsiteX505" fmla="*/ 113385 w 189841"/>
                <a:gd name="connsiteY505" fmla="*/ 29738 h 175170"/>
                <a:gd name="connsiteX506" fmla="*/ 110548 w 189841"/>
                <a:gd name="connsiteY506" fmla="*/ 30675 h 175170"/>
                <a:gd name="connsiteX507" fmla="*/ 107665 w 189841"/>
                <a:gd name="connsiteY507" fmla="*/ 28903 h 175170"/>
                <a:gd name="connsiteX508" fmla="*/ 107691 w 189841"/>
                <a:gd name="connsiteY508" fmla="*/ 27849 h 175170"/>
                <a:gd name="connsiteX509" fmla="*/ 109213 w 189841"/>
                <a:gd name="connsiteY509" fmla="*/ 25709 h 175170"/>
                <a:gd name="connsiteX510" fmla="*/ 144925 w 189841"/>
                <a:gd name="connsiteY510" fmla="*/ 0 h 175170"/>
                <a:gd name="connsiteX511" fmla="*/ 147585 w 189841"/>
                <a:gd name="connsiteY511" fmla="*/ 721 h 175170"/>
                <a:gd name="connsiteX512" fmla="*/ 149568 w 189841"/>
                <a:gd name="connsiteY512" fmla="*/ 1256 h 175170"/>
                <a:gd name="connsiteX513" fmla="*/ 150717 w 189841"/>
                <a:gd name="connsiteY513" fmla="*/ 2129 h 175170"/>
                <a:gd name="connsiteX514" fmla="*/ 151436 w 189841"/>
                <a:gd name="connsiteY514" fmla="*/ 2926 h 175170"/>
                <a:gd name="connsiteX515" fmla="*/ 152530 w 189841"/>
                <a:gd name="connsiteY515" fmla="*/ 3614 h 175170"/>
                <a:gd name="connsiteX516" fmla="*/ 153345 w 189841"/>
                <a:gd name="connsiteY516" fmla="*/ 3772 h 175170"/>
                <a:gd name="connsiteX517" fmla="*/ 153973 w 189841"/>
                <a:gd name="connsiteY517" fmla="*/ 6128 h 175170"/>
                <a:gd name="connsiteX518" fmla="*/ 154308 w 189841"/>
                <a:gd name="connsiteY518" fmla="*/ 9045 h 175170"/>
                <a:gd name="connsiteX519" fmla="*/ 153809 w 189841"/>
                <a:gd name="connsiteY519" fmla="*/ 10301 h 175170"/>
                <a:gd name="connsiteX520" fmla="*/ 152351 w 189841"/>
                <a:gd name="connsiteY520" fmla="*/ 10592 h 175170"/>
                <a:gd name="connsiteX521" fmla="*/ 147802 w 189841"/>
                <a:gd name="connsiteY521" fmla="*/ 13345 h 175170"/>
                <a:gd name="connsiteX522" fmla="*/ 147692 w 189841"/>
                <a:gd name="connsiteY522" fmla="*/ 15861 h 175170"/>
                <a:gd name="connsiteX523" fmla="*/ 147752 w 189841"/>
                <a:gd name="connsiteY523" fmla="*/ 17079 h 175170"/>
                <a:gd name="connsiteX524" fmla="*/ 147845 w 189841"/>
                <a:gd name="connsiteY524" fmla="*/ 17940 h 175170"/>
                <a:gd name="connsiteX525" fmla="*/ 148320 w 189841"/>
                <a:gd name="connsiteY525" fmla="*/ 18665 h 175170"/>
                <a:gd name="connsiteX526" fmla="*/ 148320 w 189841"/>
                <a:gd name="connsiteY526" fmla="*/ 19710 h 175170"/>
                <a:gd name="connsiteX527" fmla="*/ 147810 w 189841"/>
                <a:gd name="connsiteY527" fmla="*/ 20829 h 175170"/>
                <a:gd name="connsiteX528" fmla="*/ 145823 w 189841"/>
                <a:gd name="connsiteY528" fmla="*/ 22703 h 175170"/>
                <a:gd name="connsiteX529" fmla="*/ 144446 w 189841"/>
                <a:gd name="connsiteY529" fmla="*/ 24193 h 175170"/>
                <a:gd name="connsiteX530" fmla="*/ 142904 w 189841"/>
                <a:gd name="connsiteY530" fmla="*/ 26211 h 175170"/>
                <a:gd name="connsiteX531" fmla="*/ 142032 w 189841"/>
                <a:gd name="connsiteY531" fmla="*/ 26457 h 175170"/>
                <a:gd name="connsiteX532" fmla="*/ 141352 w 189841"/>
                <a:gd name="connsiteY532" fmla="*/ 26812 h 175170"/>
                <a:gd name="connsiteX533" fmla="*/ 140727 w 189841"/>
                <a:gd name="connsiteY533" fmla="*/ 25699 h 175170"/>
                <a:gd name="connsiteX534" fmla="*/ 137298 w 189841"/>
                <a:gd name="connsiteY534" fmla="*/ 23731 h 175170"/>
                <a:gd name="connsiteX535" fmla="*/ 129362 w 189841"/>
                <a:gd name="connsiteY535" fmla="*/ 22583 h 175170"/>
                <a:gd name="connsiteX536" fmla="*/ 125571 w 189841"/>
                <a:gd name="connsiteY536" fmla="*/ 21129 h 175170"/>
                <a:gd name="connsiteX537" fmla="*/ 123908 w 189841"/>
                <a:gd name="connsiteY537" fmla="*/ 21399 h 175170"/>
                <a:gd name="connsiteX538" fmla="*/ 120688 w 189841"/>
                <a:gd name="connsiteY538" fmla="*/ 19771 h 175170"/>
                <a:gd name="connsiteX539" fmla="*/ 118481 w 189841"/>
                <a:gd name="connsiteY539" fmla="*/ 20486 h 175170"/>
                <a:gd name="connsiteX540" fmla="*/ 113800 w 189841"/>
                <a:gd name="connsiteY540" fmla="*/ 23378 h 175170"/>
                <a:gd name="connsiteX541" fmla="*/ 111273 w 189841"/>
                <a:gd name="connsiteY541" fmla="*/ 23064 h 175170"/>
                <a:gd name="connsiteX542" fmla="*/ 108572 w 189841"/>
                <a:gd name="connsiteY542" fmla="*/ 21326 h 175170"/>
                <a:gd name="connsiteX543" fmla="*/ 106814 w 189841"/>
                <a:gd name="connsiteY543" fmla="*/ 21006 h 175170"/>
                <a:gd name="connsiteX544" fmla="*/ 104752 w 189841"/>
                <a:gd name="connsiteY544" fmla="*/ 21927 h 175170"/>
                <a:gd name="connsiteX545" fmla="*/ 101448 w 189841"/>
                <a:gd name="connsiteY545" fmla="*/ 25253 h 175170"/>
                <a:gd name="connsiteX546" fmla="*/ 98086 w 189841"/>
                <a:gd name="connsiteY546" fmla="*/ 26882 h 175170"/>
                <a:gd name="connsiteX547" fmla="*/ 95074 w 189841"/>
                <a:gd name="connsiteY547" fmla="*/ 26245 h 175170"/>
                <a:gd name="connsiteX548" fmla="*/ 91021 w 189841"/>
                <a:gd name="connsiteY548" fmla="*/ 26259 h 175170"/>
                <a:gd name="connsiteX549" fmla="*/ 90588 w 189841"/>
                <a:gd name="connsiteY549" fmla="*/ 28117 h 175170"/>
                <a:gd name="connsiteX550" fmla="*/ 91373 w 189841"/>
                <a:gd name="connsiteY550" fmla="*/ 29402 h 175170"/>
                <a:gd name="connsiteX551" fmla="*/ 93588 w 189841"/>
                <a:gd name="connsiteY551" fmla="*/ 31593 h 175170"/>
                <a:gd name="connsiteX552" fmla="*/ 92549 w 189841"/>
                <a:gd name="connsiteY552" fmla="*/ 33239 h 175170"/>
                <a:gd name="connsiteX553" fmla="*/ 93320 w 189841"/>
                <a:gd name="connsiteY553" fmla="*/ 34888 h 175170"/>
                <a:gd name="connsiteX554" fmla="*/ 94763 w 189841"/>
                <a:gd name="connsiteY554" fmla="*/ 35223 h 175170"/>
                <a:gd name="connsiteX555" fmla="*/ 96942 w 189841"/>
                <a:gd name="connsiteY555" fmla="*/ 35130 h 175170"/>
                <a:gd name="connsiteX556" fmla="*/ 100971 w 189841"/>
                <a:gd name="connsiteY556" fmla="*/ 37263 h 175170"/>
                <a:gd name="connsiteX557" fmla="*/ 102733 w 189841"/>
                <a:gd name="connsiteY557" fmla="*/ 39510 h 175170"/>
                <a:gd name="connsiteX558" fmla="*/ 103858 w 189841"/>
                <a:gd name="connsiteY558" fmla="*/ 41968 h 175170"/>
                <a:gd name="connsiteX559" fmla="*/ 101405 w 189841"/>
                <a:gd name="connsiteY559" fmla="*/ 40206 h 175170"/>
                <a:gd name="connsiteX560" fmla="*/ 99777 w 189841"/>
                <a:gd name="connsiteY560" fmla="*/ 38511 h 175170"/>
                <a:gd name="connsiteX561" fmla="*/ 97505 w 189841"/>
                <a:gd name="connsiteY561" fmla="*/ 37896 h 175170"/>
                <a:gd name="connsiteX562" fmla="*/ 94346 w 189841"/>
                <a:gd name="connsiteY562" fmla="*/ 36452 h 175170"/>
                <a:gd name="connsiteX563" fmla="*/ 92362 w 189841"/>
                <a:gd name="connsiteY563" fmla="*/ 36211 h 175170"/>
                <a:gd name="connsiteX564" fmla="*/ 90250 w 189841"/>
                <a:gd name="connsiteY564" fmla="*/ 37212 h 175170"/>
                <a:gd name="connsiteX565" fmla="*/ 90085 w 189841"/>
                <a:gd name="connsiteY565" fmla="*/ 38348 h 175170"/>
                <a:gd name="connsiteX566" fmla="*/ 92362 w 189841"/>
                <a:gd name="connsiteY566" fmla="*/ 40468 h 175170"/>
                <a:gd name="connsiteX567" fmla="*/ 94443 w 189841"/>
                <a:gd name="connsiteY567" fmla="*/ 41772 h 175170"/>
                <a:gd name="connsiteX568" fmla="*/ 95547 w 189841"/>
                <a:gd name="connsiteY568" fmla="*/ 42833 h 175170"/>
                <a:gd name="connsiteX569" fmla="*/ 96283 w 189841"/>
                <a:gd name="connsiteY569" fmla="*/ 45180 h 175170"/>
                <a:gd name="connsiteX570" fmla="*/ 95864 w 189841"/>
                <a:gd name="connsiteY570" fmla="*/ 45977 h 175170"/>
                <a:gd name="connsiteX571" fmla="*/ 95095 w 189841"/>
                <a:gd name="connsiteY571" fmla="*/ 46719 h 175170"/>
                <a:gd name="connsiteX572" fmla="*/ 92625 w 189841"/>
                <a:gd name="connsiteY572" fmla="*/ 45241 h 175170"/>
                <a:gd name="connsiteX573" fmla="*/ 88848 w 189841"/>
                <a:gd name="connsiteY573" fmla="*/ 39980 h 175170"/>
                <a:gd name="connsiteX574" fmla="*/ 83579 w 189841"/>
                <a:gd name="connsiteY574" fmla="*/ 38931 h 175170"/>
                <a:gd name="connsiteX575" fmla="*/ 82698 w 189841"/>
                <a:gd name="connsiteY575" fmla="*/ 40029 h 175170"/>
                <a:gd name="connsiteX576" fmla="*/ 83733 w 189841"/>
                <a:gd name="connsiteY576" fmla="*/ 42811 h 175170"/>
                <a:gd name="connsiteX577" fmla="*/ 84482 w 189841"/>
                <a:gd name="connsiteY577" fmla="*/ 43894 h 175170"/>
                <a:gd name="connsiteX578" fmla="*/ 89060 w 189841"/>
                <a:gd name="connsiteY578" fmla="*/ 46894 h 175170"/>
                <a:gd name="connsiteX579" fmla="*/ 88693 w 189841"/>
                <a:gd name="connsiteY579" fmla="*/ 47530 h 175170"/>
                <a:gd name="connsiteX580" fmla="*/ 88025 w 189841"/>
                <a:gd name="connsiteY580" fmla="*/ 47801 h 175170"/>
                <a:gd name="connsiteX581" fmla="*/ 82901 w 189841"/>
                <a:gd name="connsiteY581" fmla="*/ 46087 h 175170"/>
                <a:gd name="connsiteX582" fmla="*/ 81411 w 189841"/>
                <a:gd name="connsiteY582" fmla="*/ 43476 h 175170"/>
                <a:gd name="connsiteX583" fmla="*/ 81053 w 189841"/>
                <a:gd name="connsiteY583" fmla="*/ 40173 h 175170"/>
                <a:gd name="connsiteX584" fmla="*/ 76324 w 189841"/>
                <a:gd name="connsiteY584" fmla="*/ 37877 h 175170"/>
                <a:gd name="connsiteX585" fmla="*/ 71864 w 189841"/>
                <a:gd name="connsiteY585" fmla="*/ 35377 h 175170"/>
                <a:gd name="connsiteX586" fmla="*/ 70867 w 189841"/>
                <a:gd name="connsiteY586" fmla="*/ 33002 h 175170"/>
                <a:gd name="connsiteX587" fmla="*/ 71785 w 189841"/>
                <a:gd name="connsiteY587" fmla="*/ 32121 h 175170"/>
                <a:gd name="connsiteX588" fmla="*/ 72435 w 189841"/>
                <a:gd name="connsiteY588" fmla="*/ 30375 h 175170"/>
                <a:gd name="connsiteX589" fmla="*/ 69984 w 189841"/>
                <a:gd name="connsiteY589" fmla="*/ 30697 h 175170"/>
                <a:gd name="connsiteX590" fmla="*/ 68446 w 189841"/>
                <a:gd name="connsiteY590" fmla="*/ 31801 h 175170"/>
                <a:gd name="connsiteX591" fmla="*/ 65961 w 189841"/>
                <a:gd name="connsiteY591" fmla="*/ 32872 h 175170"/>
                <a:gd name="connsiteX592" fmla="*/ 65859 w 189841"/>
                <a:gd name="connsiteY592" fmla="*/ 34625 h 175170"/>
                <a:gd name="connsiteX593" fmla="*/ 66252 w 189841"/>
                <a:gd name="connsiteY593" fmla="*/ 36248 h 175170"/>
                <a:gd name="connsiteX594" fmla="*/ 65430 w 189841"/>
                <a:gd name="connsiteY594" fmla="*/ 38606 h 175170"/>
                <a:gd name="connsiteX595" fmla="*/ 64631 w 189841"/>
                <a:gd name="connsiteY595" fmla="*/ 42709 h 175170"/>
                <a:gd name="connsiteX596" fmla="*/ 65136 w 189841"/>
                <a:gd name="connsiteY596" fmla="*/ 44859 h 175170"/>
                <a:gd name="connsiteX597" fmla="*/ 70521 w 189841"/>
                <a:gd name="connsiteY597" fmla="*/ 51017 h 175170"/>
                <a:gd name="connsiteX598" fmla="*/ 72363 w 189841"/>
                <a:gd name="connsiteY598" fmla="*/ 55482 h 175170"/>
                <a:gd name="connsiteX599" fmla="*/ 73685 w 189841"/>
                <a:gd name="connsiteY599" fmla="*/ 57173 h 175170"/>
                <a:gd name="connsiteX600" fmla="*/ 76441 w 189841"/>
                <a:gd name="connsiteY600" fmla="*/ 59037 h 175170"/>
                <a:gd name="connsiteX601" fmla="*/ 79314 w 189841"/>
                <a:gd name="connsiteY601" fmla="*/ 62503 h 175170"/>
                <a:gd name="connsiteX602" fmla="*/ 80533 w 189841"/>
                <a:gd name="connsiteY602" fmla="*/ 64308 h 175170"/>
                <a:gd name="connsiteX603" fmla="*/ 81400 w 189841"/>
                <a:gd name="connsiteY603" fmla="*/ 67259 h 175170"/>
                <a:gd name="connsiteX604" fmla="*/ 78982 w 189841"/>
                <a:gd name="connsiteY604" fmla="*/ 69084 h 175170"/>
                <a:gd name="connsiteX605" fmla="*/ 77574 w 189841"/>
                <a:gd name="connsiteY605" fmla="*/ 69160 h 175170"/>
                <a:gd name="connsiteX606" fmla="*/ 76794 w 189841"/>
                <a:gd name="connsiteY606" fmla="*/ 68350 h 175170"/>
                <a:gd name="connsiteX607" fmla="*/ 77885 w 189841"/>
                <a:gd name="connsiteY607" fmla="*/ 66339 h 175170"/>
                <a:gd name="connsiteX608" fmla="*/ 77730 w 189841"/>
                <a:gd name="connsiteY608" fmla="*/ 65113 h 175170"/>
                <a:gd name="connsiteX609" fmla="*/ 73996 w 189841"/>
                <a:gd name="connsiteY609" fmla="*/ 63214 h 175170"/>
                <a:gd name="connsiteX610" fmla="*/ 72415 w 189841"/>
                <a:gd name="connsiteY610" fmla="*/ 63854 h 175170"/>
                <a:gd name="connsiteX611" fmla="*/ 70593 w 189841"/>
                <a:gd name="connsiteY611" fmla="*/ 65091 h 175170"/>
                <a:gd name="connsiteX612" fmla="*/ 71633 w 189841"/>
                <a:gd name="connsiteY612" fmla="*/ 67387 h 175170"/>
                <a:gd name="connsiteX613" fmla="*/ 72804 w 189841"/>
                <a:gd name="connsiteY613" fmla="*/ 68899 h 175170"/>
                <a:gd name="connsiteX614" fmla="*/ 73391 w 189841"/>
                <a:gd name="connsiteY614" fmla="*/ 70984 h 175170"/>
                <a:gd name="connsiteX615" fmla="*/ 75629 w 189841"/>
                <a:gd name="connsiteY615" fmla="*/ 70803 h 175170"/>
                <a:gd name="connsiteX616" fmla="*/ 72616 w 189841"/>
                <a:gd name="connsiteY616" fmla="*/ 73135 h 175170"/>
                <a:gd name="connsiteX617" fmla="*/ 69789 w 189841"/>
                <a:gd name="connsiteY617" fmla="*/ 74326 h 175170"/>
                <a:gd name="connsiteX618" fmla="*/ 67008 w 189841"/>
                <a:gd name="connsiteY618" fmla="*/ 74395 h 175170"/>
                <a:gd name="connsiteX619" fmla="*/ 65237 w 189841"/>
                <a:gd name="connsiteY619" fmla="*/ 74611 h 175170"/>
                <a:gd name="connsiteX620" fmla="*/ 64627 w 189841"/>
                <a:gd name="connsiteY620" fmla="*/ 75207 h 175170"/>
                <a:gd name="connsiteX621" fmla="*/ 66067 w 189841"/>
                <a:gd name="connsiteY621" fmla="*/ 75641 h 175170"/>
                <a:gd name="connsiteX622" fmla="*/ 67243 w 189841"/>
                <a:gd name="connsiteY622" fmla="*/ 75680 h 175170"/>
                <a:gd name="connsiteX623" fmla="*/ 69157 w 189841"/>
                <a:gd name="connsiteY623" fmla="*/ 76939 h 175170"/>
                <a:gd name="connsiteX624" fmla="*/ 74603 w 189841"/>
                <a:gd name="connsiteY624" fmla="*/ 78449 h 175170"/>
                <a:gd name="connsiteX625" fmla="*/ 77198 w 189841"/>
                <a:gd name="connsiteY625" fmla="*/ 80355 h 175170"/>
                <a:gd name="connsiteX626" fmla="*/ 79747 w 189841"/>
                <a:gd name="connsiteY626" fmla="*/ 80529 h 175170"/>
                <a:gd name="connsiteX627" fmla="*/ 82312 w 189841"/>
                <a:gd name="connsiteY627" fmla="*/ 84025 h 175170"/>
                <a:gd name="connsiteX628" fmla="*/ 86749 w 189841"/>
                <a:gd name="connsiteY628" fmla="*/ 84955 h 175170"/>
                <a:gd name="connsiteX629" fmla="*/ 89278 w 189841"/>
                <a:gd name="connsiteY629" fmla="*/ 88478 h 175170"/>
                <a:gd name="connsiteX630" fmla="*/ 92640 w 189841"/>
                <a:gd name="connsiteY630" fmla="*/ 89171 h 175170"/>
                <a:gd name="connsiteX631" fmla="*/ 95536 w 189841"/>
                <a:gd name="connsiteY631" fmla="*/ 90469 h 175170"/>
                <a:gd name="connsiteX632" fmla="*/ 96384 w 189841"/>
                <a:gd name="connsiteY632" fmla="*/ 91707 h 175170"/>
                <a:gd name="connsiteX633" fmla="*/ 96807 w 189841"/>
                <a:gd name="connsiteY633" fmla="*/ 93941 h 175170"/>
                <a:gd name="connsiteX634" fmla="*/ 96995 w 189841"/>
                <a:gd name="connsiteY634" fmla="*/ 98672 h 175170"/>
                <a:gd name="connsiteX635" fmla="*/ 97622 w 189841"/>
                <a:gd name="connsiteY635" fmla="*/ 102191 h 175170"/>
                <a:gd name="connsiteX636" fmla="*/ 97643 w 189841"/>
                <a:gd name="connsiteY636" fmla="*/ 103303 h 175170"/>
                <a:gd name="connsiteX637" fmla="*/ 97490 w 189841"/>
                <a:gd name="connsiteY637" fmla="*/ 104963 h 175170"/>
                <a:gd name="connsiteX638" fmla="*/ 96702 w 189841"/>
                <a:gd name="connsiteY638" fmla="*/ 105778 h 175170"/>
                <a:gd name="connsiteX639" fmla="*/ 95637 w 189841"/>
                <a:gd name="connsiteY639" fmla="*/ 105803 h 175170"/>
                <a:gd name="connsiteX640" fmla="*/ 93553 w 189841"/>
                <a:gd name="connsiteY640" fmla="*/ 103219 h 175170"/>
                <a:gd name="connsiteX641" fmla="*/ 90357 w 189841"/>
                <a:gd name="connsiteY641" fmla="*/ 100497 h 175170"/>
                <a:gd name="connsiteX642" fmla="*/ 86989 w 189841"/>
                <a:gd name="connsiteY642" fmla="*/ 97256 h 175170"/>
                <a:gd name="connsiteX643" fmla="*/ 86032 w 189841"/>
                <a:gd name="connsiteY643" fmla="*/ 96687 h 175170"/>
                <a:gd name="connsiteX644" fmla="*/ 85249 w 189841"/>
                <a:gd name="connsiteY644" fmla="*/ 96633 h 175170"/>
                <a:gd name="connsiteX645" fmla="*/ 83446 w 189841"/>
                <a:gd name="connsiteY645" fmla="*/ 97730 h 175170"/>
                <a:gd name="connsiteX646" fmla="*/ 78436 w 189841"/>
                <a:gd name="connsiteY646" fmla="*/ 98577 h 175170"/>
                <a:gd name="connsiteX647" fmla="*/ 76086 w 189841"/>
                <a:gd name="connsiteY647" fmla="*/ 99761 h 175170"/>
                <a:gd name="connsiteX648" fmla="*/ 75203 w 189841"/>
                <a:gd name="connsiteY648" fmla="*/ 100022 h 175170"/>
                <a:gd name="connsiteX649" fmla="*/ 74957 w 189841"/>
                <a:gd name="connsiteY649" fmla="*/ 100643 h 175170"/>
                <a:gd name="connsiteX650" fmla="*/ 76058 w 189841"/>
                <a:gd name="connsiteY650" fmla="*/ 101290 h 175170"/>
                <a:gd name="connsiteX651" fmla="*/ 77408 w 189841"/>
                <a:gd name="connsiteY651" fmla="*/ 102770 h 175170"/>
                <a:gd name="connsiteX652" fmla="*/ 77408 w 189841"/>
                <a:gd name="connsiteY652" fmla="*/ 104793 h 175170"/>
                <a:gd name="connsiteX653" fmla="*/ 78522 w 189841"/>
                <a:gd name="connsiteY653" fmla="*/ 107248 h 175170"/>
                <a:gd name="connsiteX654" fmla="*/ 79962 w 189841"/>
                <a:gd name="connsiteY654" fmla="*/ 107882 h 175170"/>
                <a:gd name="connsiteX655" fmla="*/ 81839 w 189841"/>
                <a:gd name="connsiteY655" fmla="*/ 107828 h 175170"/>
                <a:gd name="connsiteX656" fmla="*/ 82914 w 189841"/>
                <a:gd name="connsiteY656" fmla="*/ 108281 h 175170"/>
                <a:gd name="connsiteX657" fmla="*/ 83193 w 189841"/>
                <a:gd name="connsiteY657" fmla="*/ 109258 h 175170"/>
                <a:gd name="connsiteX658" fmla="*/ 84283 w 189841"/>
                <a:gd name="connsiteY658" fmla="*/ 110398 h 175170"/>
                <a:gd name="connsiteX659" fmla="*/ 85002 w 189841"/>
                <a:gd name="connsiteY659" fmla="*/ 111242 h 175170"/>
                <a:gd name="connsiteX660" fmla="*/ 84972 w 189841"/>
                <a:gd name="connsiteY660" fmla="*/ 111846 h 175170"/>
                <a:gd name="connsiteX661" fmla="*/ 79738 w 189841"/>
                <a:gd name="connsiteY661" fmla="*/ 113451 h 175170"/>
                <a:gd name="connsiteX662" fmla="*/ 78643 w 189841"/>
                <a:gd name="connsiteY662" fmla="*/ 114184 h 175170"/>
                <a:gd name="connsiteX663" fmla="*/ 77725 w 189841"/>
                <a:gd name="connsiteY663" fmla="*/ 114559 h 175170"/>
                <a:gd name="connsiteX664" fmla="*/ 76365 w 189841"/>
                <a:gd name="connsiteY664" fmla="*/ 113796 h 175170"/>
                <a:gd name="connsiteX665" fmla="*/ 76287 w 189841"/>
                <a:gd name="connsiteY665" fmla="*/ 111836 h 175170"/>
                <a:gd name="connsiteX666" fmla="*/ 74488 w 189841"/>
                <a:gd name="connsiteY666" fmla="*/ 110784 h 175170"/>
                <a:gd name="connsiteX667" fmla="*/ 72838 w 189841"/>
                <a:gd name="connsiteY667" fmla="*/ 109883 h 175170"/>
                <a:gd name="connsiteX668" fmla="*/ 70861 w 189841"/>
                <a:gd name="connsiteY668" fmla="*/ 109496 h 175170"/>
                <a:gd name="connsiteX669" fmla="*/ 69178 w 189841"/>
                <a:gd name="connsiteY669" fmla="*/ 108146 h 175170"/>
                <a:gd name="connsiteX670" fmla="*/ 68081 w 189841"/>
                <a:gd name="connsiteY670" fmla="*/ 109243 h 175170"/>
                <a:gd name="connsiteX671" fmla="*/ 68958 w 189841"/>
                <a:gd name="connsiteY671" fmla="*/ 113042 h 175170"/>
                <a:gd name="connsiteX672" fmla="*/ 70861 w 189841"/>
                <a:gd name="connsiteY672" fmla="*/ 115656 h 175170"/>
                <a:gd name="connsiteX673" fmla="*/ 74043 w 189841"/>
                <a:gd name="connsiteY673" fmla="*/ 122656 h 175170"/>
                <a:gd name="connsiteX674" fmla="*/ 75488 w 189841"/>
                <a:gd name="connsiteY674" fmla="*/ 126783 h 175170"/>
                <a:gd name="connsiteX675" fmla="*/ 75780 w 189841"/>
                <a:gd name="connsiteY675" fmla="*/ 128778 h 175170"/>
                <a:gd name="connsiteX676" fmla="*/ 75060 w 189841"/>
                <a:gd name="connsiteY676" fmla="*/ 132087 h 175170"/>
                <a:gd name="connsiteX677" fmla="*/ 76624 w 189841"/>
                <a:gd name="connsiteY677" fmla="*/ 134544 h 175170"/>
                <a:gd name="connsiteX678" fmla="*/ 77695 w 189841"/>
                <a:gd name="connsiteY678" fmla="*/ 137065 h 175170"/>
                <a:gd name="connsiteX679" fmla="*/ 76516 w 189841"/>
                <a:gd name="connsiteY679" fmla="*/ 136970 h 175170"/>
                <a:gd name="connsiteX680" fmla="*/ 75493 w 189841"/>
                <a:gd name="connsiteY680" fmla="*/ 136081 h 175170"/>
                <a:gd name="connsiteX681" fmla="*/ 73776 w 189841"/>
                <a:gd name="connsiteY681" fmla="*/ 135032 h 175170"/>
                <a:gd name="connsiteX682" fmla="*/ 70446 w 189841"/>
                <a:gd name="connsiteY682" fmla="*/ 131007 h 175170"/>
                <a:gd name="connsiteX683" fmla="*/ 69286 w 189841"/>
                <a:gd name="connsiteY683" fmla="*/ 128493 h 175170"/>
                <a:gd name="connsiteX684" fmla="*/ 67900 w 189841"/>
                <a:gd name="connsiteY684" fmla="*/ 128296 h 175170"/>
                <a:gd name="connsiteX685" fmla="*/ 65494 w 189841"/>
                <a:gd name="connsiteY685" fmla="*/ 128657 h 175170"/>
                <a:gd name="connsiteX686" fmla="*/ 62856 w 189841"/>
                <a:gd name="connsiteY686" fmla="*/ 134024 h 175170"/>
                <a:gd name="connsiteX687" fmla="*/ 62864 w 189841"/>
                <a:gd name="connsiteY687" fmla="*/ 137095 h 175170"/>
                <a:gd name="connsiteX688" fmla="*/ 61500 w 189841"/>
                <a:gd name="connsiteY688" fmla="*/ 136364 h 175170"/>
                <a:gd name="connsiteX689" fmla="*/ 60329 w 189841"/>
                <a:gd name="connsiteY689" fmla="*/ 135407 h 175170"/>
                <a:gd name="connsiteX690" fmla="*/ 60472 w 189841"/>
                <a:gd name="connsiteY690" fmla="*/ 132045 h 175170"/>
                <a:gd name="connsiteX691" fmla="*/ 60355 w 189841"/>
                <a:gd name="connsiteY691" fmla="*/ 130632 h 175170"/>
                <a:gd name="connsiteX692" fmla="*/ 57153 w 189841"/>
                <a:gd name="connsiteY692" fmla="*/ 126045 h 175170"/>
                <a:gd name="connsiteX693" fmla="*/ 55684 w 189841"/>
                <a:gd name="connsiteY693" fmla="*/ 125530 h 175170"/>
                <a:gd name="connsiteX694" fmla="*/ 55000 w 189841"/>
                <a:gd name="connsiteY694" fmla="*/ 123978 h 175170"/>
                <a:gd name="connsiteX695" fmla="*/ 53821 w 189841"/>
                <a:gd name="connsiteY695" fmla="*/ 122324 h 175170"/>
                <a:gd name="connsiteX696" fmla="*/ 52301 w 189841"/>
                <a:gd name="connsiteY696" fmla="*/ 122641 h 175170"/>
                <a:gd name="connsiteX697" fmla="*/ 51059 w 189841"/>
                <a:gd name="connsiteY697" fmla="*/ 123312 h 175170"/>
                <a:gd name="connsiteX698" fmla="*/ 50716 w 189841"/>
                <a:gd name="connsiteY698" fmla="*/ 125811 h 175170"/>
                <a:gd name="connsiteX699" fmla="*/ 50588 w 189841"/>
                <a:gd name="connsiteY699" fmla="*/ 128050 h 175170"/>
                <a:gd name="connsiteX700" fmla="*/ 49662 w 189841"/>
                <a:gd name="connsiteY700" fmla="*/ 129734 h 175170"/>
                <a:gd name="connsiteX701" fmla="*/ 46250 w 189841"/>
                <a:gd name="connsiteY701" fmla="*/ 126536 h 175170"/>
                <a:gd name="connsiteX702" fmla="*/ 42819 w 189841"/>
                <a:gd name="connsiteY702" fmla="*/ 121001 h 175170"/>
                <a:gd name="connsiteX703" fmla="*/ 42728 w 189841"/>
                <a:gd name="connsiteY703" fmla="*/ 117960 h 175170"/>
                <a:gd name="connsiteX704" fmla="*/ 45242 w 189841"/>
                <a:gd name="connsiteY704" fmla="*/ 115185 h 175170"/>
                <a:gd name="connsiteX705" fmla="*/ 44941 w 189841"/>
                <a:gd name="connsiteY705" fmla="*/ 113198 h 175170"/>
                <a:gd name="connsiteX706" fmla="*/ 42562 w 189841"/>
                <a:gd name="connsiteY706" fmla="*/ 109272 h 175170"/>
                <a:gd name="connsiteX707" fmla="*/ 39133 w 189841"/>
                <a:gd name="connsiteY707" fmla="*/ 106744 h 175170"/>
                <a:gd name="connsiteX708" fmla="*/ 37211 w 189841"/>
                <a:gd name="connsiteY708" fmla="*/ 105993 h 175170"/>
                <a:gd name="connsiteX709" fmla="*/ 36308 w 189841"/>
                <a:gd name="connsiteY709" fmla="*/ 103303 h 175170"/>
                <a:gd name="connsiteX710" fmla="*/ 34468 w 189841"/>
                <a:gd name="connsiteY710" fmla="*/ 101912 h 175170"/>
                <a:gd name="connsiteX711" fmla="*/ 32980 w 189841"/>
                <a:gd name="connsiteY711" fmla="*/ 101264 h 175170"/>
                <a:gd name="connsiteX712" fmla="*/ 32687 w 189841"/>
                <a:gd name="connsiteY712" fmla="*/ 100305 h 175170"/>
                <a:gd name="connsiteX713" fmla="*/ 33136 w 189841"/>
                <a:gd name="connsiteY713" fmla="*/ 99595 h 175170"/>
                <a:gd name="connsiteX714" fmla="*/ 36742 w 189841"/>
                <a:gd name="connsiteY714" fmla="*/ 96823 h 175170"/>
                <a:gd name="connsiteX715" fmla="*/ 38856 w 189841"/>
                <a:gd name="connsiteY715" fmla="*/ 92481 h 175170"/>
                <a:gd name="connsiteX716" fmla="*/ 39906 w 189841"/>
                <a:gd name="connsiteY716" fmla="*/ 92274 h 175170"/>
                <a:gd name="connsiteX717" fmla="*/ 42063 w 189841"/>
                <a:gd name="connsiteY717" fmla="*/ 93304 h 175170"/>
                <a:gd name="connsiteX718" fmla="*/ 44488 w 189841"/>
                <a:gd name="connsiteY718" fmla="*/ 93035 h 175170"/>
                <a:gd name="connsiteX719" fmla="*/ 46479 w 189841"/>
                <a:gd name="connsiteY719" fmla="*/ 90489 h 175170"/>
                <a:gd name="connsiteX720" fmla="*/ 48165 w 189841"/>
                <a:gd name="connsiteY720" fmla="*/ 89103 h 175170"/>
                <a:gd name="connsiteX721" fmla="*/ 51009 w 189841"/>
                <a:gd name="connsiteY721" fmla="*/ 89282 h 175170"/>
                <a:gd name="connsiteX722" fmla="*/ 57431 w 189841"/>
                <a:gd name="connsiteY722" fmla="*/ 92685 h 175170"/>
                <a:gd name="connsiteX723" fmla="*/ 64333 w 189841"/>
                <a:gd name="connsiteY723" fmla="*/ 94623 h 175170"/>
                <a:gd name="connsiteX724" fmla="*/ 67775 w 189841"/>
                <a:gd name="connsiteY724" fmla="*/ 96324 h 175170"/>
                <a:gd name="connsiteX725" fmla="*/ 69722 w 189841"/>
                <a:gd name="connsiteY725" fmla="*/ 98009 h 175170"/>
                <a:gd name="connsiteX726" fmla="*/ 70757 w 189841"/>
                <a:gd name="connsiteY726" fmla="*/ 98358 h 175170"/>
                <a:gd name="connsiteX727" fmla="*/ 72392 w 189841"/>
                <a:gd name="connsiteY727" fmla="*/ 98596 h 175170"/>
                <a:gd name="connsiteX728" fmla="*/ 72318 w 189841"/>
                <a:gd name="connsiteY728" fmla="*/ 97336 h 175170"/>
                <a:gd name="connsiteX729" fmla="*/ 71791 w 189841"/>
                <a:gd name="connsiteY729" fmla="*/ 96221 h 175170"/>
                <a:gd name="connsiteX730" fmla="*/ 73154 w 189841"/>
                <a:gd name="connsiteY730" fmla="*/ 95614 h 175170"/>
                <a:gd name="connsiteX731" fmla="*/ 76853 w 189841"/>
                <a:gd name="connsiteY731" fmla="*/ 95646 h 175170"/>
                <a:gd name="connsiteX732" fmla="*/ 77526 w 189841"/>
                <a:gd name="connsiteY732" fmla="*/ 95055 h 175170"/>
                <a:gd name="connsiteX733" fmla="*/ 78211 w 189841"/>
                <a:gd name="connsiteY733" fmla="*/ 94098 h 175170"/>
                <a:gd name="connsiteX734" fmla="*/ 77447 w 189841"/>
                <a:gd name="connsiteY734" fmla="*/ 93010 h 175170"/>
                <a:gd name="connsiteX735" fmla="*/ 76222 w 189841"/>
                <a:gd name="connsiteY735" fmla="*/ 92487 h 175170"/>
                <a:gd name="connsiteX736" fmla="*/ 74913 w 189841"/>
                <a:gd name="connsiteY736" fmla="*/ 92342 h 175170"/>
                <a:gd name="connsiteX737" fmla="*/ 74052 w 189841"/>
                <a:gd name="connsiteY737" fmla="*/ 91997 h 175170"/>
                <a:gd name="connsiteX738" fmla="*/ 72661 w 189841"/>
                <a:gd name="connsiteY738" fmla="*/ 92345 h 175170"/>
                <a:gd name="connsiteX739" fmla="*/ 70491 w 189841"/>
                <a:gd name="connsiteY739" fmla="*/ 91504 h 175170"/>
                <a:gd name="connsiteX740" fmla="*/ 69370 w 189841"/>
                <a:gd name="connsiteY740" fmla="*/ 90810 h 175170"/>
                <a:gd name="connsiteX741" fmla="*/ 68712 w 189841"/>
                <a:gd name="connsiteY741" fmla="*/ 90096 h 175170"/>
                <a:gd name="connsiteX742" fmla="*/ 64942 w 189841"/>
                <a:gd name="connsiteY742" fmla="*/ 88672 h 175170"/>
                <a:gd name="connsiteX743" fmla="*/ 61366 w 189841"/>
                <a:gd name="connsiteY743" fmla="*/ 86264 h 175170"/>
                <a:gd name="connsiteX744" fmla="*/ 60560 w 189841"/>
                <a:gd name="connsiteY744" fmla="*/ 87627 h 175170"/>
                <a:gd name="connsiteX745" fmla="*/ 59116 w 189841"/>
                <a:gd name="connsiteY745" fmla="*/ 88366 h 175170"/>
                <a:gd name="connsiteX746" fmla="*/ 57058 w 189841"/>
                <a:gd name="connsiteY746" fmla="*/ 88468 h 175170"/>
                <a:gd name="connsiteX747" fmla="*/ 51275 w 189841"/>
                <a:gd name="connsiteY747" fmla="*/ 86935 h 175170"/>
                <a:gd name="connsiteX748" fmla="*/ 47722 w 189841"/>
                <a:gd name="connsiteY748" fmla="*/ 88105 h 175170"/>
                <a:gd name="connsiteX749" fmla="*/ 45786 w 189841"/>
                <a:gd name="connsiteY749" fmla="*/ 88412 h 175170"/>
                <a:gd name="connsiteX750" fmla="*/ 44304 w 189841"/>
                <a:gd name="connsiteY750" fmla="*/ 88438 h 175170"/>
                <a:gd name="connsiteX751" fmla="*/ 42482 w 189841"/>
                <a:gd name="connsiteY751" fmla="*/ 88963 h 175170"/>
                <a:gd name="connsiteX752" fmla="*/ 40379 w 189841"/>
                <a:gd name="connsiteY752" fmla="*/ 89277 h 175170"/>
                <a:gd name="connsiteX753" fmla="*/ 38556 w 189841"/>
                <a:gd name="connsiteY753" fmla="*/ 87054 h 175170"/>
                <a:gd name="connsiteX754" fmla="*/ 37789 w 189841"/>
                <a:gd name="connsiteY754" fmla="*/ 85331 h 175170"/>
                <a:gd name="connsiteX755" fmla="*/ 37249 w 189841"/>
                <a:gd name="connsiteY755" fmla="*/ 85009 h 175170"/>
                <a:gd name="connsiteX756" fmla="*/ 37222 w 189841"/>
                <a:gd name="connsiteY756" fmla="*/ 86628 h 175170"/>
                <a:gd name="connsiteX757" fmla="*/ 36636 w 189841"/>
                <a:gd name="connsiteY757" fmla="*/ 87926 h 175170"/>
                <a:gd name="connsiteX758" fmla="*/ 33968 w 189841"/>
                <a:gd name="connsiteY758" fmla="*/ 88655 h 175170"/>
                <a:gd name="connsiteX759" fmla="*/ 32432 w 189841"/>
                <a:gd name="connsiteY759" fmla="*/ 87650 h 175170"/>
                <a:gd name="connsiteX760" fmla="*/ 31251 w 189841"/>
                <a:gd name="connsiteY760" fmla="*/ 84598 h 175170"/>
                <a:gd name="connsiteX761" fmla="*/ 29757 w 189841"/>
                <a:gd name="connsiteY761" fmla="*/ 80715 h 175170"/>
                <a:gd name="connsiteX762" fmla="*/ 27126 w 189841"/>
                <a:gd name="connsiteY762" fmla="*/ 77576 h 175170"/>
                <a:gd name="connsiteX763" fmla="*/ 24995 w 189841"/>
                <a:gd name="connsiteY763" fmla="*/ 76755 h 175170"/>
                <a:gd name="connsiteX764" fmla="*/ 24811 w 189841"/>
                <a:gd name="connsiteY764" fmla="*/ 75029 h 175170"/>
                <a:gd name="connsiteX765" fmla="*/ 25006 w 189841"/>
                <a:gd name="connsiteY765" fmla="*/ 73647 h 175170"/>
                <a:gd name="connsiteX766" fmla="*/ 27567 w 189841"/>
                <a:gd name="connsiteY766" fmla="*/ 73306 h 175170"/>
                <a:gd name="connsiteX767" fmla="*/ 31570 w 189841"/>
                <a:gd name="connsiteY767" fmla="*/ 74751 h 175170"/>
                <a:gd name="connsiteX768" fmla="*/ 32397 w 189841"/>
                <a:gd name="connsiteY768" fmla="*/ 74464 h 175170"/>
                <a:gd name="connsiteX769" fmla="*/ 33298 w 189841"/>
                <a:gd name="connsiteY769" fmla="*/ 73797 h 175170"/>
                <a:gd name="connsiteX770" fmla="*/ 33125 w 189841"/>
                <a:gd name="connsiteY770" fmla="*/ 72322 h 175170"/>
                <a:gd name="connsiteX771" fmla="*/ 32547 w 189841"/>
                <a:gd name="connsiteY771" fmla="*/ 71008 h 175170"/>
                <a:gd name="connsiteX772" fmla="*/ 31445 w 189841"/>
                <a:gd name="connsiteY772" fmla="*/ 70949 h 175170"/>
                <a:gd name="connsiteX773" fmla="*/ 30683 w 189841"/>
                <a:gd name="connsiteY773" fmla="*/ 71105 h 175170"/>
                <a:gd name="connsiteX774" fmla="*/ 28221 w 189841"/>
                <a:gd name="connsiteY774" fmla="*/ 70833 h 175170"/>
                <a:gd name="connsiteX775" fmla="*/ 25058 w 189841"/>
                <a:gd name="connsiteY775" fmla="*/ 71563 h 175170"/>
                <a:gd name="connsiteX776" fmla="*/ 23591 w 189841"/>
                <a:gd name="connsiteY776" fmla="*/ 70875 h 175170"/>
                <a:gd name="connsiteX777" fmla="*/ 23103 w 189841"/>
                <a:gd name="connsiteY777" fmla="*/ 70039 h 175170"/>
                <a:gd name="connsiteX778" fmla="*/ 20458 w 189841"/>
                <a:gd name="connsiteY778" fmla="*/ 67963 h 175170"/>
                <a:gd name="connsiteX779" fmla="*/ 18172 w 189841"/>
                <a:gd name="connsiteY779" fmla="*/ 65177 h 175170"/>
                <a:gd name="connsiteX780" fmla="*/ 14468 w 189841"/>
                <a:gd name="connsiteY780" fmla="*/ 63316 h 175170"/>
                <a:gd name="connsiteX781" fmla="*/ 12049 w 189841"/>
                <a:gd name="connsiteY781" fmla="*/ 57641 h 175170"/>
                <a:gd name="connsiteX782" fmla="*/ 10015 w 189841"/>
                <a:gd name="connsiteY782" fmla="*/ 55161 h 175170"/>
                <a:gd name="connsiteX783" fmla="*/ 7845 w 189841"/>
                <a:gd name="connsiteY783" fmla="*/ 53389 h 175170"/>
                <a:gd name="connsiteX784" fmla="*/ 8316 w 189841"/>
                <a:gd name="connsiteY784" fmla="*/ 53356 h 175170"/>
                <a:gd name="connsiteX785" fmla="*/ 9139 w 189841"/>
                <a:gd name="connsiteY785" fmla="*/ 53657 h 175170"/>
                <a:gd name="connsiteX786" fmla="*/ 10715 w 189841"/>
                <a:gd name="connsiteY786" fmla="*/ 54632 h 175170"/>
                <a:gd name="connsiteX787" fmla="*/ 12391 w 189841"/>
                <a:gd name="connsiteY787" fmla="*/ 54842 h 175170"/>
                <a:gd name="connsiteX788" fmla="*/ 13306 w 189841"/>
                <a:gd name="connsiteY788" fmla="*/ 54196 h 175170"/>
                <a:gd name="connsiteX789" fmla="*/ 13833 w 189841"/>
                <a:gd name="connsiteY789" fmla="*/ 53603 h 175170"/>
                <a:gd name="connsiteX790" fmla="*/ 14176 w 189841"/>
                <a:gd name="connsiteY790" fmla="*/ 52630 h 175170"/>
                <a:gd name="connsiteX791" fmla="*/ 14315 w 189841"/>
                <a:gd name="connsiteY791" fmla="*/ 51495 h 175170"/>
                <a:gd name="connsiteX792" fmla="*/ 14587 w 189841"/>
                <a:gd name="connsiteY792" fmla="*/ 51119 h 175170"/>
                <a:gd name="connsiteX793" fmla="*/ 15867 w 189841"/>
                <a:gd name="connsiteY793" fmla="*/ 51247 h 175170"/>
                <a:gd name="connsiteX794" fmla="*/ 16273 w 189841"/>
                <a:gd name="connsiteY794" fmla="*/ 50964 h 175170"/>
                <a:gd name="connsiteX795" fmla="*/ 16256 w 189841"/>
                <a:gd name="connsiteY795" fmla="*/ 49944 h 175170"/>
                <a:gd name="connsiteX796" fmla="*/ 15429 w 189841"/>
                <a:gd name="connsiteY796" fmla="*/ 48672 h 175170"/>
                <a:gd name="connsiteX797" fmla="*/ 14701 w 189841"/>
                <a:gd name="connsiteY797" fmla="*/ 47105 h 175170"/>
                <a:gd name="connsiteX798" fmla="*/ 14697 w 189841"/>
                <a:gd name="connsiteY798" fmla="*/ 46358 h 175170"/>
                <a:gd name="connsiteX799" fmla="*/ 15302 w 189841"/>
                <a:gd name="connsiteY799" fmla="*/ 46055 h 175170"/>
                <a:gd name="connsiteX800" fmla="*/ 16302 w 189841"/>
                <a:gd name="connsiteY800" fmla="*/ 45374 h 175170"/>
                <a:gd name="connsiteX801" fmla="*/ 16839 w 189841"/>
                <a:gd name="connsiteY801" fmla="*/ 44532 h 175170"/>
                <a:gd name="connsiteX802" fmla="*/ 17901 w 189841"/>
                <a:gd name="connsiteY802" fmla="*/ 44112 h 175170"/>
                <a:gd name="connsiteX803" fmla="*/ 19472 w 189841"/>
                <a:gd name="connsiteY803" fmla="*/ 44035 h 175170"/>
                <a:gd name="connsiteX804" fmla="*/ 21223 w 189841"/>
                <a:gd name="connsiteY804" fmla="*/ 43666 h 175170"/>
                <a:gd name="connsiteX805" fmla="*/ 22354 w 189841"/>
                <a:gd name="connsiteY805" fmla="*/ 42760 h 175170"/>
                <a:gd name="connsiteX806" fmla="*/ 22521 w 189841"/>
                <a:gd name="connsiteY806" fmla="*/ 41862 h 175170"/>
                <a:gd name="connsiteX807" fmla="*/ 23229 w 189841"/>
                <a:gd name="connsiteY807" fmla="*/ 39391 h 175170"/>
                <a:gd name="connsiteX808" fmla="*/ 23691 w 189841"/>
                <a:gd name="connsiteY808" fmla="*/ 38181 h 175170"/>
                <a:gd name="connsiteX809" fmla="*/ 24438 w 189841"/>
                <a:gd name="connsiteY809" fmla="*/ 37076 h 175170"/>
                <a:gd name="connsiteX810" fmla="*/ 24844 w 189841"/>
                <a:gd name="connsiteY810" fmla="*/ 35586 h 175170"/>
                <a:gd name="connsiteX811" fmla="*/ 25641 w 189841"/>
                <a:gd name="connsiteY811" fmla="*/ 34184 h 175170"/>
                <a:gd name="connsiteX812" fmla="*/ 27312 w 189841"/>
                <a:gd name="connsiteY812" fmla="*/ 33596 h 175170"/>
                <a:gd name="connsiteX813" fmla="*/ 28828 w 189841"/>
                <a:gd name="connsiteY813" fmla="*/ 32903 h 175170"/>
                <a:gd name="connsiteX814" fmla="*/ 29972 w 189841"/>
                <a:gd name="connsiteY814" fmla="*/ 31096 h 175170"/>
                <a:gd name="connsiteX815" fmla="*/ 30612 w 189841"/>
                <a:gd name="connsiteY815" fmla="*/ 29547 h 175170"/>
                <a:gd name="connsiteX816" fmla="*/ 30616 w 189841"/>
                <a:gd name="connsiteY816" fmla="*/ 28599 h 175170"/>
                <a:gd name="connsiteX817" fmla="*/ 29662 w 189841"/>
                <a:gd name="connsiteY817" fmla="*/ 27047 h 175170"/>
                <a:gd name="connsiteX818" fmla="*/ 28951 w 189841"/>
                <a:gd name="connsiteY818" fmla="*/ 25538 h 175170"/>
                <a:gd name="connsiteX819" fmla="*/ 29139 w 189841"/>
                <a:gd name="connsiteY819" fmla="*/ 23578 h 175170"/>
                <a:gd name="connsiteX820" fmla="*/ 32141 w 189841"/>
                <a:gd name="connsiteY820" fmla="*/ 23414 h 175170"/>
                <a:gd name="connsiteX821" fmla="*/ 33192 w 189841"/>
                <a:gd name="connsiteY821" fmla="*/ 23231 h 175170"/>
                <a:gd name="connsiteX822" fmla="*/ 37088 w 189841"/>
                <a:gd name="connsiteY822" fmla="*/ 23125 h 175170"/>
                <a:gd name="connsiteX823" fmla="*/ 38865 w 189841"/>
                <a:gd name="connsiteY823" fmla="*/ 22073 h 175170"/>
                <a:gd name="connsiteX824" fmla="*/ 40094 w 189841"/>
                <a:gd name="connsiteY824" fmla="*/ 22167 h 175170"/>
                <a:gd name="connsiteX825" fmla="*/ 42661 w 189841"/>
                <a:gd name="connsiteY825" fmla="*/ 23078 h 175170"/>
                <a:gd name="connsiteX826" fmla="*/ 43806 w 189841"/>
                <a:gd name="connsiteY826" fmla="*/ 22358 h 175170"/>
                <a:gd name="connsiteX827" fmla="*/ 47166 w 189841"/>
                <a:gd name="connsiteY827" fmla="*/ 20936 h 175170"/>
                <a:gd name="connsiteX828" fmla="*/ 50482 w 189841"/>
                <a:gd name="connsiteY828" fmla="*/ 16805 h 175170"/>
                <a:gd name="connsiteX829" fmla="*/ 51895 w 189841"/>
                <a:gd name="connsiteY829" fmla="*/ 16185 h 175170"/>
                <a:gd name="connsiteX830" fmla="*/ 55112 w 189841"/>
                <a:gd name="connsiteY830" fmla="*/ 15934 h 175170"/>
                <a:gd name="connsiteX831" fmla="*/ 56120 w 189841"/>
                <a:gd name="connsiteY831" fmla="*/ 15456 h 175170"/>
                <a:gd name="connsiteX832" fmla="*/ 57297 w 189841"/>
                <a:gd name="connsiteY832" fmla="*/ 15547 h 175170"/>
                <a:gd name="connsiteX833" fmla="*/ 60903 w 189841"/>
                <a:gd name="connsiteY833" fmla="*/ 16385 h 175170"/>
                <a:gd name="connsiteX834" fmla="*/ 62955 w 189841"/>
                <a:gd name="connsiteY834" fmla="*/ 16513 h 175170"/>
                <a:gd name="connsiteX835" fmla="*/ 65388 w 189841"/>
                <a:gd name="connsiteY835" fmla="*/ 15942 h 175170"/>
                <a:gd name="connsiteX836" fmla="*/ 68069 w 189841"/>
                <a:gd name="connsiteY836" fmla="*/ 14932 h 175170"/>
                <a:gd name="connsiteX837" fmla="*/ 68738 w 189841"/>
                <a:gd name="connsiteY837" fmla="*/ 11394 h 175170"/>
                <a:gd name="connsiteX838" fmla="*/ 69375 w 189841"/>
                <a:gd name="connsiteY838" fmla="*/ 10886 h 175170"/>
                <a:gd name="connsiteX839" fmla="*/ 71042 w 189841"/>
                <a:gd name="connsiteY839" fmla="*/ 10744 h 175170"/>
                <a:gd name="connsiteX840" fmla="*/ 72297 w 189841"/>
                <a:gd name="connsiteY840" fmla="*/ 10773 h 175170"/>
                <a:gd name="connsiteX841" fmla="*/ 74719 w 189841"/>
                <a:gd name="connsiteY841" fmla="*/ 11054 h 175170"/>
                <a:gd name="connsiteX842" fmla="*/ 77602 w 189841"/>
                <a:gd name="connsiteY842" fmla="*/ 11148 h 175170"/>
                <a:gd name="connsiteX843" fmla="*/ 79457 w 189841"/>
                <a:gd name="connsiteY843" fmla="*/ 9488 h 175170"/>
                <a:gd name="connsiteX844" fmla="*/ 82381 w 189841"/>
                <a:gd name="connsiteY844" fmla="*/ 9364 h 175170"/>
                <a:gd name="connsiteX845" fmla="*/ 83737 w 189841"/>
                <a:gd name="connsiteY845" fmla="*/ 9124 h 175170"/>
                <a:gd name="connsiteX846" fmla="*/ 86002 w 189841"/>
                <a:gd name="connsiteY846" fmla="*/ 9459 h 175170"/>
                <a:gd name="connsiteX847" fmla="*/ 88198 w 189841"/>
                <a:gd name="connsiteY847" fmla="*/ 9440 h 175170"/>
                <a:gd name="connsiteX848" fmla="*/ 91010 w 189841"/>
                <a:gd name="connsiteY848" fmla="*/ 8748 h 175170"/>
                <a:gd name="connsiteX849" fmla="*/ 93631 w 189841"/>
                <a:gd name="connsiteY849" fmla="*/ 7613 h 175170"/>
                <a:gd name="connsiteX850" fmla="*/ 95680 w 189841"/>
                <a:gd name="connsiteY850" fmla="*/ 7710 h 175170"/>
                <a:gd name="connsiteX851" fmla="*/ 96516 w 189841"/>
                <a:gd name="connsiteY851" fmla="*/ 7505 h 175170"/>
                <a:gd name="connsiteX852" fmla="*/ 96994 w 189841"/>
                <a:gd name="connsiteY852" fmla="*/ 7266 h 175170"/>
                <a:gd name="connsiteX853" fmla="*/ 97505 w 189841"/>
                <a:gd name="connsiteY853" fmla="*/ 5729 h 175170"/>
                <a:gd name="connsiteX854" fmla="*/ 101360 w 189841"/>
                <a:gd name="connsiteY854" fmla="*/ 5635 h 175170"/>
                <a:gd name="connsiteX855" fmla="*/ 102666 w 189841"/>
                <a:gd name="connsiteY855" fmla="*/ 5788 h 175170"/>
                <a:gd name="connsiteX856" fmla="*/ 104817 w 189841"/>
                <a:gd name="connsiteY856" fmla="*/ 5828 h 175170"/>
                <a:gd name="connsiteX857" fmla="*/ 107054 w 189841"/>
                <a:gd name="connsiteY857" fmla="*/ 4990 h 175170"/>
                <a:gd name="connsiteX858" fmla="*/ 107725 w 189841"/>
                <a:gd name="connsiteY858" fmla="*/ 5061 h 175170"/>
                <a:gd name="connsiteX859" fmla="*/ 108855 w 189841"/>
                <a:gd name="connsiteY859" fmla="*/ 7311 h 175170"/>
                <a:gd name="connsiteX860" fmla="*/ 109444 w 189841"/>
                <a:gd name="connsiteY860" fmla="*/ 7963 h 175170"/>
                <a:gd name="connsiteX861" fmla="*/ 110662 w 189841"/>
                <a:gd name="connsiteY861" fmla="*/ 8564 h 175170"/>
                <a:gd name="connsiteX862" fmla="*/ 113374 w 189841"/>
                <a:gd name="connsiteY862" fmla="*/ 10250 h 175170"/>
                <a:gd name="connsiteX863" fmla="*/ 113863 w 189841"/>
                <a:gd name="connsiteY863" fmla="*/ 9806 h 175170"/>
                <a:gd name="connsiteX864" fmla="*/ 114992 w 189841"/>
                <a:gd name="connsiteY864" fmla="*/ 9243 h 175170"/>
                <a:gd name="connsiteX865" fmla="*/ 118235 w 189841"/>
                <a:gd name="connsiteY865" fmla="*/ 10015 h 175170"/>
                <a:gd name="connsiteX866" fmla="*/ 121327 w 189841"/>
                <a:gd name="connsiteY866" fmla="*/ 11314 h 175170"/>
                <a:gd name="connsiteX867" fmla="*/ 123932 w 189841"/>
                <a:gd name="connsiteY867" fmla="*/ 13219 h 175170"/>
                <a:gd name="connsiteX868" fmla="*/ 126823 w 189841"/>
                <a:gd name="connsiteY868" fmla="*/ 12670 h 175170"/>
                <a:gd name="connsiteX869" fmla="*/ 130032 w 189841"/>
                <a:gd name="connsiteY869" fmla="*/ 11735 h 175170"/>
                <a:gd name="connsiteX870" fmla="*/ 132120 w 189841"/>
                <a:gd name="connsiteY870" fmla="*/ 11463 h 175170"/>
                <a:gd name="connsiteX871" fmla="*/ 134385 w 189841"/>
                <a:gd name="connsiteY871" fmla="*/ 11333 h 175170"/>
                <a:gd name="connsiteX872" fmla="*/ 135735 w 189841"/>
                <a:gd name="connsiteY872" fmla="*/ 10927 h 175170"/>
                <a:gd name="connsiteX873" fmla="*/ 138795 w 189841"/>
                <a:gd name="connsiteY873" fmla="*/ 11416 h 175170"/>
                <a:gd name="connsiteX874" fmla="*/ 141958 w 189841"/>
                <a:gd name="connsiteY874" fmla="*/ 10393 h 175170"/>
                <a:gd name="connsiteX875" fmla="*/ 143483 w 189841"/>
                <a:gd name="connsiteY875" fmla="*/ 9467 h 175170"/>
                <a:gd name="connsiteX876" fmla="*/ 143921 w 189841"/>
                <a:gd name="connsiteY876" fmla="*/ 8170 h 175170"/>
                <a:gd name="connsiteX877" fmla="*/ 143664 w 189841"/>
                <a:gd name="connsiteY877" fmla="*/ 5881 h 175170"/>
                <a:gd name="connsiteX878" fmla="*/ 142949 w 189841"/>
                <a:gd name="connsiteY878" fmla="*/ 3589 h 175170"/>
                <a:gd name="connsiteX879" fmla="*/ 142192 w 189841"/>
                <a:gd name="connsiteY879" fmla="*/ 2743 h 175170"/>
                <a:gd name="connsiteX880" fmla="*/ 141950 w 189841"/>
                <a:gd name="connsiteY880" fmla="*/ 1868 h 175170"/>
                <a:gd name="connsiteX881" fmla="*/ 142381 w 189841"/>
                <a:gd name="connsiteY881" fmla="*/ 1050 h 175170"/>
                <a:gd name="connsiteX882" fmla="*/ 142865 w 189841"/>
                <a:gd name="connsiteY882" fmla="*/ 479 h 17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Lst>
              <a:rect l="l" t="t" r="r" b="b"/>
              <a:pathLst>
                <a:path w="189841" h="175170">
                  <a:moveTo>
                    <a:pt x="90448" y="157073"/>
                  </a:moveTo>
                  <a:lnTo>
                    <a:pt x="91198" y="157609"/>
                  </a:lnTo>
                  <a:lnTo>
                    <a:pt x="91697" y="159571"/>
                  </a:lnTo>
                  <a:lnTo>
                    <a:pt x="92998" y="160093"/>
                  </a:lnTo>
                  <a:lnTo>
                    <a:pt x="94510" y="160276"/>
                  </a:lnTo>
                  <a:lnTo>
                    <a:pt x="96559" y="160244"/>
                  </a:lnTo>
                  <a:lnTo>
                    <a:pt x="97026" y="160094"/>
                  </a:lnTo>
                  <a:lnTo>
                    <a:pt x="98330" y="158624"/>
                  </a:lnTo>
                  <a:lnTo>
                    <a:pt x="99937" y="158590"/>
                  </a:lnTo>
                  <a:lnTo>
                    <a:pt x="100638" y="160043"/>
                  </a:lnTo>
                  <a:lnTo>
                    <a:pt x="99008" y="160712"/>
                  </a:lnTo>
                  <a:lnTo>
                    <a:pt x="98676" y="161090"/>
                  </a:lnTo>
                  <a:lnTo>
                    <a:pt x="98989" y="161396"/>
                  </a:lnTo>
                  <a:lnTo>
                    <a:pt x="100213" y="162002"/>
                  </a:lnTo>
                  <a:lnTo>
                    <a:pt x="101913" y="161773"/>
                  </a:lnTo>
                  <a:lnTo>
                    <a:pt x="101964" y="162916"/>
                  </a:lnTo>
                  <a:lnTo>
                    <a:pt x="102344" y="163849"/>
                  </a:lnTo>
                  <a:lnTo>
                    <a:pt x="103184" y="164406"/>
                  </a:lnTo>
                  <a:lnTo>
                    <a:pt x="104093" y="164515"/>
                  </a:lnTo>
                  <a:lnTo>
                    <a:pt x="106104" y="164350"/>
                  </a:lnTo>
                  <a:lnTo>
                    <a:pt x="108086" y="163980"/>
                  </a:lnTo>
                  <a:lnTo>
                    <a:pt x="110129" y="163248"/>
                  </a:lnTo>
                  <a:lnTo>
                    <a:pt x="112215" y="162874"/>
                  </a:lnTo>
                  <a:lnTo>
                    <a:pt x="118447" y="163249"/>
                  </a:lnTo>
                  <a:lnTo>
                    <a:pt x="120684" y="164830"/>
                  </a:lnTo>
                  <a:lnTo>
                    <a:pt x="124940" y="165020"/>
                  </a:lnTo>
                  <a:lnTo>
                    <a:pt x="128896" y="165852"/>
                  </a:lnTo>
                  <a:lnTo>
                    <a:pt x="130974" y="165303"/>
                  </a:lnTo>
                  <a:lnTo>
                    <a:pt x="134523" y="164788"/>
                  </a:lnTo>
                  <a:lnTo>
                    <a:pt x="135092" y="165346"/>
                  </a:lnTo>
                  <a:lnTo>
                    <a:pt x="134633" y="168918"/>
                  </a:lnTo>
                  <a:lnTo>
                    <a:pt x="134852" y="169953"/>
                  </a:lnTo>
                  <a:lnTo>
                    <a:pt x="135875" y="170451"/>
                  </a:lnTo>
                  <a:lnTo>
                    <a:pt x="136888" y="170208"/>
                  </a:lnTo>
                  <a:lnTo>
                    <a:pt x="138132" y="169039"/>
                  </a:lnTo>
                  <a:lnTo>
                    <a:pt x="141109" y="168134"/>
                  </a:lnTo>
                  <a:lnTo>
                    <a:pt x="144202" y="168139"/>
                  </a:lnTo>
                  <a:lnTo>
                    <a:pt x="146804" y="165763"/>
                  </a:lnTo>
                  <a:lnTo>
                    <a:pt x="147571" y="165628"/>
                  </a:lnTo>
                  <a:lnTo>
                    <a:pt x="147093" y="166796"/>
                  </a:lnTo>
                  <a:lnTo>
                    <a:pt x="146700" y="169539"/>
                  </a:lnTo>
                  <a:lnTo>
                    <a:pt x="146141" y="171145"/>
                  </a:lnTo>
                  <a:lnTo>
                    <a:pt x="145892" y="172410"/>
                  </a:lnTo>
                  <a:lnTo>
                    <a:pt x="144152" y="173063"/>
                  </a:lnTo>
                  <a:lnTo>
                    <a:pt x="141522" y="173175"/>
                  </a:lnTo>
                  <a:lnTo>
                    <a:pt x="136724" y="172898"/>
                  </a:lnTo>
                  <a:lnTo>
                    <a:pt x="131887" y="173346"/>
                  </a:lnTo>
                  <a:lnTo>
                    <a:pt x="122928" y="174549"/>
                  </a:lnTo>
                  <a:lnTo>
                    <a:pt x="113951" y="175170"/>
                  </a:lnTo>
                  <a:lnTo>
                    <a:pt x="112744" y="174765"/>
                  </a:lnTo>
                  <a:lnTo>
                    <a:pt x="112716" y="173170"/>
                  </a:lnTo>
                  <a:lnTo>
                    <a:pt x="112522" y="172069"/>
                  </a:lnTo>
                  <a:lnTo>
                    <a:pt x="111941" y="171298"/>
                  </a:lnTo>
                  <a:lnTo>
                    <a:pt x="109166" y="170640"/>
                  </a:lnTo>
                  <a:lnTo>
                    <a:pt x="106519" y="169511"/>
                  </a:lnTo>
                  <a:lnTo>
                    <a:pt x="96140" y="167967"/>
                  </a:lnTo>
                  <a:lnTo>
                    <a:pt x="93692" y="167361"/>
                  </a:lnTo>
                  <a:lnTo>
                    <a:pt x="89718" y="167677"/>
                  </a:lnTo>
                  <a:lnTo>
                    <a:pt x="88263" y="167635"/>
                  </a:lnTo>
                  <a:lnTo>
                    <a:pt x="87261" y="167081"/>
                  </a:lnTo>
                  <a:lnTo>
                    <a:pt x="86572" y="166129"/>
                  </a:lnTo>
                  <a:lnTo>
                    <a:pt x="86261" y="163106"/>
                  </a:lnTo>
                  <a:lnTo>
                    <a:pt x="86753" y="160110"/>
                  </a:lnTo>
                  <a:lnTo>
                    <a:pt x="87613" y="159318"/>
                  </a:lnTo>
                  <a:lnTo>
                    <a:pt x="88008" y="160221"/>
                  </a:lnTo>
                  <a:lnTo>
                    <a:pt x="89027" y="160634"/>
                  </a:lnTo>
                  <a:lnTo>
                    <a:pt x="89973" y="159724"/>
                  </a:lnTo>
                  <a:lnTo>
                    <a:pt x="89964" y="158350"/>
                  </a:lnTo>
                  <a:close/>
                  <a:moveTo>
                    <a:pt x="167536" y="152919"/>
                  </a:moveTo>
                  <a:lnTo>
                    <a:pt x="167180" y="155589"/>
                  </a:lnTo>
                  <a:lnTo>
                    <a:pt x="166078" y="157728"/>
                  </a:lnTo>
                  <a:lnTo>
                    <a:pt x="167221" y="159502"/>
                  </a:lnTo>
                  <a:lnTo>
                    <a:pt x="167767" y="161523"/>
                  </a:lnTo>
                  <a:lnTo>
                    <a:pt x="166495" y="161857"/>
                  </a:lnTo>
                  <a:lnTo>
                    <a:pt x="165651" y="163269"/>
                  </a:lnTo>
                  <a:lnTo>
                    <a:pt x="164794" y="162079"/>
                  </a:lnTo>
                  <a:lnTo>
                    <a:pt x="165163" y="160705"/>
                  </a:lnTo>
                  <a:lnTo>
                    <a:pt x="164165" y="158526"/>
                  </a:lnTo>
                  <a:lnTo>
                    <a:pt x="166053" y="155292"/>
                  </a:lnTo>
                  <a:lnTo>
                    <a:pt x="166096" y="153720"/>
                  </a:lnTo>
                  <a:close/>
                  <a:moveTo>
                    <a:pt x="73059" y="138689"/>
                  </a:moveTo>
                  <a:lnTo>
                    <a:pt x="74106" y="140102"/>
                  </a:lnTo>
                  <a:lnTo>
                    <a:pt x="76300" y="142164"/>
                  </a:lnTo>
                  <a:lnTo>
                    <a:pt x="75343" y="143599"/>
                  </a:lnTo>
                  <a:lnTo>
                    <a:pt x="75086" y="144696"/>
                  </a:lnTo>
                  <a:lnTo>
                    <a:pt x="72815" y="143942"/>
                  </a:lnTo>
                  <a:lnTo>
                    <a:pt x="72182" y="142810"/>
                  </a:lnTo>
                  <a:lnTo>
                    <a:pt x="72068" y="140299"/>
                  </a:lnTo>
                  <a:lnTo>
                    <a:pt x="72664" y="139074"/>
                  </a:lnTo>
                  <a:close/>
                  <a:moveTo>
                    <a:pt x="189841" y="137431"/>
                  </a:moveTo>
                  <a:lnTo>
                    <a:pt x="189801" y="139035"/>
                  </a:lnTo>
                  <a:lnTo>
                    <a:pt x="187899" y="143092"/>
                  </a:lnTo>
                  <a:lnTo>
                    <a:pt x="186211" y="145117"/>
                  </a:lnTo>
                  <a:lnTo>
                    <a:pt x="186655" y="146743"/>
                  </a:lnTo>
                  <a:lnTo>
                    <a:pt x="183952" y="147193"/>
                  </a:lnTo>
                  <a:lnTo>
                    <a:pt x="181238" y="150175"/>
                  </a:lnTo>
                  <a:lnTo>
                    <a:pt x="179642" y="150705"/>
                  </a:lnTo>
                  <a:lnTo>
                    <a:pt x="179091" y="150636"/>
                  </a:lnTo>
                  <a:lnTo>
                    <a:pt x="178424" y="149468"/>
                  </a:lnTo>
                  <a:lnTo>
                    <a:pt x="179348" y="146645"/>
                  </a:lnTo>
                  <a:lnTo>
                    <a:pt x="178493" y="144829"/>
                  </a:lnTo>
                  <a:lnTo>
                    <a:pt x="178441" y="144059"/>
                  </a:lnTo>
                  <a:lnTo>
                    <a:pt x="179726" y="142993"/>
                  </a:lnTo>
                  <a:lnTo>
                    <a:pt x="180629" y="141396"/>
                  </a:lnTo>
                  <a:lnTo>
                    <a:pt x="182822" y="139667"/>
                  </a:lnTo>
                  <a:lnTo>
                    <a:pt x="188506" y="137619"/>
                  </a:lnTo>
                  <a:close/>
                  <a:moveTo>
                    <a:pt x="127421" y="136416"/>
                  </a:moveTo>
                  <a:lnTo>
                    <a:pt x="128713" y="137395"/>
                  </a:lnTo>
                  <a:lnTo>
                    <a:pt x="129045" y="138469"/>
                  </a:lnTo>
                  <a:lnTo>
                    <a:pt x="128017" y="139799"/>
                  </a:lnTo>
                  <a:lnTo>
                    <a:pt x="126570" y="139322"/>
                  </a:lnTo>
                  <a:lnTo>
                    <a:pt x="127160" y="138816"/>
                  </a:lnTo>
                  <a:lnTo>
                    <a:pt x="127508" y="138159"/>
                  </a:lnTo>
                  <a:lnTo>
                    <a:pt x="127546" y="137212"/>
                  </a:lnTo>
                  <a:lnTo>
                    <a:pt x="127154" y="136629"/>
                  </a:lnTo>
                  <a:close/>
                  <a:moveTo>
                    <a:pt x="148672" y="132238"/>
                  </a:moveTo>
                  <a:lnTo>
                    <a:pt x="149805" y="132602"/>
                  </a:lnTo>
                  <a:lnTo>
                    <a:pt x="150676" y="133587"/>
                  </a:lnTo>
                  <a:lnTo>
                    <a:pt x="148929" y="134192"/>
                  </a:lnTo>
                  <a:lnTo>
                    <a:pt x="147819" y="135462"/>
                  </a:lnTo>
                  <a:lnTo>
                    <a:pt x="146461" y="134562"/>
                  </a:lnTo>
                  <a:lnTo>
                    <a:pt x="146456" y="133333"/>
                  </a:lnTo>
                  <a:lnTo>
                    <a:pt x="147942" y="133709"/>
                  </a:lnTo>
                  <a:lnTo>
                    <a:pt x="148985" y="133017"/>
                  </a:lnTo>
                  <a:close/>
                  <a:moveTo>
                    <a:pt x="181674" y="132173"/>
                  </a:moveTo>
                  <a:lnTo>
                    <a:pt x="181836" y="132646"/>
                  </a:lnTo>
                  <a:lnTo>
                    <a:pt x="181818" y="133656"/>
                  </a:lnTo>
                  <a:lnTo>
                    <a:pt x="181622" y="134385"/>
                  </a:lnTo>
                  <a:lnTo>
                    <a:pt x="181138" y="134788"/>
                  </a:lnTo>
                  <a:lnTo>
                    <a:pt x="180028" y="133630"/>
                  </a:lnTo>
                  <a:lnTo>
                    <a:pt x="179976" y="133026"/>
                  </a:lnTo>
                  <a:lnTo>
                    <a:pt x="181106" y="132333"/>
                  </a:lnTo>
                  <a:close/>
                  <a:moveTo>
                    <a:pt x="108112" y="129062"/>
                  </a:moveTo>
                  <a:lnTo>
                    <a:pt x="108151" y="130553"/>
                  </a:lnTo>
                  <a:lnTo>
                    <a:pt x="108000" y="131087"/>
                  </a:lnTo>
                  <a:lnTo>
                    <a:pt x="103474" y="131806"/>
                  </a:lnTo>
                  <a:lnTo>
                    <a:pt x="103893" y="130097"/>
                  </a:lnTo>
                  <a:lnTo>
                    <a:pt x="104169" y="129557"/>
                  </a:lnTo>
                  <a:lnTo>
                    <a:pt x="105668" y="130352"/>
                  </a:lnTo>
                  <a:lnTo>
                    <a:pt x="106220" y="129946"/>
                  </a:lnTo>
                  <a:lnTo>
                    <a:pt x="106445" y="129476"/>
                  </a:lnTo>
                  <a:close/>
                  <a:moveTo>
                    <a:pt x="124921" y="128417"/>
                  </a:moveTo>
                  <a:lnTo>
                    <a:pt x="127376" y="130240"/>
                  </a:lnTo>
                  <a:lnTo>
                    <a:pt x="126819" y="131339"/>
                  </a:lnTo>
                  <a:lnTo>
                    <a:pt x="126434" y="131737"/>
                  </a:lnTo>
                  <a:lnTo>
                    <a:pt x="124761" y="130134"/>
                  </a:lnTo>
                  <a:lnTo>
                    <a:pt x="124126" y="129197"/>
                  </a:lnTo>
                  <a:close/>
                  <a:moveTo>
                    <a:pt x="168476" y="125472"/>
                  </a:moveTo>
                  <a:lnTo>
                    <a:pt x="170389" y="126393"/>
                  </a:lnTo>
                  <a:lnTo>
                    <a:pt x="166873" y="127910"/>
                  </a:lnTo>
                  <a:lnTo>
                    <a:pt x="165940" y="128712"/>
                  </a:lnTo>
                  <a:lnTo>
                    <a:pt x="163345" y="128885"/>
                  </a:lnTo>
                  <a:lnTo>
                    <a:pt x="161488" y="129993"/>
                  </a:lnTo>
                  <a:lnTo>
                    <a:pt x="160797" y="130023"/>
                  </a:lnTo>
                  <a:lnTo>
                    <a:pt x="161619" y="128797"/>
                  </a:lnTo>
                  <a:lnTo>
                    <a:pt x="163954" y="127117"/>
                  </a:lnTo>
                  <a:lnTo>
                    <a:pt x="167355" y="125637"/>
                  </a:lnTo>
                  <a:close/>
                  <a:moveTo>
                    <a:pt x="140505" y="124652"/>
                  </a:moveTo>
                  <a:lnTo>
                    <a:pt x="141915" y="125533"/>
                  </a:lnTo>
                  <a:lnTo>
                    <a:pt x="140151" y="126118"/>
                  </a:lnTo>
                  <a:lnTo>
                    <a:pt x="137380" y="128386"/>
                  </a:lnTo>
                  <a:lnTo>
                    <a:pt x="135428" y="128594"/>
                  </a:lnTo>
                  <a:lnTo>
                    <a:pt x="134811" y="128403"/>
                  </a:lnTo>
                  <a:lnTo>
                    <a:pt x="135996" y="127964"/>
                  </a:lnTo>
                  <a:lnTo>
                    <a:pt x="136828" y="127498"/>
                  </a:lnTo>
                  <a:lnTo>
                    <a:pt x="137227" y="126934"/>
                  </a:lnTo>
                  <a:lnTo>
                    <a:pt x="139207" y="125943"/>
                  </a:lnTo>
                  <a:close/>
                  <a:moveTo>
                    <a:pt x="112100" y="122454"/>
                  </a:moveTo>
                  <a:lnTo>
                    <a:pt x="113141" y="124351"/>
                  </a:lnTo>
                  <a:lnTo>
                    <a:pt x="112206" y="125057"/>
                  </a:lnTo>
                  <a:lnTo>
                    <a:pt x="111802" y="125168"/>
                  </a:lnTo>
                  <a:lnTo>
                    <a:pt x="111224" y="124096"/>
                  </a:lnTo>
                  <a:lnTo>
                    <a:pt x="111103" y="123096"/>
                  </a:lnTo>
                  <a:lnTo>
                    <a:pt x="111334" y="122510"/>
                  </a:lnTo>
                  <a:close/>
                  <a:moveTo>
                    <a:pt x="160140" y="120840"/>
                  </a:moveTo>
                  <a:lnTo>
                    <a:pt x="161864" y="121735"/>
                  </a:lnTo>
                  <a:lnTo>
                    <a:pt x="162956" y="122814"/>
                  </a:lnTo>
                  <a:lnTo>
                    <a:pt x="163489" y="123020"/>
                  </a:lnTo>
                  <a:lnTo>
                    <a:pt x="163366" y="123671"/>
                  </a:lnTo>
                  <a:lnTo>
                    <a:pt x="163038" y="124102"/>
                  </a:lnTo>
                  <a:lnTo>
                    <a:pt x="160831" y="124453"/>
                  </a:lnTo>
                  <a:lnTo>
                    <a:pt x="161224" y="122434"/>
                  </a:lnTo>
                  <a:close/>
                  <a:moveTo>
                    <a:pt x="123575" y="119280"/>
                  </a:moveTo>
                  <a:lnTo>
                    <a:pt x="124465" y="119553"/>
                  </a:lnTo>
                  <a:lnTo>
                    <a:pt x="124381" y="120919"/>
                  </a:lnTo>
                  <a:lnTo>
                    <a:pt x="124545" y="121320"/>
                  </a:lnTo>
                  <a:lnTo>
                    <a:pt x="122787" y="123281"/>
                  </a:lnTo>
                  <a:lnTo>
                    <a:pt x="121325" y="123069"/>
                  </a:lnTo>
                  <a:lnTo>
                    <a:pt x="120710" y="122171"/>
                  </a:lnTo>
                  <a:lnTo>
                    <a:pt x="121617" y="120327"/>
                  </a:lnTo>
                  <a:close/>
                  <a:moveTo>
                    <a:pt x="129993" y="118062"/>
                  </a:moveTo>
                  <a:lnTo>
                    <a:pt x="130857" y="118349"/>
                  </a:lnTo>
                  <a:lnTo>
                    <a:pt x="131377" y="119179"/>
                  </a:lnTo>
                  <a:lnTo>
                    <a:pt x="131297" y="122060"/>
                  </a:lnTo>
                  <a:lnTo>
                    <a:pt x="130449" y="123885"/>
                  </a:lnTo>
                  <a:lnTo>
                    <a:pt x="128477" y="124848"/>
                  </a:lnTo>
                  <a:lnTo>
                    <a:pt x="127132" y="123458"/>
                  </a:lnTo>
                  <a:lnTo>
                    <a:pt x="126380" y="121269"/>
                  </a:lnTo>
                  <a:close/>
                  <a:moveTo>
                    <a:pt x="106963" y="117710"/>
                  </a:moveTo>
                  <a:lnTo>
                    <a:pt x="107965" y="118165"/>
                  </a:lnTo>
                  <a:lnTo>
                    <a:pt x="108116" y="118793"/>
                  </a:lnTo>
                  <a:lnTo>
                    <a:pt x="107842" y="119877"/>
                  </a:lnTo>
                  <a:lnTo>
                    <a:pt x="107024" y="120260"/>
                  </a:lnTo>
                  <a:lnTo>
                    <a:pt x="105659" y="119702"/>
                  </a:lnTo>
                  <a:lnTo>
                    <a:pt x="106022" y="118304"/>
                  </a:lnTo>
                  <a:close/>
                  <a:moveTo>
                    <a:pt x="105802" y="110953"/>
                  </a:moveTo>
                  <a:lnTo>
                    <a:pt x="106184" y="111607"/>
                  </a:lnTo>
                  <a:lnTo>
                    <a:pt x="106912" y="112667"/>
                  </a:lnTo>
                  <a:lnTo>
                    <a:pt x="105901" y="114289"/>
                  </a:lnTo>
                  <a:lnTo>
                    <a:pt x="104644" y="115062"/>
                  </a:lnTo>
                  <a:lnTo>
                    <a:pt x="105061" y="113294"/>
                  </a:lnTo>
                  <a:lnTo>
                    <a:pt x="104441" y="112371"/>
                  </a:lnTo>
                  <a:lnTo>
                    <a:pt x="104996" y="111586"/>
                  </a:lnTo>
                  <a:close/>
                  <a:moveTo>
                    <a:pt x="116311" y="110092"/>
                  </a:moveTo>
                  <a:lnTo>
                    <a:pt x="117114" y="110485"/>
                  </a:lnTo>
                  <a:lnTo>
                    <a:pt x="117004" y="113135"/>
                  </a:lnTo>
                  <a:lnTo>
                    <a:pt x="116421" y="113112"/>
                  </a:lnTo>
                  <a:lnTo>
                    <a:pt x="116082" y="112703"/>
                  </a:lnTo>
                  <a:lnTo>
                    <a:pt x="116063" y="111689"/>
                  </a:lnTo>
                  <a:close/>
                  <a:moveTo>
                    <a:pt x="126076" y="110085"/>
                  </a:moveTo>
                  <a:lnTo>
                    <a:pt x="128615" y="111057"/>
                  </a:lnTo>
                  <a:lnTo>
                    <a:pt x="128492" y="111670"/>
                  </a:lnTo>
                  <a:lnTo>
                    <a:pt x="127283" y="112383"/>
                  </a:lnTo>
                  <a:lnTo>
                    <a:pt x="125169" y="112540"/>
                  </a:lnTo>
                  <a:lnTo>
                    <a:pt x="125292" y="110592"/>
                  </a:lnTo>
                  <a:close/>
                  <a:moveTo>
                    <a:pt x="148259" y="105865"/>
                  </a:moveTo>
                  <a:lnTo>
                    <a:pt x="147054" y="107265"/>
                  </a:lnTo>
                  <a:lnTo>
                    <a:pt x="145020" y="108570"/>
                  </a:lnTo>
                  <a:lnTo>
                    <a:pt x="141138" y="109568"/>
                  </a:lnTo>
                  <a:lnTo>
                    <a:pt x="140101" y="109666"/>
                  </a:lnTo>
                  <a:lnTo>
                    <a:pt x="140418" y="108645"/>
                  </a:lnTo>
                  <a:lnTo>
                    <a:pt x="142399" y="106873"/>
                  </a:lnTo>
                  <a:lnTo>
                    <a:pt x="145167" y="106786"/>
                  </a:lnTo>
                  <a:lnTo>
                    <a:pt x="147689" y="105898"/>
                  </a:lnTo>
                  <a:close/>
                  <a:moveTo>
                    <a:pt x="119248" y="105703"/>
                  </a:moveTo>
                  <a:lnTo>
                    <a:pt x="120408" y="106538"/>
                  </a:lnTo>
                  <a:lnTo>
                    <a:pt x="123362" y="106981"/>
                  </a:lnTo>
                  <a:lnTo>
                    <a:pt x="124035" y="107775"/>
                  </a:lnTo>
                  <a:lnTo>
                    <a:pt x="123215" y="109423"/>
                  </a:lnTo>
                  <a:lnTo>
                    <a:pt x="121835" y="109169"/>
                  </a:lnTo>
                  <a:lnTo>
                    <a:pt x="119527" y="107396"/>
                  </a:lnTo>
                  <a:lnTo>
                    <a:pt x="118738" y="106591"/>
                  </a:lnTo>
                  <a:lnTo>
                    <a:pt x="118300" y="105799"/>
                  </a:lnTo>
                  <a:close/>
                  <a:moveTo>
                    <a:pt x="104648" y="105651"/>
                  </a:moveTo>
                  <a:lnTo>
                    <a:pt x="105128" y="106512"/>
                  </a:lnTo>
                  <a:lnTo>
                    <a:pt x="104136" y="108356"/>
                  </a:lnTo>
                  <a:lnTo>
                    <a:pt x="102655" y="109597"/>
                  </a:lnTo>
                  <a:lnTo>
                    <a:pt x="102401" y="107736"/>
                  </a:lnTo>
                  <a:lnTo>
                    <a:pt x="103350" y="105778"/>
                  </a:lnTo>
                  <a:close/>
                  <a:moveTo>
                    <a:pt x="158719" y="102358"/>
                  </a:moveTo>
                  <a:lnTo>
                    <a:pt x="161438" y="103201"/>
                  </a:lnTo>
                  <a:lnTo>
                    <a:pt x="162194" y="103111"/>
                  </a:lnTo>
                  <a:lnTo>
                    <a:pt x="163479" y="103417"/>
                  </a:lnTo>
                  <a:lnTo>
                    <a:pt x="163820" y="104971"/>
                  </a:lnTo>
                  <a:lnTo>
                    <a:pt x="162118" y="105196"/>
                  </a:lnTo>
                  <a:lnTo>
                    <a:pt x="159173" y="106622"/>
                  </a:lnTo>
                  <a:lnTo>
                    <a:pt x="157920" y="106309"/>
                  </a:lnTo>
                  <a:lnTo>
                    <a:pt x="156422" y="105069"/>
                  </a:lnTo>
                  <a:lnTo>
                    <a:pt x="154042" y="104940"/>
                  </a:lnTo>
                  <a:lnTo>
                    <a:pt x="153338" y="104602"/>
                  </a:lnTo>
                  <a:lnTo>
                    <a:pt x="154612" y="103140"/>
                  </a:lnTo>
                  <a:lnTo>
                    <a:pt x="156927" y="102400"/>
                  </a:lnTo>
                  <a:close/>
                  <a:moveTo>
                    <a:pt x="23108" y="99333"/>
                  </a:moveTo>
                  <a:lnTo>
                    <a:pt x="24593" y="101294"/>
                  </a:lnTo>
                  <a:lnTo>
                    <a:pt x="26388" y="101608"/>
                  </a:lnTo>
                  <a:lnTo>
                    <a:pt x="27463" y="102513"/>
                  </a:lnTo>
                  <a:lnTo>
                    <a:pt x="29795" y="105004"/>
                  </a:lnTo>
                  <a:lnTo>
                    <a:pt x="27919" y="104387"/>
                  </a:lnTo>
                  <a:lnTo>
                    <a:pt x="25917" y="106110"/>
                  </a:lnTo>
                  <a:lnTo>
                    <a:pt x="23380" y="104097"/>
                  </a:lnTo>
                  <a:lnTo>
                    <a:pt x="21860" y="102058"/>
                  </a:lnTo>
                  <a:lnTo>
                    <a:pt x="21516" y="101241"/>
                  </a:lnTo>
                  <a:close/>
                  <a:moveTo>
                    <a:pt x="113744" y="97780"/>
                  </a:moveTo>
                  <a:lnTo>
                    <a:pt x="115173" y="99739"/>
                  </a:lnTo>
                  <a:lnTo>
                    <a:pt x="117412" y="99967"/>
                  </a:lnTo>
                  <a:lnTo>
                    <a:pt x="117238" y="101174"/>
                  </a:lnTo>
                  <a:lnTo>
                    <a:pt x="117946" y="102729"/>
                  </a:lnTo>
                  <a:lnTo>
                    <a:pt x="118194" y="103684"/>
                  </a:lnTo>
                  <a:lnTo>
                    <a:pt x="117542" y="105403"/>
                  </a:lnTo>
                  <a:lnTo>
                    <a:pt x="115814" y="103405"/>
                  </a:lnTo>
                  <a:lnTo>
                    <a:pt x="113923" y="102035"/>
                  </a:lnTo>
                  <a:lnTo>
                    <a:pt x="113215" y="100840"/>
                  </a:lnTo>
                  <a:lnTo>
                    <a:pt x="112062" y="100118"/>
                  </a:lnTo>
                  <a:lnTo>
                    <a:pt x="111748" y="98509"/>
                  </a:lnTo>
                  <a:lnTo>
                    <a:pt x="113146" y="97847"/>
                  </a:lnTo>
                  <a:close/>
                  <a:moveTo>
                    <a:pt x="84849" y="97755"/>
                  </a:moveTo>
                  <a:lnTo>
                    <a:pt x="85553" y="97885"/>
                  </a:lnTo>
                  <a:lnTo>
                    <a:pt x="85981" y="98290"/>
                  </a:lnTo>
                  <a:lnTo>
                    <a:pt x="86337" y="99426"/>
                  </a:lnTo>
                  <a:lnTo>
                    <a:pt x="85462" y="100060"/>
                  </a:lnTo>
                  <a:lnTo>
                    <a:pt x="84475" y="100028"/>
                  </a:lnTo>
                  <a:lnTo>
                    <a:pt x="83778" y="99795"/>
                  </a:lnTo>
                  <a:lnTo>
                    <a:pt x="83426" y="99289"/>
                  </a:lnTo>
                  <a:lnTo>
                    <a:pt x="83862" y="99047"/>
                  </a:lnTo>
                  <a:lnTo>
                    <a:pt x="84374" y="98030"/>
                  </a:lnTo>
                  <a:close/>
                  <a:moveTo>
                    <a:pt x="20270" y="85327"/>
                  </a:moveTo>
                  <a:lnTo>
                    <a:pt x="21357" y="87684"/>
                  </a:lnTo>
                  <a:lnTo>
                    <a:pt x="21631" y="90652"/>
                  </a:lnTo>
                  <a:lnTo>
                    <a:pt x="23190" y="91209"/>
                  </a:lnTo>
                  <a:lnTo>
                    <a:pt x="25261" y="93882"/>
                  </a:lnTo>
                  <a:lnTo>
                    <a:pt x="25082" y="95249"/>
                  </a:lnTo>
                  <a:lnTo>
                    <a:pt x="24652" y="95717"/>
                  </a:lnTo>
                  <a:lnTo>
                    <a:pt x="21221" y="94456"/>
                  </a:lnTo>
                  <a:lnTo>
                    <a:pt x="20398" y="95022"/>
                  </a:lnTo>
                  <a:lnTo>
                    <a:pt x="19394" y="94792"/>
                  </a:lnTo>
                  <a:lnTo>
                    <a:pt x="18774" y="93316"/>
                  </a:lnTo>
                  <a:lnTo>
                    <a:pt x="18845" y="92797"/>
                  </a:lnTo>
                  <a:lnTo>
                    <a:pt x="18284" y="91913"/>
                  </a:lnTo>
                  <a:lnTo>
                    <a:pt x="17815" y="91518"/>
                  </a:lnTo>
                  <a:lnTo>
                    <a:pt x="16464" y="92692"/>
                  </a:lnTo>
                  <a:lnTo>
                    <a:pt x="15612" y="92912"/>
                  </a:lnTo>
                  <a:lnTo>
                    <a:pt x="15606" y="91837"/>
                  </a:lnTo>
                  <a:lnTo>
                    <a:pt x="16854" y="88881"/>
                  </a:lnTo>
                  <a:lnTo>
                    <a:pt x="17437" y="88382"/>
                  </a:lnTo>
                  <a:lnTo>
                    <a:pt x="18463" y="89358"/>
                  </a:lnTo>
                  <a:lnTo>
                    <a:pt x="19307" y="88995"/>
                  </a:lnTo>
                  <a:lnTo>
                    <a:pt x="19942" y="87396"/>
                  </a:lnTo>
                  <a:lnTo>
                    <a:pt x="19985" y="85801"/>
                  </a:lnTo>
                  <a:close/>
                  <a:moveTo>
                    <a:pt x="22184" y="85094"/>
                  </a:moveTo>
                  <a:lnTo>
                    <a:pt x="22739" y="85292"/>
                  </a:lnTo>
                  <a:lnTo>
                    <a:pt x="23324" y="85933"/>
                  </a:lnTo>
                  <a:lnTo>
                    <a:pt x="23319" y="86588"/>
                  </a:lnTo>
                  <a:lnTo>
                    <a:pt x="23553" y="87290"/>
                  </a:lnTo>
                  <a:lnTo>
                    <a:pt x="24162" y="88136"/>
                  </a:lnTo>
                  <a:lnTo>
                    <a:pt x="24593" y="89070"/>
                  </a:lnTo>
                  <a:lnTo>
                    <a:pt x="23501" y="89348"/>
                  </a:lnTo>
                  <a:lnTo>
                    <a:pt x="22110" y="86887"/>
                  </a:lnTo>
                  <a:lnTo>
                    <a:pt x="21607" y="85189"/>
                  </a:lnTo>
                  <a:close/>
                  <a:moveTo>
                    <a:pt x="140766" y="82063"/>
                  </a:moveTo>
                  <a:lnTo>
                    <a:pt x="142932" y="83533"/>
                  </a:lnTo>
                  <a:lnTo>
                    <a:pt x="144036" y="83634"/>
                  </a:lnTo>
                  <a:lnTo>
                    <a:pt x="143612" y="85038"/>
                  </a:lnTo>
                  <a:lnTo>
                    <a:pt x="143798" y="85494"/>
                  </a:lnTo>
                  <a:lnTo>
                    <a:pt x="143962" y="89751"/>
                  </a:lnTo>
                  <a:lnTo>
                    <a:pt x="142939" y="90350"/>
                  </a:lnTo>
                  <a:lnTo>
                    <a:pt x="142770" y="91518"/>
                  </a:lnTo>
                  <a:lnTo>
                    <a:pt x="142569" y="91932"/>
                  </a:lnTo>
                  <a:lnTo>
                    <a:pt x="140458" y="93383"/>
                  </a:lnTo>
                  <a:lnTo>
                    <a:pt x="138100" y="91283"/>
                  </a:lnTo>
                  <a:lnTo>
                    <a:pt x="137711" y="90607"/>
                  </a:lnTo>
                  <a:lnTo>
                    <a:pt x="139442" y="89759"/>
                  </a:lnTo>
                  <a:lnTo>
                    <a:pt x="140300" y="88451"/>
                  </a:lnTo>
                  <a:lnTo>
                    <a:pt x="139604" y="86844"/>
                  </a:lnTo>
                  <a:lnTo>
                    <a:pt x="137201" y="84466"/>
                  </a:lnTo>
                  <a:lnTo>
                    <a:pt x="137087" y="82776"/>
                  </a:lnTo>
                  <a:close/>
                  <a:moveTo>
                    <a:pt x="23166" y="75808"/>
                  </a:moveTo>
                  <a:lnTo>
                    <a:pt x="23730" y="76971"/>
                  </a:lnTo>
                  <a:lnTo>
                    <a:pt x="23624" y="81119"/>
                  </a:lnTo>
                  <a:lnTo>
                    <a:pt x="23002" y="81883"/>
                  </a:lnTo>
                  <a:lnTo>
                    <a:pt x="22143" y="82082"/>
                  </a:lnTo>
                  <a:lnTo>
                    <a:pt x="21402" y="81946"/>
                  </a:lnTo>
                  <a:lnTo>
                    <a:pt x="20730" y="82063"/>
                  </a:lnTo>
                  <a:lnTo>
                    <a:pt x="20083" y="82556"/>
                  </a:lnTo>
                  <a:lnTo>
                    <a:pt x="20154" y="80513"/>
                  </a:lnTo>
                  <a:lnTo>
                    <a:pt x="20918" y="77978"/>
                  </a:lnTo>
                  <a:lnTo>
                    <a:pt x="21851" y="76496"/>
                  </a:lnTo>
                  <a:close/>
                  <a:moveTo>
                    <a:pt x="107004" y="72294"/>
                  </a:moveTo>
                  <a:lnTo>
                    <a:pt x="108738" y="73277"/>
                  </a:lnTo>
                  <a:lnTo>
                    <a:pt x="109118" y="74914"/>
                  </a:lnTo>
                  <a:lnTo>
                    <a:pt x="111185" y="76712"/>
                  </a:lnTo>
                  <a:lnTo>
                    <a:pt x="108848" y="77341"/>
                  </a:lnTo>
                  <a:lnTo>
                    <a:pt x="108228" y="77242"/>
                  </a:lnTo>
                  <a:lnTo>
                    <a:pt x="108749" y="76448"/>
                  </a:lnTo>
                  <a:lnTo>
                    <a:pt x="108790" y="76114"/>
                  </a:lnTo>
                  <a:lnTo>
                    <a:pt x="106460" y="74662"/>
                  </a:lnTo>
                  <a:lnTo>
                    <a:pt x="106734" y="72775"/>
                  </a:lnTo>
                  <a:close/>
                  <a:moveTo>
                    <a:pt x="81068" y="70881"/>
                  </a:moveTo>
                  <a:lnTo>
                    <a:pt x="83340" y="72853"/>
                  </a:lnTo>
                  <a:lnTo>
                    <a:pt x="84590" y="75656"/>
                  </a:lnTo>
                  <a:lnTo>
                    <a:pt x="85762" y="76602"/>
                  </a:lnTo>
                  <a:lnTo>
                    <a:pt x="88222" y="77718"/>
                  </a:lnTo>
                  <a:lnTo>
                    <a:pt x="89377" y="77860"/>
                  </a:lnTo>
                  <a:lnTo>
                    <a:pt x="93573" y="79875"/>
                  </a:lnTo>
                  <a:lnTo>
                    <a:pt x="98455" y="80277"/>
                  </a:lnTo>
                  <a:lnTo>
                    <a:pt x="99086" y="80857"/>
                  </a:lnTo>
                  <a:lnTo>
                    <a:pt x="99686" y="82409"/>
                  </a:lnTo>
                  <a:lnTo>
                    <a:pt x="100682" y="83626"/>
                  </a:lnTo>
                  <a:lnTo>
                    <a:pt x="100932" y="84573"/>
                  </a:lnTo>
                  <a:lnTo>
                    <a:pt x="100412" y="85623"/>
                  </a:lnTo>
                  <a:lnTo>
                    <a:pt x="101133" y="88834"/>
                  </a:lnTo>
                  <a:lnTo>
                    <a:pt x="102364" y="91881"/>
                  </a:lnTo>
                  <a:lnTo>
                    <a:pt x="104219" y="93358"/>
                  </a:lnTo>
                  <a:lnTo>
                    <a:pt x="106525" y="93804"/>
                  </a:lnTo>
                  <a:lnTo>
                    <a:pt x="108721" y="93743"/>
                  </a:lnTo>
                  <a:lnTo>
                    <a:pt x="109276" y="94347"/>
                  </a:lnTo>
                  <a:lnTo>
                    <a:pt x="109058" y="97010"/>
                  </a:lnTo>
                  <a:lnTo>
                    <a:pt x="108129" y="98046"/>
                  </a:lnTo>
                  <a:lnTo>
                    <a:pt x="107374" y="98298"/>
                  </a:lnTo>
                  <a:lnTo>
                    <a:pt x="106717" y="98026"/>
                  </a:lnTo>
                  <a:lnTo>
                    <a:pt x="106123" y="97399"/>
                  </a:lnTo>
                  <a:lnTo>
                    <a:pt x="105476" y="97103"/>
                  </a:lnTo>
                  <a:lnTo>
                    <a:pt x="104214" y="97051"/>
                  </a:lnTo>
                  <a:lnTo>
                    <a:pt x="103292" y="95979"/>
                  </a:lnTo>
                  <a:lnTo>
                    <a:pt x="100954" y="94512"/>
                  </a:lnTo>
                  <a:lnTo>
                    <a:pt x="100524" y="93637"/>
                  </a:lnTo>
                  <a:lnTo>
                    <a:pt x="100446" y="92285"/>
                  </a:lnTo>
                  <a:lnTo>
                    <a:pt x="99453" y="91289"/>
                  </a:lnTo>
                  <a:lnTo>
                    <a:pt x="98540" y="89393"/>
                  </a:lnTo>
                  <a:lnTo>
                    <a:pt x="97671" y="88870"/>
                  </a:lnTo>
                  <a:lnTo>
                    <a:pt x="97192" y="87921"/>
                  </a:lnTo>
                  <a:lnTo>
                    <a:pt x="97153" y="87513"/>
                  </a:lnTo>
                  <a:lnTo>
                    <a:pt x="93750" y="87237"/>
                  </a:lnTo>
                  <a:lnTo>
                    <a:pt x="90932" y="87224"/>
                  </a:lnTo>
                  <a:lnTo>
                    <a:pt x="88544" y="86147"/>
                  </a:lnTo>
                  <a:lnTo>
                    <a:pt x="87805" y="83329"/>
                  </a:lnTo>
                  <a:lnTo>
                    <a:pt x="86389" y="82571"/>
                  </a:lnTo>
                  <a:lnTo>
                    <a:pt x="85326" y="81773"/>
                  </a:lnTo>
                  <a:lnTo>
                    <a:pt x="84441" y="80667"/>
                  </a:lnTo>
                  <a:lnTo>
                    <a:pt x="82204" y="78627"/>
                  </a:lnTo>
                  <a:lnTo>
                    <a:pt x="79729" y="76918"/>
                  </a:lnTo>
                  <a:lnTo>
                    <a:pt x="77337" y="75793"/>
                  </a:lnTo>
                  <a:lnTo>
                    <a:pt x="74797" y="75055"/>
                  </a:lnTo>
                  <a:lnTo>
                    <a:pt x="72733" y="75926"/>
                  </a:lnTo>
                  <a:lnTo>
                    <a:pt x="71530" y="75719"/>
                  </a:lnTo>
                  <a:lnTo>
                    <a:pt x="71286" y="75130"/>
                  </a:lnTo>
                  <a:lnTo>
                    <a:pt x="73851" y="73957"/>
                  </a:lnTo>
                  <a:lnTo>
                    <a:pt x="77378" y="71714"/>
                  </a:lnTo>
                  <a:lnTo>
                    <a:pt x="79863" y="70973"/>
                  </a:lnTo>
                  <a:close/>
                  <a:moveTo>
                    <a:pt x="87287" y="66387"/>
                  </a:moveTo>
                  <a:lnTo>
                    <a:pt x="91396" y="68825"/>
                  </a:lnTo>
                  <a:lnTo>
                    <a:pt x="90409" y="69700"/>
                  </a:lnTo>
                  <a:lnTo>
                    <a:pt x="88883" y="69317"/>
                  </a:lnTo>
                  <a:close/>
                  <a:moveTo>
                    <a:pt x="95622" y="64855"/>
                  </a:moveTo>
                  <a:lnTo>
                    <a:pt x="94933" y="66595"/>
                  </a:lnTo>
                  <a:lnTo>
                    <a:pt x="93789" y="67688"/>
                  </a:lnTo>
                  <a:lnTo>
                    <a:pt x="92755" y="67992"/>
                  </a:lnTo>
                  <a:lnTo>
                    <a:pt x="93791" y="65926"/>
                  </a:lnTo>
                  <a:close/>
                  <a:moveTo>
                    <a:pt x="148180" y="61866"/>
                  </a:moveTo>
                  <a:lnTo>
                    <a:pt x="149559" y="63255"/>
                  </a:lnTo>
                  <a:lnTo>
                    <a:pt x="149175" y="64793"/>
                  </a:lnTo>
                  <a:lnTo>
                    <a:pt x="152233" y="67340"/>
                  </a:lnTo>
                  <a:lnTo>
                    <a:pt x="153276" y="68951"/>
                  </a:lnTo>
                  <a:lnTo>
                    <a:pt x="153660" y="70521"/>
                  </a:lnTo>
                  <a:lnTo>
                    <a:pt x="153403" y="70971"/>
                  </a:lnTo>
                  <a:lnTo>
                    <a:pt x="152243" y="70120"/>
                  </a:lnTo>
                  <a:lnTo>
                    <a:pt x="151296" y="69849"/>
                  </a:lnTo>
                  <a:lnTo>
                    <a:pt x="151615" y="70971"/>
                  </a:lnTo>
                  <a:lnTo>
                    <a:pt x="152589" y="71935"/>
                  </a:lnTo>
                  <a:lnTo>
                    <a:pt x="150855" y="72487"/>
                  </a:lnTo>
                  <a:lnTo>
                    <a:pt x="149117" y="72458"/>
                  </a:lnTo>
                  <a:lnTo>
                    <a:pt x="144046" y="71115"/>
                  </a:lnTo>
                  <a:lnTo>
                    <a:pt x="142876" y="69688"/>
                  </a:lnTo>
                  <a:lnTo>
                    <a:pt x="145910" y="67538"/>
                  </a:lnTo>
                  <a:lnTo>
                    <a:pt x="146530" y="66672"/>
                  </a:lnTo>
                  <a:lnTo>
                    <a:pt x="144381" y="66757"/>
                  </a:lnTo>
                  <a:lnTo>
                    <a:pt x="142090" y="69311"/>
                  </a:lnTo>
                  <a:lnTo>
                    <a:pt x="138417" y="68189"/>
                  </a:lnTo>
                  <a:lnTo>
                    <a:pt x="137294" y="67162"/>
                  </a:lnTo>
                  <a:lnTo>
                    <a:pt x="137043" y="66608"/>
                  </a:lnTo>
                  <a:lnTo>
                    <a:pt x="138490" y="64341"/>
                  </a:lnTo>
                  <a:lnTo>
                    <a:pt x="141075" y="64417"/>
                  </a:lnTo>
                  <a:lnTo>
                    <a:pt x="142444" y="63907"/>
                  </a:lnTo>
                  <a:lnTo>
                    <a:pt x="144135" y="63190"/>
                  </a:lnTo>
                  <a:lnTo>
                    <a:pt x="144148" y="62112"/>
                  </a:lnTo>
                  <a:close/>
                  <a:moveTo>
                    <a:pt x="4248" y="50509"/>
                  </a:moveTo>
                  <a:lnTo>
                    <a:pt x="5422" y="51103"/>
                  </a:lnTo>
                  <a:lnTo>
                    <a:pt x="6182" y="51716"/>
                  </a:lnTo>
                  <a:lnTo>
                    <a:pt x="6420" y="52418"/>
                  </a:lnTo>
                  <a:lnTo>
                    <a:pt x="4770" y="53826"/>
                  </a:lnTo>
                  <a:lnTo>
                    <a:pt x="4427" y="54463"/>
                  </a:lnTo>
                  <a:lnTo>
                    <a:pt x="5697" y="55727"/>
                  </a:lnTo>
                  <a:lnTo>
                    <a:pt x="5675" y="56233"/>
                  </a:lnTo>
                  <a:lnTo>
                    <a:pt x="6211" y="58677"/>
                  </a:lnTo>
                  <a:lnTo>
                    <a:pt x="6828" y="59599"/>
                  </a:lnTo>
                  <a:lnTo>
                    <a:pt x="8430" y="60334"/>
                  </a:lnTo>
                  <a:lnTo>
                    <a:pt x="9540" y="60577"/>
                  </a:lnTo>
                  <a:lnTo>
                    <a:pt x="10020" y="62032"/>
                  </a:lnTo>
                  <a:lnTo>
                    <a:pt x="7265" y="61129"/>
                  </a:lnTo>
                  <a:lnTo>
                    <a:pt x="5252" y="59829"/>
                  </a:lnTo>
                  <a:lnTo>
                    <a:pt x="3591" y="56615"/>
                  </a:lnTo>
                  <a:lnTo>
                    <a:pt x="54" y="52953"/>
                  </a:lnTo>
                  <a:lnTo>
                    <a:pt x="0" y="51889"/>
                  </a:lnTo>
                  <a:lnTo>
                    <a:pt x="1345" y="51082"/>
                  </a:lnTo>
                  <a:close/>
                  <a:moveTo>
                    <a:pt x="128309" y="44914"/>
                  </a:moveTo>
                  <a:lnTo>
                    <a:pt x="128056" y="46257"/>
                  </a:lnTo>
                  <a:lnTo>
                    <a:pt x="127220" y="47137"/>
                  </a:lnTo>
                  <a:lnTo>
                    <a:pt x="126605" y="48654"/>
                  </a:lnTo>
                  <a:lnTo>
                    <a:pt x="126272" y="50821"/>
                  </a:lnTo>
                  <a:lnTo>
                    <a:pt x="124983" y="50873"/>
                  </a:lnTo>
                  <a:lnTo>
                    <a:pt x="124202" y="50435"/>
                  </a:lnTo>
                  <a:lnTo>
                    <a:pt x="123945" y="49616"/>
                  </a:lnTo>
                  <a:lnTo>
                    <a:pt x="123893" y="48581"/>
                  </a:lnTo>
                  <a:lnTo>
                    <a:pt x="123327" y="48621"/>
                  </a:lnTo>
                  <a:lnTo>
                    <a:pt x="122871" y="49746"/>
                  </a:lnTo>
                  <a:lnTo>
                    <a:pt x="122472" y="50253"/>
                  </a:lnTo>
                  <a:lnTo>
                    <a:pt x="121174" y="50360"/>
                  </a:lnTo>
                  <a:lnTo>
                    <a:pt x="119753" y="49668"/>
                  </a:lnTo>
                  <a:lnTo>
                    <a:pt x="119820" y="48171"/>
                  </a:lnTo>
                  <a:lnTo>
                    <a:pt x="119535" y="46438"/>
                  </a:lnTo>
                  <a:lnTo>
                    <a:pt x="119660" y="45831"/>
                  </a:lnTo>
                  <a:lnTo>
                    <a:pt x="123556" y="45681"/>
                  </a:lnTo>
                  <a:lnTo>
                    <a:pt x="124696" y="46961"/>
                  </a:lnTo>
                  <a:lnTo>
                    <a:pt x="126074" y="46219"/>
                  </a:lnTo>
                  <a:lnTo>
                    <a:pt x="126639" y="45417"/>
                  </a:lnTo>
                  <a:close/>
                  <a:moveTo>
                    <a:pt x="130950" y="32341"/>
                  </a:moveTo>
                  <a:lnTo>
                    <a:pt x="132183" y="32966"/>
                  </a:lnTo>
                  <a:lnTo>
                    <a:pt x="133066" y="33702"/>
                  </a:lnTo>
                  <a:lnTo>
                    <a:pt x="133541" y="34679"/>
                  </a:lnTo>
                  <a:lnTo>
                    <a:pt x="131040" y="35363"/>
                  </a:lnTo>
                  <a:lnTo>
                    <a:pt x="128285" y="33206"/>
                  </a:lnTo>
                  <a:close/>
                  <a:moveTo>
                    <a:pt x="110049" y="25075"/>
                  </a:moveTo>
                  <a:lnTo>
                    <a:pt x="112167" y="25249"/>
                  </a:lnTo>
                  <a:lnTo>
                    <a:pt x="113372" y="26719"/>
                  </a:lnTo>
                  <a:lnTo>
                    <a:pt x="113653" y="27413"/>
                  </a:lnTo>
                  <a:lnTo>
                    <a:pt x="113262" y="28592"/>
                  </a:lnTo>
                  <a:lnTo>
                    <a:pt x="113385" y="29738"/>
                  </a:lnTo>
                  <a:lnTo>
                    <a:pt x="110548" y="30675"/>
                  </a:lnTo>
                  <a:lnTo>
                    <a:pt x="107665" y="28903"/>
                  </a:lnTo>
                  <a:lnTo>
                    <a:pt x="107691" y="27849"/>
                  </a:lnTo>
                  <a:lnTo>
                    <a:pt x="109213" y="25709"/>
                  </a:lnTo>
                  <a:close/>
                  <a:moveTo>
                    <a:pt x="144925" y="0"/>
                  </a:moveTo>
                  <a:lnTo>
                    <a:pt x="147585" y="721"/>
                  </a:lnTo>
                  <a:lnTo>
                    <a:pt x="149568" y="1256"/>
                  </a:lnTo>
                  <a:lnTo>
                    <a:pt x="150717" y="2129"/>
                  </a:lnTo>
                  <a:lnTo>
                    <a:pt x="151436" y="2926"/>
                  </a:lnTo>
                  <a:lnTo>
                    <a:pt x="152530" y="3614"/>
                  </a:lnTo>
                  <a:lnTo>
                    <a:pt x="153345" y="3772"/>
                  </a:lnTo>
                  <a:lnTo>
                    <a:pt x="153973" y="6128"/>
                  </a:lnTo>
                  <a:lnTo>
                    <a:pt x="154308" y="9045"/>
                  </a:lnTo>
                  <a:lnTo>
                    <a:pt x="153809" y="10301"/>
                  </a:lnTo>
                  <a:lnTo>
                    <a:pt x="152351" y="10592"/>
                  </a:lnTo>
                  <a:lnTo>
                    <a:pt x="147802" y="13345"/>
                  </a:lnTo>
                  <a:lnTo>
                    <a:pt x="147692" y="15861"/>
                  </a:lnTo>
                  <a:lnTo>
                    <a:pt x="147752" y="17079"/>
                  </a:lnTo>
                  <a:lnTo>
                    <a:pt x="147845" y="17940"/>
                  </a:lnTo>
                  <a:lnTo>
                    <a:pt x="148320" y="18665"/>
                  </a:lnTo>
                  <a:lnTo>
                    <a:pt x="148320" y="19710"/>
                  </a:lnTo>
                  <a:lnTo>
                    <a:pt x="147810" y="20829"/>
                  </a:lnTo>
                  <a:lnTo>
                    <a:pt x="145823" y="22703"/>
                  </a:lnTo>
                  <a:lnTo>
                    <a:pt x="144446" y="24193"/>
                  </a:lnTo>
                  <a:lnTo>
                    <a:pt x="142904" y="26211"/>
                  </a:lnTo>
                  <a:lnTo>
                    <a:pt x="142032" y="26457"/>
                  </a:lnTo>
                  <a:lnTo>
                    <a:pt x="141352" y="26812"/>
                  </a:lnTo>
                  <a:lnTo>
                    <a:pt x="140727" y="25699"/>
                  </a:lnTo>
                  <a:lnTo>
                    <a:pt x="137298" y="23731"/>
                  </a:lnTo>
                  <a:lnTo>
                    <a:pt x="129362" y="22583"/>
                  </a:lnTo>
                  <a:lnTo>
                    <a:pt x="125571" y="21129"/>
                  </a:lnTo>
                  <a:lnTo>
                    <a:pt x="123908" y="21399"/>
                  </a:lnTo>
                  <a:lnTo>
                    <a:pt x="120688" y="19771"/>
                  </a:lnTo>
                  <a:lnTo>
                    <a:pt x="118481" y="20486"/>
                  </a:lnTo>
                  <a:lnTo>
                    <a:pt x="113800" y="23378"/>
                  </a:lnTo>
                  <a:lnTo>
                    <a:pt x="111273" y="23064"/>
                  </a:lnTo>
                  <a:lnTo>
                    <a:pt x="108572" y="21326"/>
                  </a:lnTo>
                  <a:lnTo>
                    <a:pt x="106814" y="21006"/>
                  </a:lnTo>
                  <a:lnTo>
                    <a:pt x="104752" y="21927"/>
                  </a:lnTo>
                  <a:lnTo>
                    <a:pt x="101448" y="25253"/>
                  </a:lnTo>
                  <a:lnTo>
                    <a:pt x="98086" y="26882"/>
                  </a:lnTo>
                  <a:lnTo>
                    <a:pt x="95074" y="26245"/>
                  </a:lnTo>
                  <a:lnTo>
                    <a:pt x="91021" y="26259"/>
                  </a:lnTo>
                  <a:lnTo>
                    <a:pt x="90588" y="28117"/>
                  </a:lnTo>
                  <a:lnTo>
                    <a:pt x="91373" y="29402"/>
                  </a:lnTo>
                  <a:lnTo>
                    <a:pt x="93588" y="31593"/>
                  </a:lnTo>
                  <a:lnTo>
                    <a:pt x="92549" y="33239"/>
                  </a:lnTo>
                  <a:lnTo>
                    <a:pt x="93320" y="34888"/>
                  </a:lnTo>
                  <a:lnTo>
                    <a:pt x="94763" y="35223"/>
                  </a:lnTo>
                  <a:lnTo>
                    <a:pt x="96942" y="35130"/>
                  </a:lnTo>
                  <a:lnTo>
                    <a:pt x="100971" y="37263"/>
                  </a:lnTo>
                  <a:lnTo>
                    <a:pt x="102733" y="39510"/>
                  </a:lnTo>
                  <a:lnTo>
                    <a:pt x="103858" y="41968"/>
                  </a:lnTo>
                  <a:lnTo>
                    <a:pt x="101405" y="40206"/>
                  </a:lnTo>
                  <a:lnTo>
                    <a:pt x="99777" y="38511"/>
                  </a:lnTo>
                  <a:lnTo>
                    <a:pt x="97505" y="37896"/>
                  </a:lnTo>
                  <a:lnTo>
                    <a:pt x="94346" y="36452"/>
                  </a:lnTo>
                  <a:lnTo>
                    <a:pt x="92362" y="36211"/>
                  </a:lnTo>
                  <a:lnTo>
                    <a:pt x="90250" y="37212"/>
                  </a:lnTo>
                  <a:lnTo>
                    <a:pt x="90085" y="38348"/>
                  </a:lnTo>
                  <a:lnTo>
                    <a:pt x="92362" y="40468"/>
                  </a:lnTo>
                  <a:lnTo>
                    <a:pt x="94443" y="41772"/>
                  </a:lnTo>
                  <a:lnTo>
                    <a:pt x="95547" y="42833"/>
                  </a:lnTo>
                  <a:lnTo>
                    <a:pt x="96283" y="45180"/>
                  </a:lnTo>
                  <a:lnTo>
                    <a:pt x="95864" y="45977"/>
                  </a:lnTo>
                  <a:lnTo>
                    <a:pt x="95095" y="46719"/>
                  </a:lnTo>
                  <a:lnTo>
                    <a:pt x="92625" y="45241"/>
                  </a:lnTo>
                  <a:lnTo>
                    <a:pt x="88848" y="39980"/>
                  </a:lnTo>
                  <a:lnTo>
                    <a:pt x="83579" y="38931"/>
                  </a:lnTo>
                  <a:lnTo>
                    <a:pt x="82698" y="40029"/>
                  </a:lnTo>
                  <a:lnTo>
                    <a:pt x="83733" y="42811"/>
                  </a:lnTo>
                  <a:lnTo>
                    <a:pt x="84482" y="43894"/>
                  </a:lnTo>
                  <a:lnTo>
                    <a:pt x="89060" y="46894"/>
                  </a:lnTo>
                  <a:lnTo>
                    <a:pt x="88693" y="47530"/>
                  </a:lnTo>
                  <a:lnTo>
                    <a:pt x="88025" y="47801"/>
                  </a:lnTo>
                  <a:lnTo>
                    <a:pt x="82901" y="46087"/>
                  </a:lnTo>
                  <a:lnTo>
                    <a:pt x="81411" y="43476"/>
                  </a:lnTo>
                  <a:lnTo>
                    <a:pt x="81053" y="40173"/>
                  </a:lnTo>
                  <a:lnTo>
                    <a:pt x="76324" y="37877"/>
                  </a:lnTo>
                  <a:lnTo>
                    <a:pt x="71864" y="35377"/>
                  </a:lnTo>
                  <a:lnTo>
                    <a:pt x="70867" y="33002"/>
                  </a:lnTo>
                  <a:lnTo>
                    <a:pt x="71785" y="32121"/>
                  </a:lnTo>
                  <a:lnTo>
                    <a:pt x="72435" y="30375"/>
                  </a:lnTo>
                  <a:lnTo>
                    <a:pt x="69984" y="30697"/>
                  </a:lnTo>
                  <a:lnTo>
                    <a:pt x="68446" y="31801"/>
                  </a:lnTo>
                  <a:lnTo>
                    <a:pt x="65961" y="32872"/>
                  </a:lnTo>
                  <a:lnTo>
                    <a:pt x="65859" y="34625"/>
                  </a:lnTo>
                  <a:lnTo>
                    <a:pt x="66252" y="36248"/>
                  </a:lnTo>
                  <a:lnTo>
                    <a:pt x="65430" y="38606"/>
                  </a:lnTo>
                  <a:lnTo>
                    <a:pt x="64631" y="42709"/>
                  </a:lnTo>
                  <a:lnTo>
                    <a:pt x="65136" y="44859"/>
                  </a:lnTo>
                  <a:lnTo>
                    <a:pt x="70521" y="51017"/>
                  </a:lnTo>
                  <a:lnTo>
                    <a:pt x="72363" y="55482"/>
                  </a:lnTo>
                  <a:lnTo>
                    <a:pt x="73685" y="57173"/>
                  </a:lnTo>
                  <a:lnTo>
                    <a:pt x="76441" y="59037"/>
                  </a:lnTo>
                  <a:lnTo>
                    <a:pt x="79314" y="62503"/>
                  </a:lnTo>
                  <a:lnTo>
                    <a:pt x="80533" y="64308"/>
                  </a:lnTo>
                  <a:lnTo>
                    <a:pt x="81400" y="67259"/>
                  </a:lnTo>
                  <a:lnTo>
                    <a:pt x="78982" y="69084"/>
                  </a:lnTo>
                  <a:lnTo>
                    <a:pt x="77574" y="69160"/>
                  </a:lnTo>
                  <a:lnTo>
                    <a:pt x="76794" y="68350"/>
                  </a:lnTo>
                  <a:lnTo>
                    <a:pt x="77885" y="66339"/>
                  </a:lnTo>
                  <a:lnTo>
                    <a:pt x="77730" y="65113"/>
                  </a:lnTo>
                  <a:lnTo>
                    <a:pt x="73996" y="63214"/>
                  </a:lnTo>
                  <a:lnTo>
                    <a:pt x="72415" y="63854"/>
                  </a:lnTo>
                  <a:lnTo>
                    <a:pt x="70593" y="65091"/>
                  </a:lnTo>
                  <a:lnTo>
                    <a:pt x="71633" y="67387"/>
                  </a:lnTo>
                  <a:lnTo>
                    <a:pt x="72804" y="68899"/>
                  </a:lnTo>
                  <a:lnTo>
                    <a:pt x="73391" y="70984"/>
                  </a:lnTo>
                  <a:lnTo>
                    <a:pt x="75629" y="70803"/>
                  </a:lnTo>
                  <a:lnTo>
                    <a:pt x="72616" y="73135"/>
                  </a:lnTo>
                  <a:lnTo>
                    <a:pt x="69789" y="74326"/>
                  </a:lnTo>
                  <a:lnTo>
                    <a:pt x="67008" y="74395"/>
                  </a:lnTo>
                  <a:lnTo>
                    <a:pt x="65237" y="74611"/>
                  </a:lnTo>
                  <a:lnTo>
                    <a:pt x="64627" y="75207"/>
                  </a:lnTo>
                  <a:lnTo>
                    <a:pt x="66067" y="75641"/>
                  </a:lnTo>
                  <a:lnTo>
                    <a:pt x="67243" y="75680"/>
                  </a:lnTo>
                  <a:lnTo>
                    <a:pt x="69157" y="76939"/>
                  </a:lnTo>
                  <a:lnTo>
                    <a:pt x="74603" y="78449"/>
                  </a:lnTo>
                  <a:lnTo>
                    <a:pt x="77198" y="80355"/>
                  </a:lnTo>
                  <a:lnTo>
                    <a:pt x="79747" y="80529"/>
                  </a:lnTo>
                  <a:lnTo>
                    <a:pt x="82312" y="84025"/>
                  </a:lnTo>
                  <a:lnTo>
                    <a:pt x="86749" y="84955"/>
                  </a:lnTo>
                  <a:lnTo>
                    <a:pt x="89278" y="88478"/>
                  </a:lnTo>
                  <a:lnTo>
                    <a:pt x="92640" y="89171"/>
                  </a:lnTo>
                  <a:lnTo>
                    <a:pt x="95536" y="90469"/>
                  </a:lnTo>
                  <a:lnTo>
                    <a:pt x="96384" y="91707"/>
                  </a:lnTo>
                  <a:lnTo>
                    <a:pt x="96807" y="93941"/>
                  </a:lnTo>
                  <a:lnTo>
                    <a:pt x="96995" y="98672"/>
                  </a:lnTo>
                  <a:lnTo>
                    <a:pt x="97622" y="102191"/>
                  </a:lnTo>
                  <a:lnTo>
                    <a:pt x="97643" y="103303"/>
                  </a:lnTo>
                  <a:lnTo>
                    <a:pt x="97490" y="104963"/>
                  </a:lnTo>
                  <a:lnTo>
                    <a:pt x="96702" y="105778"/>
                  </a:lnTo>
                  <a:lnTo>
                    <a:pt x="95637" y="105803"/>
                  </a:lnTo>
                  <a:lnTo>
                    <a:pt x="93553" y="103219"/>
                  </a:lnTo>
                  <a:lnTo>
                    <a:pt x="90357" y="100497"/>
                  </a:lnTo>
                  <a:lnTo>
                    <a:pt x="86989" y="97256"/>
                  </a:lnTo>
                  <a:lnTo>
                    <a:pt x="86032" y="96687"/>
                  </a:lnTo>
                  <a:lnTo>
                    <a:pt x="85249" y="96633"/>
                  </a:lnTo>
                  <a:lnTo>
                    <a:pt x="83446" y="97730"/>
                  </a:lnTo>
                  <a:lnTo>
                    <a:pt x="78436" y="98577"/>
                  </a:lnTo>
                  <a:lnTo>
                    <a:pt x="76086" y="99761"/>
                  </a:lnTo>
                  <a:lnTo>
                    <a:pt x="75203" y="100022"/>
                  </a:lnTo>
                  <a:lnTo>
                    <a:pt x="74957" y="100643"/>
                  </a:lnTo>
                  <a:lnTo>
                    <a:pt x="76058" y="101290"/>
                  </a:lnTo>
                  <a:lnTo>
                    <a:pt x="77408" y="102770"/>
                  </a:lnTo>
                  <a:lnTo>
                    <a:pt x="77408" y="104793"/>
                  </a:lnTo>
                  <a:lnTo>
                    <a:pt x="78522" y="107248"/>
                  </a:lnTo>
                  <a:lnTo>
                    <a:pt x="79962" y="107882"/>
                  </a:lnTo>
                  <a:lnTo>
                    <a:pt x="81839" y="107828"/>
                  </a:lnTo>
                  <a:lnTo>
                    <a:pt x="82914" y="108281"/>
                  </a:lnTo>
                  <a:lnTo>
                    <a:pt x="83193" y="109258"/>
                  </a:lnTo>
                  <a:lnTo>
                    <a:pt x="84283" y="110398"/>
                  </a:lnTo>
                  <a:lnTo>
                    <a:pt x="85002" y="111242"/>
                  </a:lnTo>
                  <a:lnTo>
                    <a:pt x="84972" y="111846"/>
                  </a:lnTo>
                  <a:lnTo>
                    <a:pt x="79738" y="113451"/>
                  </a:lnTo>
                  <a:lnTo>
                    <a:pt x="78643" y="114184"/>
                  </a:lnTo>
                  <a:lnTo>
                    <a:pt x="77725" y="114559"/>
                  </a:lnTo>
                  <a:lnTo>
                    <a:pt x="76365" y="113796"/>
                  </a:lnTo>
                  <a:lnTo>
                    <a:pt x="76287" y="111836"/>
                  </a:lnTo>
                  <a:lnTo>
                    <a:pt x="74488" y="110784"/>
                  </a:lnTo>
                  <a:lnTo>
                    <a:pt x="72838" y="109883"/>
                  </a:lnTo>
                  <a:lnTo>
                    <a:pt x="70861" y="109496"/>
                  </a:lnTo>
                  <a:lnTo>
                    <a:pt x="69178" y="108146"/>
                  </a:lnTo>
                  <a:lnTo>
                    <a:pt x="68081" y="109243"/>
                  </a:lnTo>
                  <a:lnTo>
                    <a:pt x="68958" y="113042"/>
                  </a:lnTo>
                  <a:lnTo>
                    <a:pt x="70861" y="115656"/>
                  </a:lnTo>
                  <a:lnTo>
                    <a:pt x="74043" y="122656"/>
                  </a:lnTo>
                  <a:lnTo>
                    <a:pt x="75488" y="126783"/>
                  </a:lnTo>
                  <a:lnTo>
                    <a:pt x="75780" y="128778"/>
                  </a:lnTo>
                  <a:lnTo>
                    <a:pt x="75060" y="132087"/>
                  </a:lnTo>
                  <a:lnTo>
                    <a:pt x="76624" y="134544"/>
                  </a:lnTo>
                  <a:lnTo>
                    <a:pt x="77695" y="137065"/>
                  </a:lnTo>
                  <a:lnTo>
                    <a:pt x="76516" y="136970"/>
                  </a:lnTo>
                  <a:lnTo>
                    <a:pt x="75493" y="136081"/>
                  </a:lnTo>
                  <a:lnTo>
                    <a:pt x="73776" y="135032"/>
                  </a:lnTo>
                  <a:lnTo>
                    <a:pt x="70446" y="131007"/>
                  </a:lnTo>
                  <a:lnTo>
                    <a:pt x="69286" y="128493"/>
                  </a:lnTo>
                  <a:lnTo>
                    <a:pt x="67900" y="128296"/>
                  </a:lnTo>
                  <a:lnTo>
                    <a:pt x="65494" y="128657"/>
                  </a:lnTo>
                  <a:lnTo>
                    <a:pt x="62856" y="134024"/>
                  </a:lnTo>
                  <a:lnTo>
                    <a:pt x="62864" y="137095"/>
                  </a:lnTo>
                  <a:lnTo>
                    <a:pt x="61500" y="136364"/>
                  </a:lnTo>
                  <a:lnTo>
                    <a:pt x="60329" y="135407"/>
                  </a:lnTo>
                  <a:lnTo>
                    <a:pt x="60472" y="132045"/>
                  </a:lnTo>
                  <a:lnTo>
                    <a:pt x="60355" y="130632"/>
                  </a:lnTo>
                  <a:lnTo>
                    <a:pt x="57153" y="126045"/>
                  </a:lnTo>
                  <a:lnTo>
                    <a:pt x="55684" y="125530"/>
                  </a:lnTo>
                  <a:lnTo>
                    <a:pt x="55000" y="123978"/>
                  </a:lnTo>
                  <a:lnTo>
                    <a:pt x="53821" y="122324"/>
                  </a:lnTo>
                  <a:lnTo>
                    <a:pt x="52301" y="122641"/>
                  </a:lnTo>
                  <a:lnTo>
                    <a:pt x="51059" y="123312"/>
                  </a:lnTo>
                  <a:lnTo>
                    <a:pt x="50716" y="125811"/>
                  </a:lnTo>
                  <a:lnTo>
                    <a:pt x="50588" y="128050"/>
                  </a:lnTo>
                  <a:lnTo>
                    <a:pt x="49662" y="129734"/>
                  </a:lnTo>
                  <a:lnTo>
                    <a:pt x="46250" y="126536"/>
                  </a:lnTo>
                  <a:lnTo>
                    <a:pt x="42819" y="121001"/>
                  </a:lnTo>
                  <a:lnTo>
                    <a:pt x="42728" y="117960"/>
                  </a:lnTo>
                  <a:lnTo>
                    <a:pt x="45242" y="115185"/>
                  </a:lnTo>
                  <a:lnTo>
                    <a:pt x="44941" y="113198"/>
                  </a:lnTo>
                  <a:lnTo>
                    <a:pt x="42562" y="109272"/>
                  </a:lnTo>
                  <a:lnTo>
                    <a:pt x="39133" y="106744"/>
                  </a:lnTo>
                  <a:lnTo>
                    <a:pt x="37211" y="105993"/>
                  </a:lnTo>
                  <a:lnTo>
                    <a:pt x="36308" y="103303"/>
                  </a:lnTo>
                  <a:lnTo>
                    <a:pt x="34468" y="101912"/>
                  </a:lnTo>
                  <a:lnTo>
                    <a:pt x="32980" y="101264"/>
                  </a:lnTo>
                  <a:lnTo>
                    <a:pt x="32687" y="100305"/>
                  </a:lnTo>
                  <a:lnTo>
                    <a:pt x="33136" y="99595"/>
                  </a:lnTo>
                  <a:lnTo>
                    <a:pt x="36742" y="96823"/>
                  </a:lnTo>
                  <a:lnTo>
                    <a:pt x="38856" y="92481"/>
                  </a:lnTo>
                  <a:lnTo>
                    <a:pt x="39906" y="92274"/>
                  </a:lnTo>
                  <a:lnTo>
                    <a:pt x="42063" y="93304"/>
                  </a:lnTo>
                  <a:lnTo>
                    <a:pt x="44488" y="93035"/>
                  </a:lnTo>
                  <a:lnTo>
                    <a:pt x="46479" y="90489"/>
                  </a:lnTo>
                  <a:lnTo>
                    <a:pt x="48165" y="89103"/>
                  </a:lnTo>
                  <a:lnTo>
                    <a:pt x="51009" y="89282"/>
                  </a:lnTo>
                  <a:lnTo>
                    <a:pt x="57431" y="92685"/>
                  </a:lnTo>
                  <a:lnTo>
                    <a:pt x="64333" y="94623"/>
                  </a:lnTo>
                  <a:lnTo>
                    <a:pt x="67775" y="96324"/>
                  </a:lnTo>
                  <a:lnTo>
                    <a:pt x="69722" y="98009"/>
                  </a:lnTo>
                  <a:lnTo>
                    <a:pt x="70757" y="98358"/>
                  </a:lnTo>
                  <a:lnTo>
                    <a:pt x="72392" y="98596"/>
                  </a:lnTo>
                  <a:lnTo>
                    <a:pt x="72318" y="97336"/>
                  </a:lnTo>
                  <a:lnTo>
                    <a:pt x="71791" y="96221"/>
                  </a:lnTo>
                  <a:lnTo>
                    <a:pt x="73154" y="95614"/>
                  </a:lnTo>
                  <a:lnTo>
                    <a:pt x="76853" y="95646"/>
                  </a:lnTo>
                  <a:lnTo>
                    <a:pt x="77526" y="95055"/>
                  </a:lnTo>
                  <a:lnTo>
                    <a:pt x="78211" y="94098"/>
                  </a:lnTo>
                  <a:lnTo>
                    <a:pt x="77447" y="93010"/>
                  </a:lnTo>
                  <a:lnTo>
                    <a:pt x="76222" y="92487"/>
                  </a:lnTo>
                  <a:lnTo>
                    <a:pt x="74913" y="92342"/>
                  </a:lnTo>
                  <a:lnTo>
                    <a:pt x="74052" y="91997"/>
                  </a:lnTo>
                  <a:lnTo>
                    <a:pt x="72661" y="92345"/>
                  </a:lnTo>
                  <a:lnTo>
                    <a:pt x="70491" y="91504"/>
                  </a:lnTo>
                  <a:lnTo>
                    <a:pt x="69370" y="90810"/>
                  </a:lnTo>
                  <a:lnTo>
                    <a:pt x="68712" y="90096"/>
                  </a:lnTo>
                  <a:lnTo>
                    <a:pt x="64942" y="88672"/>
                  </a:lnTo>
                  <a:lnTo>
                    <a:pt x="61366" y="86264"/>
                  </a:lnTo>
                  <a:lnTo>
                    <a:pt x="60560" y="87627"/>
                  </a:lnTo>
                  <a:lnTo>
                    <a:pt x="59116" y="88366"/>
                  </a:lnTo>
                  <a:lnTo>
                    <a:pt x="57058" y="88468"/>
                  </a:lnTo>
                  <a:lnTo>
                    <a:pt x="51275" y="86935"/>
                  </a:lnTo>
                  <a:lnTo>
                    <a:pt x="47722" y="88105"/>
                  </a:lnTo>
                  <a:lnTo>
                    <a:pt x="45786" y="88412"/>
                  </a:lnTo>
                  <a:lnTo>
                    <a:pt x="44304" y="88438"/>
                  </a:lnTo>
                  <a:lnTo>
                    <a:pt x="42482" y="88963"/>
                  </a:lnTo>
                  <a:lnTo>
                    <a:pt x="40379" y="89277"/>
                  </a:lnTo>
                  <a:lnTo>
                    <a:pt x="38556" y="87054"/>
                  </a:lnTo>
                  <a:lnTo>
                    <a:pt x="37789" y="85331"/>
                  </a:lnTo>
                  <a:lnTo>
                    <a:pt x="37249" y="85009"/>
                  </a:lnTo>
                  <a:lnTo>
                    <a:pt x="37222" y="86628"/>
                  </a:lnTo>
                  <a:lnTo>
                    <a:pt x="36636" y="87926"/>
                  </a:lnTo>
                  <a:lnTo>
                    <a:pt x="33968" y="88655"/>
                  </a:lnTo>
                  <a:lnTo>
                    <a:pt x="32432" y="87650"/>
                  </a:lnTo>
                  <a:lnTo>
                    <a:pt x="31251" y="84598"/>
                  </a:lnTo>
                  <a:lnTo>
                    <a:pt x="29757" y="80715"/>
                  </a:lnTo>
                  <a:lnTo>
                    <a:pt x="27126" y="77576"/>
                  </a:lnTo>
                  <a:lnTo>
                    <a:pt x="24995" y="76755"/>
                  </a:lnTo>
                  <a:lnTo>
                    <a:pt x="24811" y="75029"/>
                  </a:lnTo>
                  <a:lnTo>
                    <a:pt x="25006" y="73647"/>
                  </a:lnTo>
                  <a:lnTo>
                    <a:pt x="27567" y="73306"/>
                  </a:lnTo>
                  <a:lnTo>
                    <a:pt x="31570" y="74751"/>
                  </a:lnTo>
                  <a:lnTo>
                    <a:pt x="32397" y="74464"/>
                  </a:lnTo>
                  <a:lnTo>
                    <a:pt x="33298" y="73797"/>
                  </a:lnTo>
                  <a:lnTo>
                    <a:pt x="33125" y="72322"/>
                  </a:lnTo>
                  <a:lnTo>
                    <a:pt x="32547" y="71008"/>
                  </a:lnTo>
                  <a:lnTo>
                    <a:pt x="31445" y="70949"/>
                  </a:lnTo>
                  <a:lnTo>
                    <a:pt x="30683" y="71105"/>
                  </a:lnTo>
                  <a:lnTo>
                    <a:pt x="28221" y="70833"/>
                  </a:lnTo>
                  <a:lnTo>
                    <a:pt x="25058" y="71563"/>
                  </a:lnTo>
                  <a:lnTo>
                    <a:pt x="23591" y="70875"/>
                  </a:lnTo>
                  <a:lnTo>
                    <a:pt x="23103" y="70039"/>
                  </a:lnTo>
                  <a:lnTo>
                    <a:pt x="20458" y="67963"/>
                  </a:lnTo>
                  <a:lnTo>
                    <a:pt x="18172" y="65177"/>
                  </a:lnTo>
                  <a:lnTo>
                    <a:pt x="14468" y="63316"/>
                  </a:lnTo>
                  <a:lnTo>
                    <a:pt x="12049" y="57641"/>
                  </a:lnTo>
                  <a:lnTo>
                    <a:pt x="10015" y="55161"/>
                  </a:lnTo>
                  <a:lnTo>
                    <a:pt x="7845" y="53389"/>
                  </a:lnTo>
                  <a:lnTo>
                    <a:pt x="8316" y="53356"/>
                  </a:lnTo>
                  <a:lnTo>
                    <a:pt x="9139" y="53657"/>
                  </a:lnTo>
                  <a:lnTo>
                    <a:pt x="10715" y="54632"/>
                  </a:lnTo>
                  <a:lnTo>
                    <a:pt x="12391" y="54842"/>
                  </a:lnTo>
                  <a:lnTo>
                    <a:pt x="13306" y="54196"/>
                  </a:lnTo>
                  <a:lnTo>
                    <a:pt x="13833" y="53603"/>
                  </a:lnTo>
                  <a:lnTo>
                    <a:pt x="14176" y="52630"/>
                  </a:lnTo>
                  <a:lnTo>
                    <a:pt x="14315" y="51495"/>
                  </a:lnTo>
                  <a:lnTo>
                    <a:pt x="14587" y="51119"/>
                  </a:lnTo>
                  <a:lnTo>
                    <a:pt x="15867" y="51247"/>
                  </a:lnTo>
                  <a:lnTo>
                    <a:pt x="16273" y="50964"/>
                  </a:lnTo>
                  <a:lnTo>
                    <a:pt x="16256" y="49944"/>
                  </a:lnTo>
                  <a:lnTo>
                    <a:pt x="15429" y="48672"/>
                  </a:lnTo>
                  <a:lnTo>
                    <a:pt x="14701" y="47105"/>
                  </a:lnTo>
                  <a:lnTo>
                    <a:pt x="14697" y="46358"/>
                  </a:lnTo>
                  <a:lnTo>
                    <a:pt x="15302" y="46055"/>
                  </a:lnTo>
                  <a:lnTo>
                    <a:pt x="16302" y="45374"/>
                  </a:lnTo>
                  <a:lnTo>
                    <a:pt x="16839" y="44532"/>
                  </a:lnTo>
                  <a:lnTo>
                    <a:pt x="17901" y="44112"/>
                  </a:lnTo>
                  <a:lnTo>
                    <a:pt x="19472" y="44035"/>
                  </a:lnTo>
                  <a:lnTo>
                    <a:pt x="21223" y="43666"/>
                  </a:lnTo>
                  <a:lnTo>
                    <a:pt x="22354" y="42760"/>
                  </a:lnTo>
                  <a:lnTo>
                    <a:pt x="22521" y="41862"/>
                  </a:lnTo>
                  <a:lnTo>
                    <a:pt x="23229" y="39391"/>
                  </a:lnTo>
                  <a:lnTo>
                    <a:pt x="23691" y="38181"/>
                  </a:lnTo>
                  <a:lnTo>
                    <a:pt x="24438" y="37076"/>
                  </a:lnTo>
                  <a:lnTo>
                    <a:pt x="24844" y="35586"/>
                  </a:lnTo>
                  <a:lnTo>
                    <a:pt x="25641" y="34184"/>
                  </a:lnTo>
                  <a:lnTo>
                    <a:pt x="27312" y="33596"/>
                  </a:lnTo>
                  <a:lnTo>
                    <a:pt x="28828" y="32903"/>
                  </a:lnTo>
                  <a:lnTo>
                    <a:pt x="29972" y="31096"/>
                  </a:lnTo>
                  <a:lnTo>
                    <a:pt x="30612" y="29547"/>
                  </a:lnTo>
                  <a:lnTo>
                    <a:pt x="30616" y="28599"/>
                  </a:lnTo>
                  <a:lnTo>
                    <a:pt x="29662" y="27047"/>
                  </a:lnTo>
                  <a:lnTo>
                    <a:pt x="28951" y="25538"/>
                  </a:lnTo>
                  <a:lnTo>
                    <a:pt x="29139" y="23578"/>
                  </a:lnTo>
                  <a:lnTo>
                    <a:pt x="32141" y="23414"/>
                  </a:lnTo>
                  <a:lnTo>
                    <a:pt x="33192" y="23231"/>
                  </a:lnTo>
                  <a:lnTo>
                    <a:pt x="37088" y="23125"/>
                  </a:lnTo>
                  <a:lnTo>
                    <a:pt x="38865" y="22073"/>
                  </a:lnTo>
                  <a:lnTo>
                    <a:pt x="40094" y="22167"/>
                  </a:lnTo>
                  <a:lnTo>
                    <a:pt x="42661" y="23078"/>
                  </a:lnTo>
                  <a:lnTo>
                    <a:pt x="43806" y="22358"/>
                  </a:lnTo>
                  <a:lnTo>
                    <a:pt x="47166" y="20936"/>
                  </a:lnTo>
                  <a:lnTo>
                    <a:pt x="50482" y="16805"/>
                  </a:lnTo>
                  <a:lnTo>
                    <a:pt x="51895" y="16185"/>
                  </a:lnTo>
                  <a:lnTo>
                    <a:pt x="55112" y="15934"/>
                  </a:lnTo>
                  <a:lnTo>
                    <a:pt x="56120" y="15456"/>
                  </a:lnTo>
                  <a:lnTo>
                    <a:pt x="57297" y="15547"/>
                  </a:lnTo>
                  <a:lnTo>
                    <a:pt x="60903" y="16385"/>
                  </a:lnTo>
                  <a:lnTo>
                    <a:pt x="62955" y="16513"/>
                  </a:lnTo>
                  <a:lnTo>
                    <a:pt x="65388" y="15942"/>
                  </a:lnTo>
                  <a:lnTo>
                    <a:pt x="68069" y="14932"/>
                  </a:lnTo>
                  <a:lnTo>
                    <a:pt x="68738" y="11394"/>
                  </a:lnTo>
                  <a:lnTo>
                    <a:pt x="69375" y="10886"/>
                  </a:lnTo>
                  <a:lnTo>
                    <a:pt x="71042" y="10744"/>
                  </a:lnTo>
                  <a:lnTo>
                    <a:pt x="72297" y="10773"/>
                  </a:lnTo>
                  <a:lnTo>
                    <a:pt x="74719" y="11054"/>
                  </a:lnTo>
                  <a:lnTo>
                    <a:pt x="77602" y="11148"/>
                  </a:lnTo>
                  <a:lnTo>
                    <a:pt x="79457" y="9488"/>
                  </a:lnTo>
                  <a:lnTo>
                    <a:pt x="82381" y="9364"/>
                  </a:lnTo>
                  <a:lnTo>
                    <a:pt x="83737" y="9124"/>
                  </a:lnTo>
                  <a:lnTo>
                    <a:pt x="86002" y="9459"/>
                  </a:lnTo>
                  <a:lnTo>
                    <a:pt x="88198" y="9440"/>
                  </a:lnTo>
                  <a:lnTo>
                    <a:pt x="91010" y="8748"/>
                  </a:lnTo>
                  <a:lnTo>
                    <a:pt x="93631" y="7613"/>
                  </a:lnTo>
                  <a:lnTo>
                    <a:pt x="95680" y="7710"/>
                  </a:lnTo>
                  <a:lnTo>
                    <a:pt x="96516" y="7505"/>
                  </a:lnTo>
                  <a:lnTo>
                    <a:pt x="96994" y="7266"/>
                  </a:lnTo>
                  <a:lnTo>
                    <a:pt x="97505" y="5729"/>
                  </a:lnTo>
                  <a:lnTo>
                    <a:pt x="101360" y="5635"/>
                  </a:lnTo>
                  <a:lnTo>
                    <a:pt x="102666" y="5788"/>
                  </a:lnTo>
                  <a:lnTo>
                    <a:pt x="104817" y="5828"/>
                  </a:lnTo>
                  <a:lnTo>
                    <a:pt x="107054" y="4990"/>
                  </a:lnTo>
                  <a:lnTo>
                    <a:pt x="107725" y="5061"/>
                  </a:lnTo>
                  <a:lnTo>
                    <a:pt x="108855" y="7311"/>
                  </a:lnTo>
                  <a:lnTo>
                    <a:pt x="109444" y="7963"/>
                  </a:lnTo>
                  <a:lnTo>
                    <a:pt x="110662" y="8564"/>
                  </a:lnTo>
                  <a:lnTo>
                    <a:pt x="113374" y="10250"/>
                  </a:lnTo>
                  <a:lnTo>
                    <a:pt x="113863" y="9806"/>
                  </a:lnTo>
                  <a:lnTo>
                    <a:pt x="114992" y="9243"/>
                  </a:lnTo>
                  <a:lnTo>
                    <a:pt x="118235" y="10015"/>
                  </a:lnTo>
                  <a:lnTo>
                    <a:pt x="121327" y="11314"/>
                  </a:lnTo>
                  <a:lnTo>
                    <a:pt x="123932" y="13219"/>
                  </a:lnTo>
                  <a:lnTo>
                    <a:pt x="126823" y="12670"/>
                  </a:lnTo>
                  <a:lnTo>
                    <a:pt x="130032" y="11735"/>
                  </a:lnTo>
                  <a:lnTo>
                    <a:pt x="132120" y="11463"/>
                  </a:lnTo>
                  <a:lnTo>
                    <a:pt x="134385" y="11333"/>
                  </a:lnTo>
                  <a:lnTo>
                    <a:pt x="135735" y="10927"/>
                  </a:lnTo>
                  <a:lnTo>
                    <a:pt x="138795" y="11416"/>
                  </a:lnTo>
                  <a:lnTo>
                    <a:pt x="141958" y="10393"/>
                  </a:lnTo>
                  <a:lnTo>
                    <a:pt x="143483" y="9467"/>
                  </a:lnTo>
                  <a:lnTo>
                    <a:pt x="143921" y="8170"/>
                  </a:lnTo>
                  <a:lnTo>
                    <a:pt x="143664" y="5881"/>
                  </a:lnTo>
                  <a:lnTo>
                    <a:pt x="142949" y="3589"/>
                  </a:lnTo>
                  <a:lnTo>
                    <a:pt x="142192" y="2743"/>
                  </a:lnTo>
                  <a:lnTo>
                    <a:pt x="141950" y="1868"/>
                  </a:lnTo>
                  <a:lnTo>
                    <a:pt x="142381" y="1050"/>
                  </a:lnTo>
                  <a:lnTo>
                    <a:pt x="142865" y="47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1" name="ee4p_HR_1_15912">
              <a:extLst>
                <a:ext uri="{FF2B5EF4-FFF2-40B4-BE49-F238E27FC236}">
                  <a16:creationId xmlns:a16="http://schemas.microsoft.com/office/drawing/2014/main" id="{AF6ACB93-A9E6-8A0A-74E8-369EE3CE1DD7}"/>
                </a:ext>
              </a:extLst>
            </p:cNvPr>
            <p:cNvSpPr>
              <a:spLocks noChangeAspect="1"/>
            </p:cNvSpPr>
            <p:nvPr>
              <p:custDataLst>
                <p:tags r:id="rId33"/>
              </p:custDataLst>
            </p:nvPr>
          </p:nvSpPr>
          <p:spPr>
            <a:xfrm>
              <a:off x="4956596" y="4920452"/>
              <a:ext cx="515754" cy="442242"/>
            </a:xfrm>
            <a:custGeom>
              <a:avLst/>
              <a:gdLst>
                <a:gd name="connsiteX0" fmla="*/ 86563 w 130102"/>
                <a:gd name="connsiteY0" fmla="*/ 101746 h 111558"/>
                <a:gd name="connsiteX1" fmla="*/ 90452 w 130102"/>
                <a:gd name="connsiteY1" fmla="*/ 102584 h 111558"/>
                <a:gd name="connsiteX2" fmla="*/ 93469 w 130102"/>
                <a:gd name="connsiteY2" fmla="*/ 104421 h 111558"/>
                <a:gd name="connsiteX3" fmla="*/ 84622 w 130102"/>
                <a:gd name="connsiteY3" fmla="*/ 102014 h 111558"/>
                <a:gd name="connsiteX4" fmla="*/ 85626 w 130102"/>
                <a:gd name="connsiteY4" fmla="*/ 101793 h 111558"/>
                <a:gd name="connsiteX5" fmla="*/ 69288 w 130102"/>
                <a:gd name="connsiteY5" fmla="*/ 96494 h 111558"/>
                <a:gd name="connsiteX6" fmla="*/ 73375 w 130102"/>
                <a:gd name="connsiteY6" fmla="*/ 97242 h 111558"/>
                <a:gd name="connsiteX7" fmla="*/ 76373 w 130102"/>
                <a:gd name="connsiteY7" fmla="*/ 96898 h 111558"/>
                <a:gd name="connsiteX8" fmla="*/ 79083 w 130102"/>
                <a:gd name="connsiteY8" fmla="*/ 97357 h 111558"/>
                <a:gd name="connsiteX9" fmla="*/ 80767 w 130102"/>
                <a:gd name="connsiteY9" fmla="*/ 98207 h 111558"/>
                <a:gd name="connsiteX10" fmla="*/ 81175 w 130102"/>
                <a:gd name="connsiteY10" fmla="*/ 98624 h 111558"/>
                <a:gd name="connsiteX11" fmla="*/ 78988 w 130102"/>
                <a:gd name="connsiteY11" fmla="*/ 98682 h 111558"/>
                <a:gd name="connsiteX12" fmla="*/ 76515 w 130102"/>
                <a:gd name="connsiteY12" fmla="*/ 98337 h 111558"/>
                <a:gd name="connsiteX13" fmla="*/ 73710 w 130102"/>
                <a:gd name="connsiteY13" fmla="*/ 99201 h 111558"/>
                <a:gd name="connsiteX14" fmla="*/ 71238 w 130102"/>
                <a:gd name="connsiteY14" fmla="*/ 98739 h 111558"/>
                <a:gd name="connsiteX15" fmla="*/ 70298 w 130102"/>
                <a:gd name="connsiteY15" fmla="*/ 98178 h 111558"/>
                <a:gd name="connsiteX16" fmla="*/ 69633 w 130102"/>
                <a:gd name="connsiteY16" fmla="*/ 97476 h 111558"/>
                <a:gd name="connsiteX17" fmla="*/ 81872 w 130102"/>
                <a:gd name="connsiteY17" fmla="*/ 95708 h 111558"/>
                <a:gd name="connsiteX18" fmla="*/ 93013 w 130102"/>
                <a:gd name="connsiteY18" fmla="*/ 100400 h 111558"/>
                <a:gd name="connsiteX19" fmla="*/ 91773 w 130102"/>
                <a:gd name="connsiteY19" fmla="*/ 99158 h 111558"/>
                <a:gd name="connsiteX20" fmla="*/ 93380 w 130102"/>
                <a:gd name="connsiteY20" fmla="*/ 98666 h 111558"/>
                <a:gd name="connsiteX21" fmla="*/ 94745 w 130102"/>
                <a:gd name="connsiteY21" fmla="*/ 99020 h 111558"/>
                <a:gd name="connsiteX22" fmla="*/ 95615 w 130102"/>
                <a:gd name="connsiteY22" fmla="*/ 100551 h 111558"/>
                <a:gd name="connsiteX23" fmla="*/ 97330 w 130102"/>
                <a:gd name="connsiteY23" fmla="*/ 101558 h 111558"/>
                <a:gd name="connsiteX24" fmla="*/ 100109 w 130102"/>
                <a:gd name="connsiteY24" fmla="*/ 103327 h 111558"/>
                <a:gd name="connsiteX25" fmla="*/ 101864 w 130102"/>
                <a:gd name="connsiteY25" fmla="*/ 104682 h 111558"/>
                <a:gd name="connsiteX26" fmla="*/ 105846 w 130102"/>
                <a:gd name="connsiteY26" fmla="*/ 107117 h 111558"/>
                <a:gd name="connsiteX27" fmla="*/ 106788 w 130102"/>
                <a:gd name="connsiteY27" fmla="*/ 107457 h 111558"/>
                <a:gd name="connsiteX28" fmla="*/ 108772 w 130102"/>
                <a:gd name="connsiteY28" fmla="*/ 108176 h 111558"/>
                <a:gd name="connsiteX29" fmla="*/ 108811 w 130102"/>
                <a:gd name="connsiteY29" fmla="*/ 109157 h 111558"/>
                <a:gd name="connsiteX30" fmla="*/ 109664 w 130102"/>
                <a:gd name="connsiteY30" fmla="*/ 110273 h 111558"/>
                <a:gd name="connsiteX31" fmla="*/ 110566 w 130102"/>
                <a:gd name="connsiteY31" fmla="*/ 111558 h 111558"/>
                <a:gd name="connsiteX32" fmla="*/ 106488 w 130102"/>
                <a:gd name="connsiteY32" fmla="*/ 109026 h 111558"/>
                <a:gd name="connsiteX33" fmla="*/ 102676 w 130102"/>
                <a:gd name="connsiteY33" fmla="*/ 106192 h 111558"/>
                <a:gd name="connsiteX34" fmla="*/ 95229 w 130102"/>
                <a:gd name="connsiteY34" fmla="*/ 101826 h 111558"/>
                <a:gd name="connsiteX35" fmla="*/ 89946 w 130102"/>
                <a:gd name="connsiteY35" fmla="*/ 100762 h 111558"/>
                <a:gd name="connsiteX36" fmla="*/ 82721 w 130102"/>
                <a:gd name="connsiteY36" fmla="*/ 97247 h 111558"/>
                <a:gd name="connsiteX37" fmla="*/ 78016 w 130102"/>
                <a:gd name="connsiteY37" fmla="*/ 96003 h 111558"/>
                <a:gd name="connsiteX38" fmla="*/ 79808 w 130102"/>
                <a:gd name="connsiteY38" fmla="*/ 95716 h 111558"/>
                <a:gd name="connsiteX39" fmla="*/ 66429 w 130102"/>
                <a:gd name="connsiteY39" fmla="*/ 90251 h 111558"/>
                <a:gd name="connsiteX40" fmla="*/ 69404 w 130102"/>
                <a:gd name="connsiteY40" fmla="*/ 90667 h 111558"/>
                <a:gd name="connsiteX41" fmla="*/ 70318 w 130102"/>
                <a:gd name="connsiteY41" fmla="*/ 91709 h 111558"/>
                <a:gd name="connsiteX42" fmla="*/ 78364 w 130102"/>
                <a:gd name="connsiteY42" fmla="*/ 92543 h 111558"/>
                <a:gd name="connsiteX43" fmla="*/ 81302 w 130102"/>
                <a:gd name="connsiteY43" fmla="*/ 93029 h 111558"/>
                <a:gd name="connsiteX44" fmla="*/ 79756 w 130102"/>
                <a:gd name="connsiteY44" fmla="*/ 93307 h 111558"/>
                <a:gd name="connsiteX45" fmla="*/ 69918 w 130102"/>
                <a:gd name="connsiteY45" fmla="*/ 93100 h 111558"/>
                <a:gd name="connsiteX46" fmla="*/ 67057 w 130102"/>
                <a:gd name="connsiteY46" fmla="*/ 92543 h 111558"/>
                <a:gd name="connsiteX47" fmla="*/ 63874 w 130102"/>
                <a:gd name="connsiteY47" fmla="*/ 91108 h 111558"/>
                <a:gd name="connsiteX48" fmla="*/ 63224 w 130102"/>
                <a:gd name="connsiteY48" fmla="*/ 90667 h 111558"/>
                <a:gd name="connsiteX49" fmla="*/ 64827 w 130102"/>
                <a:gd name="connsiteY49" fmla="*/ 86010 h 111558"/>
                <a:gd name="connsiteX50" fmla="*/ 68202 w 130102"/>
                <a:gd name="connsiteY50" fmla="*/ 86149 h 111558"/>
                <a:gd name="connsiteX51" fmla="*/ 73350 w 130102"/>
                <a:gd name="connsiteY51" fmla="*/ 86984 h 111558"/>
                <a:gd name="connsiteX52" fmla="*/ 74609 w 130102"/>
                <a:gd name="connsiteY52" fmla="*/ 87957 h 111558"/>
                <a:gd name="connsiteX53" fmla="*/ 74218 w 130102"/>
                <a:gd name="connsiteY53" fmla="*/ 88406 h 111558"/>
                <a:gd name="connsiteX54" fmla="*/ 72263 w 130102"/>
                <a:gd name="connsiteY54" fmla="*/ 89139 h 111558"/>
                <a:gd name="connsiteX55" fmla="*/ 68774 w 130102"/>
                <a:gd name="connsiteY55" fmla="*/ 89209 h 111558"/>
                <a:gd name="connsiteX56" fmla="*/ 65742 w 130102"/>
                <a:gd name="connsiteY56" fmla="*/ 88722 h 111558"/>
                <a:gd name="connsiteX57" fmla="*/ 64256 w 130102"/>
                <a:gd name="connsiteY57" fmla="*/ 87887 h 111558"/>
                <a:gd name="connsiteX58" fmla="*/ 64367 w 130102"/>
                <a:gd name="connsiteY58" fmla="*/ 87184 h 111558"/>
                <a:gd name="connsiteX59" fmla="*/ 38758 w 130102"/>
                <a:gd name="connsiteY59" fmla="*/ 69183 h 111558"/>
                <a:gd name="connsiteX60" fmla="*/ 41000 w 130102"/>
                <a:gd name="connsiteY60" fmla="*/ 70181 h 111558"/>
                <a:gd name="connsiteX61" fmla="*/ 42455 w 130102"/>
                <a:gd name="connsiteY61" fmla="*/ 72191 h 111558"/>
                <a:gd name="connsiteX62" fmla="*/ 41063 w 130102"/>
                <a:gd name="connsiteY62" fmla="*/ 71778 h 111558"/>
                <a:gd name="connsiteX63" fmla="*/ 39611 w 130102"/>
                <a:gd name="connsiteY63" fmla="*/ 70534 h 111558"/>
                <a:gd name="connsiteX64" fmla="*/ 34243 w 130102"/>
                <a:gd name="connsiteY64" fmla="*/ 65203 h 111558"/>
                <a:gd name="connsiteX65" fmla="*/ 37897 w 130102"/>
                <a:gd name="connsiteY65" fmla="*/ 67787 h 111558"/>
                <a:gd name="connsiteX66" fmla="*/ 38242 w 130102"/>
                <a:gd name="connsiteY66" fmla="*/ 68741 h 111558"/>
                <a:gd name="connsiteX67" fmla="*/ 35483 w 130102"/>
                <a:gd name="connsiteY67" fmla="*/ 66947 h 111558"/>
                <a:gd name="connsiteX68" fmla="*/ 34437 w 130102"/>
                <a:gd name="connsiteY68" fmla="*/ 65741 h 111558"/>
                <a:gd name="connsiteX69" fmla="*/ 29804 w 130102"/>
                <a:gd name="connsiteY69" fmla="*/ 64924 h 111558"/>
                <a:gd name="connsiteX70" fmla="*/ 31738 w 130102"/>
                <a:gd name="connsiteY70" fmla="*/ 66300 h 111558"/>
                <a:gd name="connsiteX71" fmla="*/ 36962 w 130102"/>
                <a:gd name="connsiteY71" fmla="*/ 71573 h 111558"/>
                <a:gd name="connsiteX72" fmla="*/ 37277 w 130102"/>
                <a:gd name="connsiteY72" fmla="*/ 71969 h 111558"/>
                <a:gd name="connsiteX73" fmla="*/ 37247 w 130102"/>
                <a:gd name="connsiteY73" fmla="*/ 72239 h 111558"/>
                <a:gd name="connsiteX74" fmla="*/ 36100 w 130102"/>
                <a:gd name="connsiteY74" fmla="*/ 71858 h 111558"/>
                <a:gd name="connsiteX75" fmla="*/ 35791 w 130102"/>
                <a:gd name="connsiteY75" fmla="*/ 71981 h 111558"/>
                <a:gd name="connsiteX76" fmla="*/ 30384 w 130102"/>
                <a:gd name="connsiteY76" fmla="*/ 66074 h 111558"/>
                <a:gd name="connsiteX77" fmla="*/ 27080 w 130102"/>
                <a:gd name="connsiteY77" fmla="*/ 50537 h 111558"/>
                <a:gd name="connsiteX78" fmla="*/ 28449 w 130102"/>
                <a:gd name="connsiteY78" fmla="*/ 51863 h 111558"/>
                <a:gd name="connsiteX79" fmla="*/ 29590 w 130102"/>
                <a:gd name="connsiteY79" fmla="*/ 52692 h 111558"/>
                <a:gd name="connsiteX80" fmla="*/ 30533 w 130102"/>
                <a:gd name="connsiteY80" fmla="*/ 52894 h 111558"/>
                <a:gd name="connsiteX81" fmla="*/ 32930 w 130102"/>
                <a:gd name="connsiteY81" fmla="*/ 54978 h 111558"/>
                <a:gd name="connsiteX82" fmla="*/ 35286 w 130102"/>
                <a:gd name="connsiteY82" fmla="*/ 57656 h 111558"/>
                <a:gd name="connsiteX83" fmla="*/ 38093 w 130102"/>
                <a:gd name="connsiteY83" fmla="*/ 59980 h 111558"/>
                <a:gd name="connsiteX84" fmla="*/ 37510 w 130102"/>
                <a:gd name="connsiteY84" fmla="*/ 60052 h 111558"/>
                <a:gd name="connsiteX85" fmla="*/ 36955 w 130102"/>
                <a:gd name="connsiteY85" fmla="*/ 60373 h 111558"/>
                <a:gd name="connsiteX86" fmla="*/ 36383 w 130102"/>
                <a:gd name="connsiteY86" fmla="*/ 61094 h 111558"/>
                <a:gd name="connsiteX87" fmla="*/ 34954 w 130102"/>
                <a:gd name="connsiteY87" fmla="*/ 59765 h 111558"/>
                <a:gd name="connsiteX88" fmla="*/ 33641 w 130102"/>
                <a:gd name="connsiteY88" fmla="*/ 58817 h 111558"/>
                <a:gd name="connsiteX89" fmla="*/ 32701 w 130102"/>
                <a:gd name="connsiteY89" fmla="*/ 57695 h 111558"/>
                <a:gd name="connsiteX90" fmla="*/ 30859 w 130102"/>
                <a:gd name="connsiteY90" fmla="*/ 56295 h 111558"/>
                <a:gd name="connsiteX91" fmla="*/ 30237 w 130102"/>
                <a:gd name="connsiteY91" fmla="*/ 54693 h 111558"/>
                <a:gd name="connsiteX92" fmla="*/ 27491 w 130102"/>
                <a:gd name="connsiteY92" fmla="*/ 51425 h 111558"/>
                <a:gd name="connsiteX93" fmla="*/ 25944 w 130102"/>
                <a:gd name="connsiteY93" fmla="*/ 46425 h 111558"/>
                <a:gd name="connsiteX94" fmla="*/ 27353 w 130102"/>
                <a:gd name="connsiteY94" fmla="*/ 46516 h 111558"/>
                <a:gd name="connsiteX95" fmla="*/ 27564 w 130102"/>
                <a:gd name="connsiteY95" fmla="*/ 47155 h 111558"/>
                <a:gd name="connsiteX96" fmla="*/ 29061 w 130102"/>
                <a:gd name="connsiteY96" fmla="*/ 48859 h 111558"/>
                <a:gd name="connsiteX97" fmla="*/ 29618 w 130102"/>
                <a:gd name="connsiteY97" fmla="*/ 50061 h 111558"/>
                <a:gd name="connsiteX98" fmla="*/ 27536 w 130102"/>
                <a:gd name="connsiteY98" fmla="*/ 48976 h 111558"/>
                <a:gd name="connsiteX99" fmla="*/ 25672 w 130102"/>
                <a:gd name="connsiteY99" fmla="*/ 48561 h 111558"/>
                <a:gd name="connsiteX100" fmla="*/ 25277 w 130102"/>
                <a:gd name="connsiteY100" fmla="*/ 47744 h 111558"/>
                <a:gd name="connsiteX101" fmla="*/ 25545 w 130102"/>
                <a:gd name="connsiteY101" fmla="*/ 47074 h 111558"/>
                <a:gd name="connsiteX102" fmla="*/ 18596 w 130102"/>
                <a:gd name="connsiteY102" fmla="*/ 37698 h 111558"/>
                <a:gd name="connsiteX103" fmla="*/ 18838 w 130102"/>
                <a:gd name="connsiteY103" fmla="*/ 40065 h 111558"/>
                <a:gd name="connsiteX104" fmla="*/ 19382 w 130102"/>
                <a:gd name="connsiteY104" fmla="*/ 41424 h 111558"/>
                <a:gd name="connsiteX105" fmla="*/ 21010 w 130102"/>
                <a:gd name="connsiteY105" fmla="*/ 43092 h 111558"/>
                <a:gd name="connsiteX106" fmla="*/ 20682 w 130102"/>
                <a:gd name="connsiteY106" fmla="*/ 45851 h 111558"/>
                <a:gd name="connsiteX107" fmla="*/ 21015 w 130102"/>
                <a:gd name="connsiteY107" fmla="*/ 49774 h 111558"/>
                <a:gd name="connsiteX108" fmla="*/ 21345 w 130102"/>
                <a:gd name="connsiteY108" fmla="*/ 50646 h 111558"/>
                <a:gd name="connsiteX109" fmla="*/ 21468 w 130102"/>
                <a:gd name="connsiteY109" fmla="*/ 51553 h 111558"/>
                <a:gd name="connsiteX110" fmla="*/ 21297 w 130102"/>
                <a:gd name="connsiteY110" fmla="*/ 52610 h 111558"/>
                <a:gd name="connsiteX111" fmla="*/ 19952 w 130102"/>
                <a:gd name="connsiteY111" fmla="*/ 51274 h 111558"/>
                <a:gd name="connsiteX112" fmla="*/ 19274 w 130102"/>
                <a:gd name="connsiteY112" fmla="*/ 48876 h 111558"/>
                <a:gd name="connsiteX113" fmla="*/ 17583 w 130102"/>
                <a:gd name="connsiteY113" fmla="*/ 44999 h 111558"/>
                <a:gd name="connsiteX114" fmla="*/ 17365 w 130102"/>
                <a:gd name="connsiteY114" fmla="*/ 43906 h 111558"/>
                <a:gd name="connsiteX115" fmla="*/ 18242 w 130102"/>
                <a:gd name="connsiteY115" fmla="*/ 42826 h 111558"/>
                <a:gd name="connsiteX116" fmla="*/ 18195 w 130102"/>
                <a:gd name="connsiteY116" fmla="*/ 41732 h 111558"/>
                <a:gd name="connsiteX117" fmla="*/ 16996 w 130102"/>
                <a:gd name="connsiteY117" fmla="*/ 38322 h 111558"/>
                <a:gd name="connsiteX118" fmla="*/ 18000 w 130102"/>
                <a:gd name="connsiteY118" fmla="*/ 37765 h 111558"/>
                <a:gd name="connsiteX119" fmla="*/ 23304 w 130102"/>
                <a:gd name="connsiteY119" fmla="*/ 36128 h 111558"/>
                <a:gd name="connsiteX120" fmla="*/ 24606 w 130102"/>
                <a:gd name="connsiteY120" fmla="*/ 37408 h 111558"/>
                <a:gd name="connsiteX121" fmla="*/ 26180 w 130102"/>
                <a:gd name="connsiteY121" fmla="*/ 39816 h 111558"/>
                <a:gd name="connsiteX122" fmla="*/ 27020 w 130102"/>
                <a:gd name="connsiteY122" fmla="*/ 40488 h 111558"/>
                <a:gd name="connsiteX123" fmla="*/ 28592 w 130102"/>
                <a:gd name="connsiteY123" fmla="*/ 42905 h 111558"/>
                <a:gd name="connsiteX124" fmla="*/ 25867 w 130102"/>
                <a:gd name="connsiteY124" fmla="*/ 43491 h 111558"/>
                <a:gd name="connsiteX125" fmla="*/ 24569 w 130102"/>
                <a:gd name="connsiteY125" fmla="*/ 42443 h 111558"/>
                <a:gd name="connsiteX126" fmla="*/ 24230 w 130102"/>
                <a:gd name="connsiteY126" fmla="*/ 41583 h 111558"/>
                <a:gd name="connsiteX127" fmla="*/ 21991 w 130102"/>
                <a:gd name="connsiteY127" fmla="*/ 41310 h 111558"/>
                <a:gd name="connsiteX128" fmla="*/ 20635 w 130102"/>
                <a:gd name="connsiteY128" fmla="*/ 40112 h 111558"/>
                <a:gd name="connsiteX129" fmla="*/ 20358 w 130102"/>
                <a:gd name="connsiteY129" fmla="*/ 39581 h 111558"/>
                <a:gd name="connsiteX130" fmla="*/ 22276 w 130102"/>
                <a:gd name="connsiteY130" fmla="*/ 38262 h 111558"/>
                <a:gd name="connsiteX131" fmla="*/ 62002 w 130102"/>
                <a:gd name="connsiteY131" fmla="*/ 0 h 111558"/>
                <a:gd name="connsiteX132" fmla="*/ 64356 w 130102"/>
                <a:gd name="connsiteY132" fmla="*/ 284 h 111558"/>
                <a:gd name="connsiteX133" fmla="*/ 66314 w 130102"/>
                <a:gd name="connsiteY133" fmla="*/ 964 h 111558"/>
                <a:gd name="connsiteX134" fmla="*/ 67502 w 130102"/>
                <a:gd name="connsiteY134" fmla="*/ 1378 h 111558"/>
                <a:gd name="connsiteX135" fmla="*/ 71441 w 130102"/>
                <a:gd name="connsiteY135" fmla="*/ 3281 h 111558"/>
                <a:gd name="connsiteX136" fmla="*/ 74170 w 130102"/>
                <a:gd name="connsiteY136" fmla="*/ 5419 h 111558"/>
                <a:gd name="connsiteX137" fmla="*/ 75684 w 130102"/>
                <a:gd name="connsiteY137" fmla="*/ 7791 h 111558"/>
                <a:gd name="connsiteX138" fmla="*/ 77735 w 130102"/>
                <a:gd name="connsiteY138" fmla="*/ 9628 h 111558"/>
                <a:gd name="connsiteX139" fmla="*/ 80320 w 130102"/>
                <a:gd name="connsiteY139" fmla="*/ 10927 h 111558"/>
                <a:gd name="connsiteX140" fmla="*/ 82367 w 130102"/>
                <a:gd name="connsiteY140" fmla="*/ 12689 h 111558"/>
                <a:gd name="connsiteX141" fmla="*/ 83881 w 130102"/>
                <a:gd name="connsiteY141" fmla="*/ 14912 h 111558"/>
                <a:gd name="connsiteX142" fmla="*/ 85997 w 130102"/>
                <a:gd name="connsiteY142" fmla="*/ 16156 h 111558"/>
                <a:gd name="connsiteX143" fmla="*/ 88714 w 130102"/>
                <a:gd name="connsiteY143" fmla="*/ 16426 h 111558"/>
                <a:gd name="connsiteX144" fmla="*/ 90435 w 130102"/>
                <a:gd name="connsiteY144" fmla="*/ 17186 h 111558"/>
                <a:gd name="connsiteX145" fmla="*/ 91156 w 130102"/>
                <a:gd name="connsiteY145" fmla="*/ 18438 h 111558"/>
                <a:gd name="connsiteX146" fmla="*/ 92633 w 130102"/>
                <a:gd name="connsiteY146" fmla="*/ 19572 h 111558"/>
                <a:gd name="connsiteX147" fmla="*/ 94859 w 130102"/>
                <a:gd name="connsiteY147" fmla="*/ 20586 h 111558"/>
                <a:gd name="connsiteX148" fmla="*/ 98325 w 130102"/>
                <a:gd name="connsiteY148" fmla="*/ 21142 h 111558"/>
                <a:gd name="connsiteX149" fmla="*/ 104961 w 130102"/>
                <a:gd name="connsiteY149" fmla="*/ 21274 h 111558"/>
                <a:gd name="connsiteX150" fmla="*/ 105550 w 130102"/>
                <a:gd name="connsiteY150" fmla="*/ 21302 h 111558"/>
                <a:gd name="connsiteX151" fmla="*/ 107047 w 130102"/>
                <a:gd name="connsiteY151" fmla="*/ 21617 h 111558"/>
                <a:gd name="connsiteX152" fmla="*/ 108794 w 130102"/>
                <a:gd name="connsiteY152" fmla="*/ 21223 h 111558"/>
                <a:gd name="connsiteX153" fmla="*/ 110923 w 130102"/>
                <a:gd name="connsiteY153" fmla="*/ 20429 h 111558"/>
                <a:gd name="connsiteX154" fmla="*/ 111609 w 130102"/>
                <a:gd name="connsiteY154" fmla="*/ 19956 h 111558"/>
                <a:gd name="connsiteX155" fmla="*/ 113851 w 130102"/>
                <a:gd name="connsiteY155" fmla="*/ 17359 h 111558"/>
                <a:gd name="connsiteX156" fmla="*/ 115084 w 130102"/>
                <a:gd name="connsiteY156" fmla="*/ 17583 h 111558"/>
                <a:gd name="connsiteX157" fmla="*/ 117544 w 130102"/>
                <a:gd name="connsiteY157" fmla="*/ 17266 h 111558"/>
                <a:gd name="connsiteX158" fmla="*/ 119031 w 130102"/>
                <a:gd name="connsiteY158" fmla="*/ 16690 h 111558"/>
                <a:gd name="connsiteX159" fmla="*/ 119144 w 130102"/>
                <a:gd name="connsiteY159" fmla="*/ 16690 h 111558"/>
                <a:gd name="connsiteX160" fmla="*/ 119049 w 130102"/>
                <a:gd name="connsiteY160" fmla="*/ 17355 h 111558"/>
                <a:gd name="connsiteX161" fmla="*/ 118882 w 130102"/>
                <a:gd name="connsiteY161" fmla="*/ 18516 h 111558"/>
                <a:gd name="connsiteX162" fmla="*/ 117677 w 130102"/>
                <a:gd name="connsiteY162" fmla="*/ 19338 h 111558"/>
                <a:gd name="connsiteX163" fmla="*/ 118904 w 130102"/>
                <a:gd name="connsiteY163" fmla="*/ 21229 h 111558"/>
                <a:gd name="connsiteX164" fmla="*/ 120070 w 130102"/>
                <a:gd name="connsiteY164" fmla="*/ 24293 h 111558"/>
                <a:gd name="connsiteX165" fmla="*/ 119420 w 130102"/>
                <a:gd name="connsiteY165" fmla="*/ 25806 h 111558"/>
                <a:gd name="connsiteX166" fmla="*/ 120212 w 130102"/>
                <a:gd name="connsiteY166" fmla="*/ 26983 h 111558"/>
                <a:gd name="connsiteX167" fmla="*/ 122454 w 130102"/>
                <a:gd name="connsiteY167" fmla="*/ 27828 h 111558"/>
                <a:gd name="connsiteX168" fmla="*/ 122657 w 130102"/>
                <a:gd name="connsiteY168" fmla="*/ 28165 h 111558"/>
                <a:gd name="connsiteX169" fmla="*/ 121972 w 130102"/>
                <a:gd name="connsiteY169" fmla="*/ 28517 h 111558"/>
                <a:gd name="connsiteX170" fmla="*/ 121405 w 130102"/>
                <a:gd name="connsiteY170" fmla="*/ 29516 h 111558"/>
                <a:gd name="connsiteX171" fmla="*/ 121340 w 130102"/>
                <a:gd name="connsiteY171" fmla="*/ 31336 h 111558"/>
                <a:gd name="connsiteX172" fmla="*/ 123294 w 130102"/>
                <a:gd name="connsiteY172" fmla="*/ 33054 h 111558"/>
                <a:gd name="connsiteX173" fmla="*/ 127269 w 130102"/>
                <a:gd name="connsiteY173" fmla="*/ 34670 h 111558"/>
                <a:gd name="connsiteX174" fmla="*/ 128539 w 130102"/>
                <a:gd name="connsiteY174" fmla="*/ 34941 h 111558"/>
                <a:gd name="connsiteX175" fmla="*/ 129025 w 130102"/>
                <a:gd name="connsiteY175" fmla="*/ 35562 h 111558"/>
                <a:gd name="connsiteX176" fmla="*/ 129690 w 130102"/>
                <a:gd name="connsiteY176" fmla="*/ 35968 h 111558"/>
                <a:gd name="connsiteX177" fmla="*/ 130081 w 130102"/>
                <a:gd name="connsiteY177" fmla="*/ 36464 h 111558"/>
                <a:gd name="connsiteX178" fmla="*/ 130102 w 130102"/>
                <a:gd name="connsiteY178" fmla="*/ 37105 h 111558"/>
                <a:gd name="connsiteX179" fmla="*/ 129818 w 130102"/>
                <a:gd name="connsiteY179" fmla="*/ 37545 h 111558"/>
                <a:gd name="connsiteX180" fmla="*/ 127937 w 130102"/>
                <a:gd name="connsiteY180" fmla="*/ 37702 h 111558"/>
                <a:gd name="connsiteX181" fmla="*/ 125790 w 130102"/>
                <a:gd name="connsiteY181" fmla="*/ 37688 h 111558"/>
                <a:gd name="connsiteX182" fmla="*/ 124264 w 130102"/>
                <a:gd name="connsiteY182" fmla="*/ 36909 h 111558"/>
                <a:gd name="connsiteX183" fmla="*/ 124128 w 130102"/>
                <a:gd name="connsiteY183" fmla="*/ 37477 h 111558"/>
                <a:gd name="connsiteX184" fmla="*/ 124104 w 130102"/>
                <a:gd name="connsiteY184" fmla="*/ 38128 h 111558"/>
                <a:gd name="connsiteX185" fmla="*/ 122627 w 130102"/>
                <a:gd name="connsiteY185" fmla="*/ 38525 h 111558"/>
                <a:gd name="connsiteX186" fmla="*/ 123447 w 130102"/>
                <a:gd name="connsiteY186" fmla="*/ 42995 h 111558"/>
                <a:gd name="connsiteX187" fmla="*/ 123121 w 130102"/>
                <a:gd name="connsiteY187" fmla="*/ 44279 h 111558"/>
                <a:gd name="connsiteX188" fmla="*/ 122575 w 130102"/>
                <a:gd name="connsiteY188" fmla="*/ 44710 h 111558"/>
                <a:gd name="connsiteX189" fmla="*/ 122067 w 130102"/>
                <a:gd name="connsiteY189" fmla="*/ 44531 h 111558"/>
                <a:gd name="connsiteX190" fmla="*/ 121448 w 130102"/>
                <a:gd name="connsiteY190" fmla="*/ 44481 h 111558"/>
                <a:gd name="connsiteX191" fmla="*/ 121137 w 130102"/>
                <a:gd name="connsiteY191" fmla="*/ 44900 h 111558"/>
                <a:gd name="connsiteX192" fmla="*/ 121394 w 130102"/>
                <a:gd name="connsiteY192" fmla="*/ 45851 h 111558"/>
                <a:gd name="connsiteX193" fmla="*/ 119938 w 130102"/>
                <a:gd name="connsiteY193" fmla="*/ 45960 h 111558"/>
                <a:gd name="connsiteX194" fmla="*/ 117619 w 130102"/>
                <a:gd name="connsiteY194" fmla="*/ 45467 h 111558"/>
                <a:gd name="connsiteX195" fmla="*/ 116557 w 130102"/>
                <a:gd name="connsiteY195" fmla="*/ 44603 h 111558"/>
                <a:gd name="connsiteX196" fmla="*/ 116375 w 130102"/>
                <a:gd name="connsiteY196" fmla="*/ 43720 h 111558"/>
                <a:gd name="connsiteX197" fmla="*/ 116358 w 130102"/>
                <a:gd name="connsiteY197" fmla="*/ 42900 h 111558"/>
                <a:gd name="connsiteX198" fmla="*/ 115622 w 130102"/>
                <a:gd name="connsiteY198" fmla="*/ 41553 h 111558"/>
                <a:gd name="connsiteX199" fmla="*/ 113776 w 130102"/>
                <a:gd name="connsiteY199" fmla="*/ 40161 h 111558"/>
                <a:gd name="connsiteX200" fmla="*/ 109921 w 130102"/>
                <a:gd name="connsiteY200" fmla="*/ 39931 h 111558"/>
                <a:gd name="connsiteX201" fmla="*/ 108498 w 130102"/>
                <a:gd name="connsiteY201" fmla="*/ 39489 h 111558"/>
                <a:gd name="connsiteX202" fmla="*/ 107032 w 130102"/>
                <a:gd name="connsiteY202" fmla="*/ 38981 h 111558"/>
                <a:gd name="connsiteX203" fmla="*/ 105425 w 130102"/>
                <a:gd name="connsiteY203" fmla="*/ 38605 h 111558"/>
                <a:gd name="connsiteX204" fmla="*/ 103944 w 130102"/>
                <a:gd name="connsiteY204" fmla="*/ 38643 h 111558"/>
                <a:gd name="connsiteX205" fmla="*/ 102158 w 130102"/>
                <a:gd name="connsiteY205" fmla="*/ 39013 h 111558"/>
                <a:gd name="connsiteX206" fmla="*/ 99042 w 130102"/>
                <a:gd name="connsiteY206" fmla="*/ 38400 h 111558"/>
                <a:gd name="connsiteX207" fmla="*/ 97988 w 130102"/>
                <a:gd name="connsiteY207" fmla="*/ 39218 h 111558"/>
                <a:gd name="connsiteX208" fmla="*/ 96347 w 130102"/>
                <a:gd name="connsiteY208" fmla="*/ 40166 h 111558"/>
                <a:gd name="connsiteX209" fmla="*/ 94984 w 130102"/>
                <a:gd name="connsiteY209" fmla="*/ 40142 h 111558"/>
                <a:gd name="connsiteX210" fmla="*/ 92272 w 130102"/>
                <a:gd name="connsiteY210" fmla="*/ 37945 h 111558"/>
                <a:gd name="connsiteX211" fmla="*/ 91463 w 130102"/>
                <a:gd name="connsiteY211" fmla="*/ 37806 h 111558"/>
                <a:gd name="connsiteX212" fmla="*/ 89091 w 130102"/>
                <a:gd name="connsiteY212" fmla="*/ 38926 h 111558"/>
                <a:gd name="connsiteX213" fmla="*/ 88126 w 130102"/>
                <a:gd name="connsiteY213" fmla="*/ 38986 h 111558"/>
                <a:gd name="connsiteX214" fmla="*/ 87386 w 130102"/>
                <a:gd name="connsiteY214" fmla="*/ 38632 h 111558"/>
                <a:gd name="connsiteX215" fmla="*/ 84179 w 130102"/>
                <a:gd name="connsiteY215" fmla="*/ 37793 h 111558"/>
                <a:gd name="connsiteX216" fmla="*/ 82732 w 130102"/>
                <a:gd name="connsiteY216" fmla="*/ 37612 h 111558"/>
                <a:gd name="connsiteX217" fmla="*/ 81670 w 130102"/>
                <a:gd name="connsiteY217" fmla="*/ 38009 h 111558"/>
                <a:gd name="connsiteX218" fmla="*/ 79785 w 130102"/>
                <a:gd name="connsiteY218" fmla="*/ 37579 h 111558"/>
                <a:gd name="connsiteX219" fmla="*/ 75213 w 130102"/>
                <a:gd name="connsiteY219" fmla="*/ 34708 h 111558"/>
                <a:gd name="connsiteX220" fmla="*/ 72387 w 130102"/>
                <a:gd name="connsiteY220" fmla="*/ 36891 h 111558"/>
                <a:gd name="connsiteX221" fmla="*/ 66634 w 130102"/>
                <a:gd name="connsiteY221" fmla="*/ 36348 h 111558"/>
                <a:gd name="connsiteX222" fmla="*/ 64928 w 130102"/>
                <a:gd name="connsiteY222" fmla="*/ 37846 h 111558"/>
                <a:gd name="connsiteX223" fmla="*/ 62972 w 130102"/>
                <a:gd name="connsiteY223" fmla="*/ 40683 h 111558"/>
                <a:gd name="connsiteX224" fmla="*/ 61387 w 130102"/>
                <a:gd name="connsiteY224" fmla="*/ 42037 h 111558"/>
                <a:gd name="connsiteX225" fmla="*/ 60009 w 130102"/>
                <a:gd name="connsiteY225" fmla="*/ 41551 h 111558"/>
                <a:gd name="connsiteX226" fmla="*/ 58379 w 130102"/>
                <a:gd name="connsiteY226" fmla="*/ 40303 h 111558"/>
                <a:gd name="connsiteX227" fmla="*/ 55526 w 130102"/>
                <a:gd name="connsiteY227" fmla="*/ 37091 h 111558"/>
                <a:gd name="connsiteX228" fmla="*/ 54086 w 130102"/>
                <a:gd name="connsiteY228" fmla="*/ 36511 h 111558"/>
                <a:gd name="connsiteX229" fmla="*/ 52429 w 130102"/>
                <a:gd name="connsiteY229" fmla="*/ 36375 h 111558"/>
                <a:gd name="connsiteX230" fmla="*/ 50983 w 130102"/>
                <a:gd name="connsiteY230" fmla="*/ 36730 h 111558"/>
                <a:gd name="connsiteX231" fmla="*/ 50214 w 130102"/>
                <a:gd name="connsiteY231" fmla="*/ 37382 h 111558"/>
                <a:gd name="connsiteX232" fmla="*/ 49626 w 130102"/>
                <a:gd name="connsiteY232" fmla="*/ 42073 h 111558"/>
                <a:gd name="connsiteX233" fmla="*/ 49106 w 130102"/>
                <a:gd name="connsiteY233" fmla="*/ 46200 h 111558"/>
                <a:gd name="connsiteX234" fmla="*/ 49076 w 130102"/>
                <a:gd name="connsiteY234" fmla="*/ 48671 h 111558"/>
                <a:gd name="connsiteX235" fmla="*/ 52248 w 130102"/>
                <a:gd name="connsiteY235" fmla="*/ 50957 h 111558"/>
                <a:gd name="connsiteX236" fmla="*/ 55984 w 130102"/>
                <a:gd name="connsiteY236" fmla="*/ 54887 h 111558"/>
                <a:gd name="connsiteX237" fmla="*/ 57187 w 130102"/>
                <a:gd name="connsiteY237" fmla="*/ 55338 h 111558"/>
                <a:gd name="connsiteX238" fmla="*/ 57781 w 130102"/>
                <a:gd name="connsiteY238" fmla="*/ 56624 h 111558"/>
                <a:gd name="connsiteX239" fmla="*/ 58655 w 130102"/>
                <a:gd name="connsiteY239" fmla="*/ 59931 h 111558"/>
                <a:gd name="connsiteX240" fmla="*/ 59637 w 130102"/>
                <a:gd name="connsiteY240" fmla="*/ 63645 h 111558"/>
                <a:gd name="connsiteX241" fmla="*/ 61536 w 130102"/>
                <a:gd name="connsiteY241" fmla="*/ 66102 h 111558"/>
                <a:gd name="connsiteX242" fmla="*/ 63248 w 130102"/>
                <a:gd name="connsiteY242" fmla="*/ 67859 h 111558"/>
                <a:gd name="connsiteX243" fmla="*/ 65338 w 130102"/>
                <a:gd name="connsiteY243" fmla="*/ 69403 h 111558"/>
                <a:gd name="connsiteX244" fmla="*/ 67957 w 130102"/>
                <a:gd name="connsiteY244" fmla="*/ 71822 h 111558"/>
                <a:gd name="connsiteX245" fmla="*/ 70106 w 130102"/>
                <a:gd name="connsiteY245" fmla="*/ 74474 h 111558"/>
                <a:gd name="connsiteX246" fmla="*/ 70676 w 130102"/>
                <a:gd name="connsiteY246" fmla="*/ 75452 h 111558"/>
                <a:gd name="connsiteX247" fmla="*/ 74842 w 130102"/>
                <a:gd name="connsiteY247" fmla="*/ 78954 h 111558"/>
                <a:gd name="connsiteX248" fmla="*/ 78882 w 130102"/>
                <a:gd name="connsiteY248" fmla="*/ 82524 h 111558"/>
                <a:gd name="connsiteX249" fmla="*/ 82497 w 130102"/>
                <a:gd name="connsiteY249" fmla="*/ 83772 h 111558"/>
                <a:gd name="connsiteX250" fmla="*/ 83067 w 130102"/>
                <a:gd name="connsiteY250" fmla="*/ 84431 h 111558"/>
                <a:gd name="connsiteX251" fmla="*/ 83099 w 130102"/>
                <a:gd name="connsiteY251" fmla="*/ 87172 h 111558"/>
                <a:gd name="connsiteX252" fmla="*/ 83492 w 130102"/>
                <a:gd name="connsiteY252" fmla="*/ 88200 h 111558"/>
                <a:gd name="connsiteX253" fmla="*/ 85906 w 130102"/>
                <a:gd name="connsiteY253" fmla="*/ 91066 h 111558"/>
                <a:gd name="connsiteX254" fmla="*/ 90828 w 130102"/>
                <a:gd name="connsiteY254" fmla="*/ 95255 h 111558"/>
                <a:gd name="connsiteX255" fmla="*/ 91396 w 130102"/>
                <a:gd name="connsiteY255" fmla="*/ 96225 h 111558"/>
                <a:gd name="connsiteX256" fmla="*/ 91558 w 130102"/>
                <a:gd name="connsiteY256" fmla="*/ 96935 h 111558"/>
                <a:gd name="connsiteX257" fmla="*/ 91240 w 130102"/>
                <a:gd name="connsiteY257" fmla="*/ 97480 h 111558"/>
                <a:gd name="connsiteX258" fmla="*/ 89951 w 130102"/>
                <a:gd name="connsiteY258" fmla="*/ 98053 h 111558"/>
                <a:gd name="connsiteX259" fmla="*/ 88893 w 130102"/>
                <a:gd name="connsiteY259" fmla="*/ 97413 h 111558"/>
                <a:gd name="connsiteX260" fmla="*/ 84306 w 130102"/>
                <a:gd name="connsiteY260" fmla="*/ 93321 h 111558"/>
                <a:gd name="connsiteX261" fmla="*/ 79873 w 130102"/>
                <a:gd name="connsiteY261" fmla="*/ 90738 h 111558"/>
                <a:gd name="connsiteX262" fmla="*/ 74870 w 130102"/>
                <a:gd name="connsiteY262" fmla="*/ 85865 h 111558"/>
                <a:gd name="connsiteX263" fmla="*/ 68173 w 130102"/>
                <a:gd name="connsiteY263" fmla="*/ 83938 h 111558"/>
                <a:gd name="connsiteX264" fmla="*/ 63611 w 130102"/>
                <a:gd name="connsiteY264" fmla="*/ 81802 h 111558"/>
                <a:gd name="connsiteX265" fmla="*/ 60847 w 130102"/>
                <a:gd name="connsiteY265" fmla="*/ 82129 h 111558"/>
                <a:gd name="connsiteX266" fmla="*/ 57798 w 130102"/>
                <a:gd name="connsiteY266" fmla="*/ 82801 h 111558"/>
                <a:gd name="connsiteX267" fmla="*/ 55917 w 130102"/>
                <a:gd name="connsiteY267" fmla="*/ 82822 h 111558"/>
                <a:gd name="connsiteX268" fmla="*/ 54580 w 130102"/>
                <a:gd name="connsiteY268" fmla="*/ 82438 h 111558"/>
                <a:gd name="connsiteX269" fmla="*/ 53630 w 130102"/>
                <a:gd name="connsiteY269" fmla="*/ 81113 h 111558"/>
                <a:gd name="connsiteX270" fmla="*/ 53775 w 130102"/>
                <a:gd name="connsiteY270" fmla="*/ 80088 h 111558"/>
                <a:gd name="connsiteX271" fmla="*/ 53606 w 130102"/>
                <a:gd name="connsiteY271" fmla="*/ 78749 h 111558"/>
                <a:gd name="connsiteX272" fmla="*/ 50933 w 130102"/>
                <a:gd name="connsiteY272" fmla="*/ 76610 h 111558"/>
                <a:gd name="connsiteX273" fmla="*/ 47286 w 130102"/>
                <a:gd name="connsiteY273" fmla="*/ 74575 h 111558"/>
                <a:gd name="connsiteX274" fmla="*/ 43831 w 130102"/>
                <a:gd name="connsiteY274" fmla="*/ 71940 h 111558"/>
                <a:gd name="connsiteX275" fmla="*/ 36897 w 130102"/>
                <a:gd name="connsiteY275" fmla="*/ 64811 h 111558"/>
                <a:gd name="connsiteX276" fmla="*/ 35506 w 130102"/>
                <a:gd name="connsiteY276" fmla="*/ 62516 h 111558"/>
                <a:gd name="connsiteX277" fmla="*/ 36871 w 130102"/>
                <a:gd name="connsiteY277" fmla="*/ 62079 h 111558"/>
                <a:gd name="connsiteX278" fmla="*/ 37903 w 130102"/>
                <a:gd name="connsiteY278" fmla="*/ 62118 h 111558"/>
                <a:gd name="connsiteX279" fmla="*/ 39074 w 130102"/>
                <a:gd name="connsiteY279" fmla="*/ 61647 h 111558"/>
                <a:gd name="connsiteX280" fmla="*/ 40963 w 130102"/>
                <a:gd name="connsiteY280" fmla="*/ 61635 h 111558"/>
                <a:gd name="connsiteX281" fmla="*/ 43202 w 130102"/>
                <a:gd name="connsiteY281" fmla="*/ 62104 h 111558"/>
                <a:gd name="connsiteX282" fmla="*/ 41220 w 130102"/>
                <a:gd name="connsiteY282" fmla="*/ 60576 h 111558"/>
                <a:gd name="connsiteX283" fmla="*/ 38754 w 130102"/>
                <a:gd name="connsiteY283" fmla="*/ 59076 h 111558"/>
                <a:gd name="connsiteX284" fmla="*/ 32375 w 130102"/>
                <a:gd name="connsiteY284" fmla="*/ 53109 h 111558"/>
                <a:gd name="connsiteX285" fmla="*/ 30471 w 130102"/>
                <a:gd name="connsiteY285" fmla="*/ 50286 h 111558"/>
                <a:gd name="connsiteX286" fmla="*/ 30250 w 130102"/>
                <a:gd name="connsiteY286" fmla="*/ 47241 h 111558"/>
                <a:gd name="connsiteX287" fmla="*/ 30721 w 130102"/>
                <a:gd name="connsiteY287" fmla="*/ 43060 h 111558"/>
                <a:gd name="connsiteX288" fmla="*/ 29572 w 130102"/>
                <a:gd name="connsiteY288" fmla="*/ 40063 h 111558"/>
                <a:gd name="connsiteX289" fmla="*/ 24651 w 130102"/>
                <a:gd name="connsiteY289" fmla="*/ 36179 h 111558"/>
                <a:gd name="connsiteX290" fmla="*/ 22848 w 130102"/>
                <a:gd name="connsiteY290" fmla="*/ 34128 h 111558"/>
                <a:gd name="connsiteX291" fmla="*/ 19214 w 130102"/>
                <a:gd name="connsiteY291" fmla="*/ 32910 h 111558"/>
                <a:gd name="connsiteX292" fmla="*/ 17590 w 130102"/>
                <a:gd name="connsiteY292" fmla="*/ 33030 h 111558"/>
                <a:gd name="connsiteX293" fmla="*/ 16614 w 130102"/>
                <a:gd name="connsiteY293" fmla="*/ 34545 h 111558"/>
                <a:gd name="connsiteX294" fmla="*/ 15901 w 130102"/>
                <a:gd name="connsiteY294" fmla="*/ 37910 h 111558"/>
                <a:gd name="connsiteX295" fmla="*/ 12679 w 130102"/>
                <a:gd name="connsiteY295" fmla="*/ 42343 h 111558"/>
                <a:gd name="connsiteX296" fmla="*/ 11604 w 130102"/>
                <a:gd name="connsiteY296" fmla="*/ 44267 h 111558"/>
                <a:gd name="connsiteX297" fmla="*/ 9920 w 130102"/>
                <a:gd name="connsiteY297" fmla="*/ 46766 h 111558"/>
                <a:gd name="connsiteX298" fmla="*/ 8460 w 130102"/>
                <a:gd name="connsiteY298" fmla="*/ 46938 h 111558"/>
                <a:gd name="connsiteX299" fmla="*/ 7596 w 130102"/>
                <a:gd name="connsiteY299" fmla="*/ 46718 h 111558"/>
                <a:gd name="connsiteX300" fmla="*/ 4981 w 130102"/>
                <a:gd name="connsiteY300" fmla="*/ 42510 h 111558"/>
                <a:gd name="connsiteX301" fmla="*/ 2478 w 130102"/>
                <a:gd name="connsiteY301" fmla="*/ 39319 h 111558"/>
                <a:gd name="connsiteX302" fmla="*/ 2129 w 130102"/>
                <a:gd name="connsiteY302" fmla="*/ 37807 h 111558"/>
                <a:gd name="connsiteX303" fmla="*/ 1904 w 130102"/>
                <a:gd name="connsiteY303" fmla="*/ 35946 h 111558"/>
                <a:gd name="connsiteX304" fmla="*/ 0 w 130102"/>
                <a:gd name="connsiteY304" fmla="*/ 29077 h 111558"/>
                <a:gd name="connsiteX305" fmla="*/ 1343 w 130102"/>
                <a:gd name="connsiteY305" fmla="*/ 28113 h 111558"/>
                <a:gd name="connsiteX306" fmla="*/ 2168 w 130102"/>
                <a:gd name="connsiteY306" fmla="*/ 29216 h 111558"/>
                <a:gd name="connsiteX307" fmla="*/ 7994 w 130102"/>
                <a:gd name="connsiteY307" fmla="*/ 30544 h 111558"/>
                <a:gd name="connsiteX308" fmla="*/ 9252 w 130102"/>
                <a:gd name="connsiteY308" fmla="*/ 29955 h 111558"/>
                <a:gd name="connsiteX309" fmla="*/ 10015 w 130102"/>
                <a:gd name="connsiteY309" fmla="*/ 29055 h 111558"/>
                <a:gd name="connsiteX310" fmla="*/ 10019 w 130102"/>
                <a:gd name="connsiteY310" fmla="*/ 28485 h 111558"/>
                <a:gd name="connsiteX311" fmla="*/ 10516 w 130102"/>
                <a:gd name="connsiteY311" fmla="*/ 28318 h 111558"/>
                <a:gd name="connsiteX312" fmla="*/ 12567 w 130102"/>
                <a:gd name="connsiteY312" fmla="*/ 29186 h 111558"/>
                <a:gd name="connsiteX313" fmla="*/ 14241 w 130102"/>
                <a:gd name="connsiteY313" fmla="*/ 28985 h 111558"/>
                <a:gd name="connsiteX314" fmla="*/ 16933 w 130102"/>
                <a:gd name="connsiteY314" fmla="*/ 28945 h 111558"/>
                <a:gd name="connsiteX315" fmla="*/ 18855 w 130102"/>
                <a:gd name="connsiteY315" fmla="*/ 29087 h 111558"/>
                <a:gd name="connsiteX316" fmla="*/ 20125 w 130102"/>
                <a:gd name="connsiteY316" fmla="*/ 28419 h 111558"/>
                <a:gd name="connsiteX317" fmla="*/ 21846 w 130102"/>
                <a:gd name="connsiteY317" fmla="*/ 25960 h 111558"/>
                <a:gd name="connsiteX318" fmla="*/ 22483 w 130102"/>
                <a:gd name="connsiteY318" fmla="*/ 24583 h 111558"/>
                <a:gd name="connsiteX319" fmla="*/ 23254 w 130102"/>
                <a:gd name="connsiteY319" fmla="*/ 24254 h 111558"/>
                <a:gd name="connsiteX320" fmla="*/ 23761 w 130102"/>
                <a:gd name="connsiteY320" fmla="*/ 24418 h 111558"/>
                <a:gd name="connsiteX321" fmla="*/ 24133 w 130102"/>
                <a:gd name="connsiteY321" fmla="*/ 25550 h 111558"/>
                <a:gd name="connsiteX322" fmla="*/ 25038 w 130102"/>
                <a:gd name="connsiteY322" fmla="*/ 26613 h 111558"/>
                <a:gd name="connsiteX323" fmla="*/ 26897 w 130102"/>
                <a:gd name="connsiteY323" fmla="*/ 28344 h 111558"/>
                <a:gd name="connsiteX324" fmla="*/ 28212 w 130102"/>
                <a:gd name="connsiteY324" fmla="*/ 29175 h 111558"/>
                <a:gd name="connsiteX325" fmla="*/ 29406 w 130102"/>
                <a:gd name="connsiteY325" fmla="*/ 29474 h 111558"/>
                <a:gd name="connsiteX326" fmla="*/ 30576 w 130102"/>
                <a:gd name="connsiteY326" fmla="*/ 28778 h 111558"/>
                <a:gd name="connsiteX327" fmla="*/ 31784 w 130102"/>
                <a:gd name="connsiteY327" fmla="*/ 28580 h 111558"/>
                <a:gd name="connsiteX328" fmla="*/ 35230 w 130102"/>
                <a:gd name="connsiteY328" fmla="*/ 29929 h 111558"/>
                <a:gd name="connsiteX329" fmla="*/ 38141 w 130102"/>
                <a:gd name="connsiteY329" fmla="*/ 30186 h 111558"/>
                <a:gd name="connsiteX330" fmla="*/ 40294 w 130102"/>
                <a:gd name="connsiteY330" fmla="*/ 29482 h 111558"/>
                <a:gd name="connsiteX331" fmla="*/ 40011 w 130102"/>
                <a:gd name="connsiteY331" fmla="*/ 28514 h 111558"/>
                <a:gd name="connsiteX332" fmla="*/ 39227 w 130102"/>
                <a:gd name="connsiteY332" fmla="*/ 27435 h 111558"/>
                <a:gd name="connsiteX333" fmla="*/ 39058 w 130102"/>
                <a:gd name="connsiteY333" fmla="*/ 26387 h 111558"/>
                <a:gd name="connsiteX334" fmla="*/ 39203 w 130102"/>
                <a:gd name="connsiteY334" fmla="*/ 25481 h 111558"/>
                <a:gd name="connsiteX335" fmla="*/ 40680 w 130102"/>
                <a:gd name="connsiteY335" fmla="*/ 24577 h 111558"/>
                <a:gd name="connsiteX336" fmla="*/ 40609 w 130102"/>
                <a:gd name="connsiteY336" fmla="*/ 24180 h 111558"/>
                <a:gd name="connsiteX337" fmla="*/ 38823 w 130102"/>
                <a:gd name="connsiteY337" fmla="*/ 22589 h 111558"/>
                <a:gd name="connsiteX338" fmla="*/ 38914 w 130102"/>
                <a:gd name="connsiteY338" fmla="*/ 22179 h 111558"/>
                <a:gd name="connsiteX339" fmla="*/ 42829 w 130102"/>
                <a:gd name="connsiteY339" fmla="*/ 20389 h 111558"/>
                <a:gd name="connsiteX340" fmla="*/ 46603 w 130102"/>
                <a:gd name="connsiteY340" fmla="*/ 19384 h 111558"/>
                <a:gd name="connsiteX341" fmla="*/ 47208 w 130102"/>
                <a:gd name="connsiteY341" fmla="*/ 18609 h 111558"/>
                <a:gd name="connsiteX342" fmla="*/ 47560 w 130102"/>
                <a:gd name="connsiteY342" fmla="*/ 17443 h 111558"/>
                <a:gd name="connsiteX343" fmla="*/ 47726 w 130102"/>
                <a:gd name="connsiteY343" fmla="*/ 15256 h 111558"/>
                <a:gd name="connsiteX344" fmla="*/ 47519 w 130102"/>
                <a:gd name="connsiteY344" fmla="*/ 13466 h 111558"/>
                <a:gd name="connsiteX345" fmla="*/ 45986 w 130102"/>
                <a:gd name="connsiteY345" fmla="*/ 11787 h 111558"/>
                <a:gd name="connsiteX346" fmla="*/ 45891 w 130102"/>
                <a:gd name="connsiteY346" fmla="*/ 10937 h 111558"/>
                <a:gd name="connsiteX347" fmla="*/ 46254 w 130102"/>
                <a:gd name="connsiteY347" fmla="*/ 10054 h 111558"/>
                <a:gd name="connsiteX348" fmla="*/ 46849 w 130102"/>
                <a:gd name="connsiteY348" fmla="*/ 9256 h 111558"/>
                <a:gd name="connsiteX349" fmla="*/ 48359 w 130102"/>
                <a:gd name="connsiteY349" fmla="*/ 8910 h 111558"/>
                <a:gd name="connsiteX350" fmla="*/ 50130 w 130102"/>
                <a:gd name="connsiteY350" fmla="*/ 8336 h 111558"/>
                <a:gd name="connsiteX351" fmla="*/ 51529 w 130102"/>
                <a:gd name="connsiteY351" fmla="*/ 7675 h 111558"/>
                <a:gd name="connsiteX352" fmla="*/ 53425 w 130102"/>
                <a:gd name="connsiteY352" fmla="*/ 7127 h 111558"/>
                <a:gd name="connsiteX353" fmla="*/ 54915 w 130102"/>
                <a:gd name="connsiteY353" fmla="*/ 6359 h 111558"/>
                <a:gd name="connsiteX354" fmla="*/ 56370 w 130102"/>
                <a:gd name="connsiteY354" fmla="*/ 4531 h 111558"/>
                <a:gd name="connsiteX355" fmla="*/ 57253 w 130102"/>
                <a:gd name="connsiteY355" fmla="*/ 4229 h 111558"/>
                <a:gd name="connsiteX356" fmla="*/ 59929 w 130102"/>
                <a:gd name="connsiteY356" fmla="*/ 4489 h 111558"/>
                <a:gd name="connsiteX357" fmla="*/ 60501 w 130102"/>
                <a:gd name="connsiteY357" fmla="*/ 4038 h 111558"/>
                <a:gd name="connsiteX358" fmla="*/ 60134 w 130102"/>
                <a:gd name="connsiteY358" fmla="*/ 1410 h 111558"/>
                <a:gd name="connsiteX359" fmla="*/ 60613 w 130102"/>
                <a:gd name="connsiteY359" fmla="*/ 742 h 111558"/>
                <a:gd name="connsiteX360" fmla="*/ 61559 w 130102"/>
                <a:gd name="connsiteY360" fmla="*/ 368 h 11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130102" h="111558">
                  <a:moveTo>
                    <a:pt x="86563" y="101746"/>
                  </a:moveTo>
                  <a:lnTo>
                    <a:pt x="90452" y="102584"/>
                  </a:lnTo>
                  <a:lnTo>
                    <a:pt x="93469" y="104421"/>
                  </a:lnTo>
                  <a:lnTo>
                    <a:pt x="84622" y="102014"/>
                  </a:lnTo>
                  <a:lnTo>
                    <a:pt x="85626" y="101793"/>
                  </a:lnTo>
                  <a:close/>
                  <a:moveTo>
                    <a:pt x="69288" y="96494"/>
                  </a:moveTo>
                  <a:lnTo>
                    <a:pt x="73375" y="97242"/>
                  </a:lnTo>
                  <a:lnTo>
                    <a:pt x="76373" y="96898"/>
                  </a:lnTo>
                  <a:lnTo>
                    <a:pt x="79083" y="97357"/>
                  </a:lnTo>
                  <a:lnTo>
                    <a:pt x="80767" y="98207"/>
                  </a:lnTo>
                  <a:lnTo>
                    <a:pt x="81175" y="98624"/>
                  </a:lnTo>
                  <a:lnTo>
                    <a:pt x="78988" y="98682"/>
                  </a:lnTo>
                  <a:lnTo>
                    <a:pt x="76515" y="98337"/>
                  </a:lnTo>
                  <a:lnTo>
                    <a:pt x="73710" y="99201"/>
                  </a:lnTo>
                  <a:lnTo>
                    <a:pt x="71238" y="98739"/>
                  </a:lnTo>
                  <a:lnTo>
                    <a:pt x="70298" y="98178"/>
                  </a:lnTo>
                  <a:lnTo>
                    <a:pt x="69633" y="97476"/>
                  </a:lnTo>
                  <a:close/>
                  <a:moveTo>
                    <a:pt x="81872" y="95708"/>
                  </a:moveTo>
                  <a:lnTo>
                    <a:pt x="93013" y="100400"/>
                  </a:lnTo>
                  <a:lnTo>
                    <a:pt x="91773" y="99158"/>
                  </a:lnTo>
                  <a:lnTo>
                    <a:pt x="93380" y="98666"/>
                  </a:lnTo>
                  <a:lnTo>
                    <a:pt x="94745" y="99020"/>
                  </a:lnTo>
                  <a:lnTo>
                    <a:pt x="95615" y="100551"/>
                  </a:lnTo>
                  <a:lnTo>
                    <a:pt x="97330" y="101558"/>
                  </a:lnTo>
                  <a:lnTo>
                    <a:pt x="100109" y="103327"/>
                  </a:lnTo>
                  <a:lnTo>
                    <a:pt x="101864" y="104682"/>
                  </a:lnTo>
                  <a:lnTo>
                    <a:pt x="105846" y="107117"/>
                  </a:lnTo>
                  <a:lnTo>
                    <a:pt x="106788" y="107457"/>
                  </a:lnTo>
                  <a:lnTo>
                    <a:pt x="108772" y="108176"/>
                  </a:lnTo>
                  <a:lnTo>
                    <a:pt x="108811" y="109157"/>
                  </a:lnTo>
                  <a:lnTo>
                    <a:pt x="109664" y="110273"/>
                  </a:lnTo>
                  <a:lnTo>
                    <a:pt x="110566" y="111558"/>
                  </a:lnTo>
                  <a:lnTo>
                    <a:pt x="106488" y="109026"/>
                  </a:lnTo>
                  <a:lnTo>
                    <a:pt x="102676" y="106192"/>
                  </a:lnTo>
                  <a:lnTo>
                    <a:pt x="95229" y="101826"/>
                  </a:lnTo>
                  <a:lnTo>
                    <a:pt x="89946" y="100762"/>
                  </a:lnTo>
                  <a:lnTo>
                    <a:pt x="82721" y="97247"/>
                  </a:lnTo>
                  <a:lnTo>
                    <a:pt x="78016" y="96003"/>
                  </a:lnTo>
                  <a:lnTo>
                    <a:pt x="79808" y="95716"/>
                  </a:lnTo>
                  <a:close/>
                  <a:moveTo>
                    <a:pt x="66429" y="90251"/>
                  </a:moveTo>
                  <a:lnTo>
                    <a:pt x="69404" y="90667"/>
                  </a:lnTo>
                  <a:lnTo>
                    <a:pt x="70318" y="91709"/>
                  </a:lnTo>
                  <a:lnTo>
                    <a:pt x="78364" y="92543"/>
                  </a:lnTo>
                  <a:lnTo>
                    <a:pt x="81302" y="93029"/>
                  </a:lnTo>
                  <a:lnTo>
                    <a:pt x="79756" y="93307"/>
                  </a:lnTo>
                  <a:lnTo>
                    <a:pt x="69918" y="93100"/>
                  </a:lnTo>
                  <a:lnTo>
                    <a:pt x="67057" y="92543"/>
                  </a:lnTo>
                  <a:lnTo>
                    <a:pt x="63874" y="91108"/>
                  </a:lnTo>
                  <a:lnTo>
                    <a:pt x="63224" y="90667"/>
                  </a:lnTo>
                  <a:close/>
                  <a:moveTo>
                    <a:pt x="64827" y="86010"/>
                  </a:moveTo>
                  <a:lnTo>
                    <a:pt x="68202" y="86149"/>
                  </a:lnTo>
                  <a:lnTo>
                    <a:pt x="73350" y="86984"/>
                  </a:lnTo>
                  <a:lnTo>
                    <a:pt x="74609" y="87957"/>
                  </a:lnTo>
                  <a:lnTo>
                    <a:pt x="74218" y="88406"/>
                  </a:lnTo>
                  <a:lnTo>
                    <a:pt x="72263" y="89139"/>
                  </a:lnTo>
                  <a:lnTo>
                    <a:pt x="68774" y="89209"/>
                  </a:lnTo>
                  <a:lnTo>
                    <a:pt x="65742" y="88722"/>
                  </a:lnTo>
                  <a:lnTo>
                    <a:pt x="64256" y="87887"/>
                  </a:lnTo>
                  <a:lnTo>
                    <a:pt x="64367" y="87184"/>
                  </a:lnTo>
                  <a:close/>
                  <a:moveTo>
                    <a:pt x="38758" y="69183"/>
                  </a:moveTo>
                  <a:lnTo>
                    <a:pt x="41000" y="70181"/>
                  </a:lnTo>
                  <a:lnTo>
                    <a:pt x="42455" y="72191"/>
                  </a:lnTo>
                  <a:lnTo>
                    <a:pt x="41063" y="71778"/>
                  </a:lnTo>
                  <a:lnTo>
                    <a:pt x="39611" y="70534"/>
                  </a:lnTo>
                  <a:close/>
                  <a:moveTo>
                    <a:pt x="34243" y="65203"/>
                  </a:moveTo>
                  <a:lnTo>
                    <a:pt x="37897" y="67787"/>
                  </a:lnTo>
                  <a:lnTo>
                    <a:pt x="38242" y="68741"/>
                  </a:lnTo>
                  <a:lnTo>
                    <a:pt x="35483" y="66947"/>
                  </a:lnTo>
                  <a:lnTo>
                    <a:pt x="34437" y="65741"/>
                  </a:lnTo>
                  <a:close/>
                  <a:moveTo>
                    <a:pt x="29804" y="64924"/>
                  </a:moveTo>
                  <a:lnTo>
                    <a:pt x="31738" y="66300"/>
                  </a:lnTo>
                  <a:lnTo>
                    <a:pt x="36962" y="71573"/>
                  </a:lnTo>
                  <a:lnTo>
                    <a:pt x="37277" y="71969"/>
                  </a:lnTo>
                  <a:lnTo>
                    <a:pt x="37247" y="72239"/>
                  </a:lnTo>
                  <a:lnTo>
                    <a:pt x="36100" y="71858"/>
                  </a:lnTo>
                  <a:lnTo>
                    <a:pt x="35791" y="71981"/>
                  </a:lnTo>
                  <a:lnTo>
                    <a:pt x="30384" y="66074"/>
                  </a:lnTo>
                  <a:close/>
                  <a:moveTo>
                    <a:pt x="27080" y="50537"/>
                  </a:moveTo>
                  <a:lnTo>
                    <a:pt x="28449" y="51863"/>
                  </a:lnTo>
                  <a:lnTo>
                    <a:pt x="29590" y="52692"/>
                  </a:lnTo>
                  <a:lnTo>
                    <a:pt x="30533" y="52894"/>
                  </a:lnTo>
                  <a:lnTo>
                    <a:pt x="32930" y="54978"/>
                  </a:lnTo>
                  <a:lnTo>
                    <a:pt x="35286" y="57656"/>
                  </a:lnTo>
                  <a:lnTo>
                    <a:pt x="38093" y="59980"/>
                  </a:lnTo>
                  <a:lnTo>
                    <a:pt x="37510" y="60052"/>
                  </a:lnTo>
                  <a:lnTo>
                    <a:pt x="36955" y="60373"/>
                  </a:lnTo>
                  <a:lnTo>
                    <a:pt x="36383" y="61094"/>
                  </a:lnTo>
                  <a:lnTo>
                    <a:pt x="34954" y="59765"/>
                  </a:lnTo>
                  <a:lnTo>
                    <a:pt x="33641" y="58817"/>
                  </a:lnTo>
                  <a:lnTo>
                    <a:pt x="32701" y="57695"/>
                  </a:lnTo>
                  <a:lnTo>
                    <a:pt x="30859" y="56295"/>
                  </a:lnTo>
                  <a:lnTo>
                    <a:pt x="30237" y="54693"/>
                  </a:lnTo>
                  <a:lnTo>
                    <a:pt x="27491" y="51425"/>
                  </a:lnTo>
                  <a:close/>
                  <a:moveTo>
                    <a:pt x="25944" y="46425"/>
                  </a:moveTo>
                  <a:lnTo>
                    <a:pt x="27353" y="46516"/>
                  </a:lnTo>
                  <a:lnTo>
                    <a:pt x="27564" y="47155"/>
                  </a:lnTo>
                  <a:lnTo>
                    <a:pt x="29061" y="48859"/>
                  </a:lnTo>
                  <a:lnTo>
                    <a:pt x="29618" y="50061"/>
                  </a:lnTo>
                  <a:lnTo>
                    <a:pt x="27536" y="48976"/>
                  </a:lnTo>
                  <a:lnTo>
                    <a:pt x="25672" y="48561"/>
                  </a:lnTo>
                  <a:lnTo>
                    <a:pt x="25277" y="47744"/>
                  </a:lnTo>
                  <a:lnTo>
                    <a:pt x="25545" y="47074"/>
                  </a:lnTo>
                  <a:close/>
                  <a:moveTo>
                    <a:pt x="18596" y="37698"/>
                  </a:moveTo>
                  <a:lnTo>
                    <a:pt x="18838" y="40065"/>
                  </a:lnTo>
                  <a:lnTo>
                    <a:pt x="19382" y="41424"/>
                  </a:lnTo>
                  <a:lnTo>
                    <a:pt x="21010" y="43092"/>
                  </a:lnTo>
                  <a:lnTo>
                    <a:pt x="20682" y="45851"/>
                  </a:lnTo>
                  <a:lnTo>
                    <a:pt x="21015" y="49774"/>
                  </a:lnTo>
                  <a:lnTo>
                    <a:pt x="21345" y="50646"/>
                  </a:lnTo>
                  <a:lnTo>
                    <a:pt x="21468" y="51553"/>
                  </a:lnTo>
                  <a:lnTo>
                    <a:pt x="21297" y="52610"/>
                  </a:lnTo>
                  <a:lnTo>
                    <a:pt x="19952" y="51274"/>
                  </a:lnTo>
                  <a:lnTo>
                    <a:pt x="19274" y="48876"/>
                  </a:lnTo>
                  <a:lnTo>
                    <a:pt x="17583" y="44999"/>
                  </a:lnTo>
                  <a:lnTo>
                    <a:pt x="17365" y="43906"/>
                  </a:lnTo>
                  <a:lnTo>
                    <a:pt x="18242" y="42826"/>
                  </a:lnTo>
                  <a:lnTo>
                    <a:pt x="18195" y="41732"/>
                  </a:lnTo>
                  <a:lnTo>
                    <a:pt x="16996" y="38322"/>
                  </a:lnTo>
                  <a:lnTo>
                    <a:pt x="18000" y="37765"/>
                  </a:lnTo>
                  <a:close/>
                  <a:moveTo>
                    <a:pt x="23304" y="36128"/>
                  </a:moveTo>
                  <a:lnTo>
                    <a:pt x="24606" y="37408"/>
                  </a:lnTo>
                  <a:lnTo>
                    <a:pt x="26180" y="39816"/>
                  </a:lnTo>
                  <a:lnTo>
                    <a:pt x="27020" y="40488"/>
                  </a:lnTo>
                  <a:lnTo>
                    <a:pt x="28592" y="42905"/>
                  </a:lnTo>
                  <a:lnTo>
                    <a:pt x="25867" y="43491"/>
                  </a:lnTo>
                  <a:lnTo>
                    <a:pt x="24569" y="42443"/>
                  </a:lnTo>
                  <a:lnTo>
                    <a:pt x="24230" y="41583"/>
                  </a:lnTo>
                  <a:lnTo>
                    <a:pt x="21991" y="41310"/>
                  </a:lnTo>
                  <a:lnTo>
                    <a:pt x="20635" y="40112"/>
                  </a:lnTo>
                  <a:lnTo>
                    <a:pt x="20358" y="39581"/>
                  </a:lnTo>
                  <a:lnTo>
                    <a:pt x="22276" y="38262"/>
                  </a:lnTo>
                  <a:close/>
                  <a:moveTo>
                    <a:pt x="62002" y="0"/>
                  </a:moveTo>
                  <a:lnTo>
                    <a:pt x="64356" y="284"/>
                  </a:lnTo>
                  <a:lnTo>
                    <a:pt x="66314" y="964"/>
                  </a:lnTo>
                  <a:lnTo>
                    <a:pt x="67502" y="1378"/>
                  </a:lnTo>
                  <a:lnTo>
                    <a:pt x="71441" y="3281"/>
                  </a:lnTo>
                  <a:lnTo>
                    <a:pt x="74170" y="5419"/>
                  </a:lnTo>
                  <a:lnTo>
                    <a:pt x="75684" y="7791"/>
                  </a:lnTo>
                  <a:lnTo>
                    <a:pt x="77735" y="9628"/>
                  </a:lnTo>
                  <a:lnTo>
                    <a:pt x="80320" y="10927"/>
                  </a:lnTo>
                  <a:lnTo>
                    <a:pt x="82367" y="12689"/>
                  </a:lnTo>
                  <a:lnTo>
                    <a:pt x="83881" y="14912"/>
                  </a:lnTo>
                  <a:lnTo>
                    <a:pt x="85997" y="16156"/>
                  </a:lnTo>
                  <a:lnTo>
                    <a:pt x="88714" y="16426"/>
                  </a:lnTo>
                  <a:lnTo>
                    <a:pt x="90435" y="17186"/>
                  </a:lnTo>
                  <a:lnTo>
                    <a:pt x="91156" y="18438"/>
                  </a:lnTo>
                  <a:lnTo>
                    <a:pt x="92633" y="19572"/>
                  </a:lnTo>
                  <a:lnTo>
                    <a:pt x="94859" y="20586"/>
                  </a:lnTo>
                  <a:lnTo>
                    <a:pt x="98325" y="21142"/>
                  </a:lnTo>
                  <a:lnTo>
                    <a:pt x="104961" y="21274"/>
                  </a:lnTo>
                  <a:lnTo>
                    <a:pt x="105550" y="21302"/>
                  </a:lnTo>
                  <a:lnTo>
                    <a:pt x="107047" y="21617"/>
                  </a:lnTo>
                  <a:lnTo>
                    <a:pt x="108794" y="21223"/>
                  </a:lnTo>
                  <a:lnTo>
                    <a:pt x="110923" y="20429"/>
                  </a:lnTo>
                  <a:lnTo>
                    <a:pt x="111609" y="19956"/>
                  </a:lnTo>
                  <a:lnTo>
                    <a:pt x="113851" y="17359"/>
                  </a:lnTo>
                  <a:lnTo>
                    <a:pt x="115084" y="17583"/>
                  </a:lnTo>
                  <a:lnTo>
                    <a:pt x="117544" y="17266"/>
                  </a:lnTo>
                  <a:lnTo>
                    <a:pt x="119031" y="16690"/>
                  </a:lnTo>
                  <a:lnTo>
                    <a:pt x="119144" y="16690"/>
                  </a:lnTo>
                  <a:lnTo>
                    <a:pt x="119049" y="17355"/>
                  </a:lnTo>
                  <a:lnTo>
                    <a:pt x="118882" y="18516"/>
                  </a:lnTo>
                  <a:lnTo>
                    <a:pt x="117677" y="19338"/>
                  </a:lnTo>
                  <a:lnTo>
                    <a:pt x="118904" y="21229"/>
                  </a:lnTo>
                  <a:lnTo>
                    <a:pt x="120070" y="24293"/>
                  </a:lnTo>
                  <a:lnTo>
                    <a:pt x="119420" y="25806"/>
                  </a:lnTo>
                  <a:lnTo>
                    <a:pt x="120212" y="26983"/>
                  </a:lnTo>
                  <a:lnTo>
                    <a:pt x="122454" y="27828"/>
                  </a:lnTo>
                  <a:lnTo>
                    <a:pt x="122657" y="28165"/>
                  </a:lnTo>
                  <a:lnTo>
                    <a:pt x="121972" y="28517"/>
                  </a:lnTo>
                  <a:lnTo>
                    <a:pt x="121405" y="29516"/>
                  </a:lnTo>
                  <a:lnTo>
                    <a:pt x="121340" y="31336"/>
                  </a:lnTo>
                  <a:lnTo>
                    <a:pt x="123294" y="33054"/>
                  </a:lnTo>
                  <a:lnTo>
                    <a:pt x="127269" y="34670"/>
                  </a:lnTo>
                  <a:lnTo>
                    <a:pt x="128539" y="34941"/>
                  </a:lnTo>
                  <a:lnTo>
                    <a:pt x="129025" y="35562"/>
                  </a:lnTo>
                  <a:lnTo>
                    <a:pt x="129690" y="35968"/>
                  </a:lnTo>
                  <a:lnTo>
                    <a:pt x="130081" y="36464"/>
                  </a:lnTo>
                  <a:lnTo>
                    <a:pt x="130102" y="37105"/>
                  </a:lnTo>
                  <a:lnTo>
                    <a:pt x="129818" y="37545"/>
                  </a:lnTo>
                  <a:lnTo>
                    <a:pt x="127937" y="37702"/>
                  </a:lnTo>
                  <a:lnTo>
                    <a:pt x="125790" y="37688"/>
                  </a:lnTo>
                  <a:lnTo>
                    <a:pt x="124264" y="36909"/>
                  </a:lnTo>
                  <a:lnTo>
                    <a:pt x="124128" y="37477"/>
                  </a:lnTo>
                  <a:lnTo>
                    <a:pt x="124104" y="38128"/>
                  </a:lnTo>
                  <a:lnTo>
                    <a:pt x="122627" y="38525"/>
                  </a:lnTo>
                  <a:lnTo>
                    <a:pt x="123447" y="42995"/>
                  </a:lnTo>
                  <a:lnTo>
                    <a:pt x="123121" y="44279"/>
                  </a:lnTo>
                  <a:lnTo>
                    <a:pt x="122575" y="44710"/>
                  </a:lnTo>
                  <a:lnTo>
                    <a:pt x="122067" y="44531"/>
                  </a:lnTo>
                  <a:lnTo>
                    <a:pt x="121448" y="44481"/>
                  </a:lnTo>
                  <a:lnTo>
                    <a:pt x="121137" y="44900"/>
                  </a:lnTo>
                  <a:lnTo>
                    <a:pt x="121394" y="45851"/>
                  </a:lnTo>
                  <a:lnTo>
                    <a:pt x="119938" y="45960"/>
                  </a:lnTo>
                  <a:lnTo>
                    <a:pt x="117619" y="45467"/>
                  </a:lnTo>
                  <a:lnTo>
                    <a:pt x="116557" y="44603"/>
                  </a:lnTo>
                  <a:lnTo>
                    <a:pt x="116375" y="43720"/>
                  </a:lnTo>
                  <a:lnTo>
                    <a:pt x="116358" y="42900"/>
                  </a:lnTo>
                  <a:lnTo>
                    <a:pt x="115622" y="41553"/>
                  </a:lnTo>
                  <a:lnTo>
                    <a:pt x="113776" y="40161"/>
                  </a:lnTo>
                  <a:lnTo>
                    <a:pt x="109921" y="39931"/>
                  </a:lnTo>
                  <a:lnTo>
                    <a:pt x="108498" y="39489"/>
                  </a:lnTo>
                  <a:lnTo>
                    <a:pt x="107032" y="38981"/>
                  </a:lnTo>
                  <a:lnTo>
                    <a:pt x="105425" y="38605"/>
                  </a:lnTo>
                  <a:lnTo>
                    <a:pt x="103944" y="38643"/>
                  </a:lnTo>
                  <a:lnTo>
                    <a:pt x="102158" y="39013"/>
                  </a:lnTo>
                  <a:lnTo>
                    <a:pt x="99042" y="38400"/>
                  </a:lnTo>
                  <a:lnTo>
                    <a:pt x="97988" y="39218"/>
                  </a:lnTo>
                  <a:lnTo>
                    <a:pt x="96347" y="40166"/>
                  </a:lnTo>
                  <a:lnTo>
                    <a:pt x="94984" y="40142"/>
                  </a:lnTo>
                  <a:lnTo>
                    <a:pt x="92272" y="37945"/>
                  </a:lnTo>
                  <a:lnTo>
                    <a:pt x="91463" y="37806"/>
                  </a:lnTo>
                  <a:lnTo>
                    <a:pt x="89091" y="38926"/>
                  </a:lnTo>
                  <a:lnTo>
                    <a:pt x="88126" y="38986"/>
                  </a:lnTo>
                  <a:lnTo>
                    <a:pt x="87386" y="38632"/>
                  </a:lnTo>
                  <a:lnTo>
                    <a:pt x="84179" y="37793"/>
                  </a:lnTo>
                  <a:lnTo>
                    <a:pt x="82732" y="37612"/>
                  </a:lnTo>
                  <a:lnTo>
                    <a:pt x="81670" y="38009"/>
                  </a:lnTo>
                  <a:lnTo>
                    <a:pt x="79785" y="37579"/>
                  </a:lnTo>
                  <a:lnTo>
                    <a:pt x="75213" y="34708"/>
                  </a:lnTo>
                  <a:lnTo>
                    <a:pt x="72387" y="36891"/>
                  </a:lnTo>
                  <a:lnTo>
                    <a:pt x="66634" y="36348"/>
                  </a:lnTo>
                  <a:lnTo>
                    <a:pt x="64928" y="37846"/>
                  </a:lnTo>
                  <a:lnTo>
                    <a:pt x="62972" y="40683"/>
                  </a:lnTo>
                  <a:lnTo>
                    <a:pt x="61387" y="42037"/>
                  </a:lnTo>
                  <a:lnTo>
                    <a:pt x="60009" y="41551"/>
                  </a:lnTo>
                  <a:lnTo>
                    <a:pt x="58379" y="40303"/>
                  </a:lnTo>
                  <a:lnTo>
                    <a:pt x="55526" y="37091"/>
                  </a:lnTo>
                  <a:lnTo>
                    <a:pt x="54086" y="36511"/>
                  </a:lnTo>
                  <a:lnTo>
                    <a:pt x="52429" y="36375"/>
                  </a:lnTo>
                  <a:lnTo>
                    <a:pt x="50983" y="36730"/>
                  </a:lnTo>
                  <a:lnTo>
                    <a:pt x="50214" y="37382"/>
                  </a:lnTo>
                  <a:lnTo>
                    <a:pt x="49626" y="42073"/>
                  </a:lnTo>
                  <a:lnTo>
                    <a:pt x="49106" y="46200"/>
                  </a:lnTo>
                  <a:lnTo>
                    <a:pt x="49076" y="48671"/>
                  </a:lnTo>
                  <a:lnTo>
                    <a:pt x="52248" y="50957"/>
                  </a:lnTo>
                  <a:lnTo>
                    <a:pt x="55984" y="54887"/>
                  </a:lnTo>
                  <a:lnTo>
                    <a:pt x="57187" y="55338"/>
                  </a:lnTo>
                  <a:lnTo>
                    <a:pt x="57781" y="56624"/>
                  </a:lnTo>
                  <a:lnTo>
                    <a:pt x="58655" y="59931"/>
                  </a:lnTo>
                  <a:lnTo>
                    <a:pt x="59637" y="63645"/>
                  </a:lnTo>
                  <a:lnTo>
                    <a:pt x="61536" y="66102"/>
                  </a:lnTo>
                  <a:lnTo>
                    <a:pt x="63248" y="67859"/>
                  </a:lnTo>
                  <a:lnTo>
                    <a:pt x="65338" y="69403"/>
                  </a:lnTo>
                  <a:lnTo>
                    <a:pt x="67957" y="71822"/>
                  </a:lnTo>
                  <a:lnTo>
                    <a:pt x="70106" y="74474"/>
                  </a:lnTo>
                  <a:lnTo>
                    <a:pt x="70676" y="75452"/>
                  </a:lnTo>
                  <a:lnTo>
                    <a:pt x="74842" y="78954"/>
                  </a:lnTo>
                  <a:lnTo>
                    <a:pt x="78882" y="82524"/>
                  </a:lnTo>
                  <a:lnTo>
                    <a:pt x="82497" y="83772"/>
                  </a:lnTo>
                  <a:lnTo>
                    <a:pt x="83067" y="84431"/>
                  </a:lnTo>
                  <a:lnTo>
                    <a:pt x="83099" y="87172"/>
                  </a:lnTo>
                  <a:lnTo>
                    <a:pt x="83492" y="88200"/>
                  </a:lnTo>
                  <a:lnTo>
                    <a:pt x="85906" y="91066"/>
                  </a:lnTo>
                  <a:lnTo>
                    <a:pt x="90828" y="95255"/>
                  </a:lnTo>
                  <a:lnTo>
                    <a:pt x="91396" y="96225"/>
                  </a:lnTo>
                  <a:lnTo>
                    <a:pt x="91558" y="96935"/>
                  </a:lnTo>
                  <a:lnTo>
                    <a:pt x="91240" y="97480"/>
                  </a:lnTo>
                  <a:lnTo>
                    <a:pt x="89951" y="98053"/>
                  </a:lnTo>
                  <a:lnTo>
                    <a:pt x="88893" y="97413"/>
                  </a:lnTo>
                  <a:lnTo>
                    <a:pt x="84306" y="93321"/>
                  </a:lnTo>
                  <a:lnTo>
                    <a:pt x="79873" y="90738"/>
                  </a:lnTo>
                  <a:lnTo>
                    <a:pt x="74870" y="85865"/>
                  </a:lnTo>
                  <a:lnTo>
                    <a:pt x="68173" y="83938"/>
                  </a:lnTo>
                  <a:lnTo>
                    <a:pt x="63611" y="81802"/>
                  </a:lnTo>
                  <a:lnTo>
                    <a:pt x="60847" y="82129"/>
                  </a:lnTo>
                  <a:lnTo>
                    <a:pt x="57798" y="82801"/>
                  </a:lnTo>
                  <a:lnTo>
                    <a:pt x="55917" y="82822"/>
                  </a:lnTo>
                  <a:lnTo>
                    <a:pt x="54580" y="82438"/>
                  </a:lnTo>
                  <a:lnTo>
                    <a:pt x="53630" y="81113"/>
                  </a:lnTo>
                  <a:lnTo>
                    <a:pt x="53775" y="80088"/>
                  </a:lnTo>
                  <a:lnTo>
                    <a:pt x="53606" y="78749"/>
                  </a:lnTo>
                  <a:lnTo>
                    <a:pt x="50933" y="76610"/>
                  </a:lnTo>
                  <a:lnTo>
                    <a:pt x="47286" y="74575"/>
                  </a:lnTo>
                  <a:lnTo>
                    <a:pt x="43831" y="71940"/>
                  </a:lnTo>
                  <a:lnTo>
                    <a:pt x="36897" y="64811"/>
                  </a:lnTo>
                  <a:lnTo>
                    <a:pt x="35506" y="62516"/>
                  </a:lnTo>
                  <a:lnTo>
                    <a:pt x="36871" y="62079"/>
                  </a:lnTo>
                  <a:lnTo>
                    <a:pt x="37903" y="62118"/>
                  </a:lnTo>
                  <a:lnTo>
                    <a:pt x="39074" y="61647"/>
                  </a:lnTo>
                  <a:lnTo>
                    <a:pt x="40963" y="61635"/>
                  </a:lnTo>
                  <a:lnTo>
                    <a:pt x="43202" y="62104"/>
                  </a:lnTo>
                  <a:lnTo>
                    <a:pt x="41220" y="60576"/>
                  </a:lnTo>
                  <a:lnTo>
                    <a:pt x="38754" y="59076"/>
                  </a:lnTo>
                  <a:lnTo>
                    <a:pt x="32375" y="53109"/>
                  </a:lnTo>
                  <a:lnTo>
                    <a:pt x="30471" y="50286"/>
                  </a:lnTo>
                  <a:lnTo>
                    <a:pt x="30250" y="47241"/>
                  </a:lnTo>
                  <a:lnTo>
                    <a:pt x="30721" y="43060"/>
                  </a:lnTo>
                  <a:lnTo>
                    <a:pt x="29572" y="40063"/>
                  </a:lnTo>
                  <a:lnTo>
                    <a:pt x="24651" y="36179"/>
                  </a:lnTo>
                  <a:lnTo>
                    <a:pt x="22848" y="34128"/>
                  </a:lnTo>
                  <a:lnTo>
                    <a:pt x="19214" y="32910"/>
                  </a:lnTo>
                  <a:lnTo>
                    <a:pt x="17590" y="33030"/>
                  </a:lnTo>
                  <a:lnTo>
                    <a:pt x="16614" y="34545"/>
                  </a:lnTo>
                  <a:lnTo>
                    <a:pt x="15901" y="37910"/>
                  </a:lnTo>
                  <a:lnTo>
                    <a:pt x="12679" y="42343"/>
                  </a:lnTo>
                  <a:lnTo>
                    <a:pt x="11604" y="44267"/>
                  </a:lnTo>
                  <a:lnTo>
                    <a:pt x="9920" y="46766"/>
                  </a:lnTo>
                  <a:lnTo>
                    <a:pt x="8460" y="46938"/>
                  </a:lnTo>
                  <a:lnTo>
                    <a:pt x="7596" y="46718"/>
                  </a:lnTo>
                  <a:lnTo>
                    <a:pt x="4981" y="42510"/>
                  </a:lnTo>
                  <a:lnTo>
                    <a:pt x="2478" y="39319"/>
                  </a:lnTo>
                  <a:lnTo>
                    <a:pt x="2129" y="37807"/>
                  </a:lnTo>
                  <a:lnTo>
                    <a:pt x="1904" y="35946"/>
                  </a:lnTo>
                  <a:lnTo>
                    <a:pt x="0" y="29077"/>
                  </a:lnTo>
                  <a:lnTo>
                    <a:pt x="1343" y="28113"/>
                  </a:lnTo>
                  <a:lnTo>
                    <a:pt x="2168" y="29216"/>
                  </a:lnTo>
                  <a:lnTo>
                    <a:pt x="7994" y="30544"/>
                  </a:lnTo>
                  <a:lnTo>
                    <a:pt x="9252" y="29955"/>
                  </a:lnTo>
                  <a:lnTo>
                    <a:pt x="10015" y="29055"/>
                  </a:lnTo>
                  <a:lnTo>
                    <a:pt x="10019" y="28485"/>
                  </a:lnTo>
                  <a:lnTo>
                    <a:pt x="10516" y="28318"/>
                  </a:lnTo>
                  <a:lnTo>
                    <a:pt x="12567" y="29186"/>
                  </a:lnTo>
                  <a:lnTo>
                    <a:pt x="14241" y="28985"/>
                  </a:lnTo>
                  <a:lnTo>
                    <a:pt x="16933" y="28945"/>
                  </a:lnTo>
                  <a:lnTo>
                    <a:pt x="18855" y="29087"/>
                  </a:lnTo>
                  <a:lnTo>
                    <a:pt x="20125" y="28419"/>
                  </a:lnTo>
                  <a:lnTo>
                    <a:pt x="21846" y="25960"/>
                  </a:lnTo>
                  <a:lnTo>
                    <a:pt x="22483" y="24583"/>
                  </a:lnTo>
                  <a:lnTo>
                    <a:pt x="23254" y="24254"/>
                  </a:lnTo>
                  <a:lnTo>
                    <a:pt x="23761" y="24418"/>
                  </a:lnTo>
                  <a:lnTo>
                    <a:pt x="24133" y="25550"/>
                  </a:lnTo>
                  <a:lnTo>
                    <a:pt x="25038" y="26613"/>
                  </a:lnTo>
                  <a:lnTo>
                    <a:pt x="26897" y="28344"/>
                  </a:lnTo>
                  <a:lnTo>
                    <a:pt x="28212" y="29175"/>
                  </a:lnTo>
                  <a:lnTo>
                    <a:pt x="29406" y="29474"/>
                  </a:lnTo>
                  <a:lnTo>
                    <a:pt x="30576" y="28778"/>
                  </a:lnTo>
                  <a:lnTo>
                    <a:pt x="31784" y="28580"/>
                  </a:lnTo>
                  <a:lnTo>
                    <a:pt x="35230" y="29929"/>
                  </a:lnTo>
                  <a:lnTo>
                    <a:pt x="38141" y="30186"/>
                  </a:lnTo>
                  <a:lnTo>
                    <a:pt x="40294" y="29482"/>
                  </a:lnTo>
                  <a:lnTo>
                    <a:pt x="40011" y="28514"/>
                  </a:lnTo>
                  <a:lnTo>
                    <a:pt x="39227" y="27435"/>
                  </a:lnTo>
                  <a:lnTo>
                    <a:pt x="39058" y="26387"/>
                  </a:lnTo>
                  <a:lnTo>
                    <a:pt x="39203" y="25481"/>
                  </a:lnTo>
                  <a:lnTo>
                    <a:pt x="40680" y="24577"/>
                  </a:lnTo>
                  <a:lnTo>
                    <a:pt x="40609" y="24180"/>
                  </a:lnTo>
                  <a:lnTo>
                    <a:pt x="38823" y="22589"/>
                  </a:lnTo>
                  <a:lnTo>
                    <a:pt x="38914" y="22179"/>
                  </a:lnTo>
                  <a:lnTo>
                    <a:pt x="42829" y="20389"/>
                  </a:lnTo>
                  <a:lnTo>
                    <a:pt x="46603" y="19384"/>
                  </a:lnTo>
                  <a:lnTo>
                    <a:pt x="47208" y="18609"/>
                  </a:lnTo>
                  <a:lnTo>
                    <a:pt x="47560" y="17443"/>
                  </a:lnTo>
                  <a:lnTo>
                    <a:pt x="47726" y="15256"/>
                  </a:lnTo>
                  <a:lnTo>
                    <a:pt x="47519" y="13466"/>
                  </a:lnTo>
                  <a:lnTo>
                    <a:pt x="45986" y="11787"/>
                  </a:lnTo>
                  <a:lnTo>
                    <a:pt x="45891" y="10937"/>
                  </a:lnTo>
                  <a:lnTo>
                    <a:pt x="46254" y="10054"/>
                  </a:lnTo>
                  <a:lnTo>
                    <a:pt x="46849" y="9256"/>
                  </a:lnTo>
                  <a:lnTo>
                    <a:pt x="48359" y="8910"/>
                  </a:lnTo>
                  <a:lnTo>
                    <a:pt x="50130" y="8336"/>
                  </a:lnTo>
                  <a:lnTo>
                    <a:pt x="51529" y="7675"/>
                  </a:lnTo>
                  <a:lnTo>
                    <a:pt x="53425" y="7127"/>
                  </a:lnTo>
                  <a:lnTo>
                    <a:pt x="54915" y="6359"/>
                  </a:lnTo>
                  <a:lnTo>
                    <a:pt x="56370" y="4531"/>
                  </a:lnTo>
                  <a:lnTo>
                    <a:pt x="57253" y="4229"/>
                  </a:lnTo>
                  <a:lnTo>
                    <a:pt x="59929" y="4489"/>
                  </a:lnTo>
                  <a:lnTo>
                    <a:pt x="60501" y="4038"/>
                  </a:lnTo>
                  <a:lnTo>
                    <a:pt x="60134" y="1410"/>
                  </a:lnTo>
                  <a:lnTo>
                    <a:pt x="60613" y="742"/>
                  </a:lnTo>
                  <a:lnTo>
                    <a:pt x="61559" y="36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2" name="ee4p_HU_1_15912">
              <a:extLst>
                <a:ext uri="{FF2B5EF4-FFF2-40B4-BE49-F238E27FC236}">
                  <a16:creationId xmlns:a16="http://schemas.microsoft.com/office/drawing/2014/main" id="{3F12B630-3592-E6E9-9BFC-827F80A3916A}"/>
                </a:ext>
              </a:extLst>
            </p:cNvPr>
            <p:cNvSpPr>
              <a:spLocks noChangeAspect="1"/>
            </p:cNvSpPr>
            <p:nvPr>
              <p:custDataLst>
                <p:tags r:id="rId34"/>
              </p:custDataLst>
            </p:nvPr>
          </p:nvSpPr>
          <p:spPr>
            <a:xfrm>
              <a:off x="5182390" y="4695755"/>
              <a:ext cx="594635" cy="310395"/>
            </a:xfrm>
            <a:custGeom>
              <a:avLst/>
              <a:gdLst/>
              <a:ahLst/>
              <a:cxnLst/>
              <a:rect l="0" t="0" r="0" b="0"/>
              <a:pathLst>
                <a:path w="150000" h="78299">
                  <a:moveTo>
                    <a:pt x="133530" y="4202"/>
                  </a:moveTo>
                  <a:lnTo>
                    <a:pt x="135637" y="3973"/>
                  </a:lnTo>
                  <a:lnTo>
                    <a:pt x="135726" y="4008"/>
                  </a:lnTo>
                  <a:lnTo>
                    <a:pt x="136225" y="4144"/>
                  </a:lnTo>
                  <a:lnTo>
                    <a:pt x="136572" y="5461"/>
                  </a:lnTo>
                  <a:lnTo>
                    <a:pt x="136632" y="5543"/>
                  </a:lnTo>
                  <a:lnTo>
                    <a:pt x="137140" y="6413"/>
                  </a:lnTo>
                  <a:lnTo>
                    <a:pt x="137617" y="7564"/>
                  </a:lnTo>
                  <a:lnTo>
                    <a:pt x="138358" y="8429"/>
                  </a:lnTo>
                  <a:lnTo>
                    <a:pt x="139986" y="8790"/>
                  </a:lnTo>
                  <a:lnTo>
                    <a:pt x="142115" y="9863"/>
                  </a:lnTo>
                  <a:lnTo>
                    <a:pt x="143493" y="11880"/>
                  </a:lnTo>
                  <a:lnTo>
                    <a:pt x="145570" y="12717"/>
                  </a:lnTo>
                  <a:lnTo>
                    <a:pt x="145720" y="12739"/>
                  </a:lnTo>
                  <a:lnTo>
                    <a:pt x="146128" y="12643"/>
                  </a:lnTo>
                  <a:lnTo>
                    <a:pt x="147622" y="12569"/>
                  </a:lnTo>
                  <a:lnTo>
                    <a:pt x="147911" y="12976"/>
                  </a:lnTo>
                  <a:lnTo>
                    <a:pt x="149105" y="13962"/>
                  </a:lnTo>
                  <a:lnTo>
                    <a:pt x="149570" y="14830"/>
                  </a:lnTo>
                  <a:lnTo>
                    <a:pt x="149332" y="15747"/>
                  </a:lnTo>
                  <a:lnTo>
                    <a:pt x="149544" y="16784"/>
                  </a:lnTo>
                  <a:lnTo>
                    <a:pt x="149999" y="17152"/>
                  </a:lnTo>
                  <a:lnTo>
                    <a:pt x="149449" y="17848"/>
                  </a:lnTo>
                  <a:lnTo>
                    <a:pt x="145579" y="21328"/>
                  </a:lnTo>
                  <a:lnTo>
                    <a:pt x="144067" y="22249"/>
                  </a:lnTo>
                  <a:lnTo>
                    <a:pt x="143061" y="22439"/>
                  </a:lnTo>
                  <a:lnTo>
                    <a:pt x="141481" y="22073"/>
                  </a:lnTo>
                  <a:lnTo>
                    <a:pt x="139846" y="22352"/>
                  </a:lnTo>
                  <a:lnTo>
                    <a:pt x="138386" y="23096"/>
                  </a:lnTo>
                  <a:lnTo>
                    <a:pt x="137041" y="23332"/>
                  </a:lnTo>
                  <a:lnTo>
                    <a:pt x="136024" y="24216"/>
                  </a:lnTo>
                  <a:lnTo>
                    <a:pt x="134707" y="26109"/>
                  </a:lnTo>
                  <a:lnTo>
                    <a:pt x="133089" y="27711"/>
                  </a:lnTo>
                  <a:lnTo>
                    <a:pt x="131454" y="28705"/>
                  </a:lnTo>
                  <a:lnTo>
                    <a:pt x="130608" y="29592"/>
                  </a:lnTo>
                  <a:lnTo>
                    <a:pt x="130511" y="32658"/>
                  </a:lnTo>
                  <a:lnTo>
                    <a:pt x="129604" y="33539"/>
                  </a:lnTo>
                  <a:lnTo>
                    <a:pt x="128386" y="34427"/>
                  </a:lnTo>
                  <a:lnTo>
                    <a:pt x="127725" y="35211"/>
                  </a:lnTo>
                  <a:lnTo>
                    <a:pt x="125870" y="39867"/>
                  </a:lnTo>
                  <a:lnTo>
                    <a:pt x="124462" y="41357"/>
                  </a:lnTo>
                  <a:lnTo>
                    <a:pt x="123128" y="42500"/>
                  </a:lnTo>
                  <a:lnTo>
                    <a:pt x="122908" y="43543"/>
                  </a:lnTo>
                  <a:lnTo>
                    <a:pt x="122934" y="44736"/>
                  </a:lnTo>
                  <a:lnTo>
                    <a:pt x="121420" y="47118"/>
                  </a:lnTo>
                  <a:lnTo>
                    <a:pt x="119435" y="49587"/>
                  </a:lnTo>
                  <a:lnTo>
                    <a:pt x="119051" y="50600"/>
                  </a:lnTo>
                  <a:lnTo>
                    <a:pt x="119494" y="51965"/>
                  </a:lnTo>
                  <a:lnTo>
                    <a:pt x="117591" y="53535"/>
                  </a:lnTo>
                  <a:lnTo>
                    <a:pt x="116492" y="54288"/>
                  </a:lnTo>
                  <a:lnTo>
                    <a:pt x="115583" y="54648"/>
                  </a:lnTo>
                  <a:lnTo>
                    <a:pt x="115015" y="55630"/>
                  </a:lnTo>
                  <a:lnTo>
                    <a:pt x="114080" y="58021"/>
                  </a:lnTo>
                  <a:lnTo>
                    <a:pt x="114324" y="59093"/>
                  </a:lnTo>
                  <a:lnTo>
                    <a:pt x="114352" y="60076"/>
                  </a:lnTo>
                  <a:lnTo>
                    <a:pt x="112743" y="60652"/>
                  </a:lnTo>
                  <a:lnTo>
                    <a:pt x="112270" y="61729"/>
                  </a:lnTo>
                  <a:lnTo>
                    <a:pt x="111862" y="63069"/>
                  </a:lnTo>
                  <a:lnTo>
                    <a:pt x="111193" y="63676"/>
                  </a:lnTo>
                  <a:lnTo>
                    <a:pt x="109383" y="64789"/>
                  </a:lnTo>
                  <a:lnTo>
                    <a:pt x="104898" y="64305"/>
                  </a:lnTo>
                  <a:lnTo>
                    <a:pt x="103201" y="64678"/>
                  </a:lnTo>
                  <a:lnTo>
                    <a:pt x="102696" y="65474"/>
                  </a:lnTo>
                  <a:lnTo>
                    <a:pt x="102592" y="66112"/>
                  </a:lnTo>
                  <a:lnTo>
                    <a:pt x="102033" y="66710"/>
                  </a:lnTo>
                  <a:lnTo>
                    <a:pt x="101007" y="67461"/>
                  </a:lnTo>
                  <a:lnTo>
                    <a:pt x="99960" y="67797"/>
                  </a:lnTo>
                  <a:lnTo>
                    <a:pt x="97626" y="66872"/>
                  </a:lnTo>
                  <a:lnTo>
                    <a:pt x="92603" y="67811"/>
                  </a:lnTo>
                  <a:lnTo>
                    <a:pt x="91737" y="68486"/>
                  </a:lnTo>
                  <a:lnTo>
                    <a:pt x="91037" y="68004"/>
                  </a:lnTo>
                  <a:lnTo>
                    <a:pt x="89960" y="67565"/>
                  </a:lnTo>
                  <a:lnTo>
                    <a:pt x="84933" y="67023"/>
                  </a:lnTo>
                  <a:lnTo>
                    <a:pt x="82950" y="67454"/>
                  </a:lnTo>
                  <a:lnTo>
                    <a:pt x="80299" y="67288"/>
                  </a:lnTo>
                  <a:lnTo>
                    <a:pt x="77843" y="66810"/>
                  </a:lnTo>
                  <a:lnTo>
                    <a:pt x="76014" y="67198"/>
                  </a:lnTo>
                  <a:lnTo>
                    <a:pt x="74395" y="69073"/>
                  </a:lnTo>
                  <a:lnTo>
                    <a:pt x="73594" y="69706"/>
                  </a:lnTo>
                  <a:lnTo>
                    <a:pt x="72965" y="70111"/>
                  </a:lnTo>
                  <a:lnTo>
                    <a:pt x="71581" y="70699"/>
                  </a:lnTo>
                  <a:lnTo>
                    <a:pt x="70428" y="71407"/>
                  </a:lnTo>
                  <a:lnTo>
                    <a:pt x="68886" y="71916"/>
                  </a:lnTo>
                  <a:lnTo>
                    <a:pt x="67513" y="71845"/>
                  </a:lnTo>
                  <a:lnTo>
                    <a:pt x="66208" y="71040"/>
                  </a:lnTo>
                  <a:lnTo>
                    <a:pt x="65742" y="71223"/>
                  </a:lnTo>
                  <a:lnTo>
                    <a:pt x="65332" y="71965"/>
                  </a:lnTo>
                  <a:lnTo>
                    <a:pt x="64626" y="72599"/>
                  </a:lnTo>
                  <a:lnTo>
                    <a:pt x="62682" y="73380"/>
                  </a:lnTo>
                  <a:lnTo>
                    <a:pt x="62186" y="73371"/>
                  </a:lnTo>
                  <a:lnTo>
                    <a:pt x="62073" y="73371"/>
                  </a:lnTo>
                  <a:lnTo>
                    <a:pt x="60586" y="73947"/>
                  </a:lnTo>
                  <a:lnTo>
                    <a:pt x="58126" y="74264"/>
                  </a:lnTo>
                  <a:lnTo>
                    <a:pt x="56893" y="74040"/>
                  </a:lnTo>
                  <a:lnTo>
                    <a:pt x="54651" y="76637"/>
                  </a:lnTo>
                  <a:lnTo>
                    <a:pt x="53965" y="77110"/>
                  </a:lnTo>
                  <a:lnTo>
                    <a:pt x="51836" y="77904"/>
                  </a:lnTo>
                  <a:lnTo>
                    <a:pt x="50089" y="78298"/>
                  </a:lnTo>
                  <a:lnTo>
                    <a:pt x="48592" y="77983"/>
                  </a:lnTo>
                  <a:lnTo>
                    <a:pt x="48003" y="77955"/>
                  </a:lnTo>
                  <a:lnTo>
                    <a:pt x="41367" y="77823"/>
                  </a:lnTo>
                  <a:lnTo>
                    <a:pt x="37901" y="77267"/>
                  </a:lnTo>
                  <a:lnTo>
                    <a:pt x="35675" y="76253"/>
                  </a:lnTo>
                  <a:lnTo>
                    <a:pt x="34198" y="75119"/>
                  </a:lnTo>
                  <a:lnTo>
                    <a:pt x="33477" y="73867"/>
                  </a:lnTo>
                  <a:lnTo>
                    <a:pt x="31756" y="73107"/>
                  </a:lnTo>
                  <a:lnTo>
                    <a:pt x="29039" y="72837"/>
                  </a:lnTo>
                  <a:lnTo>
                    <a:pt x="26923" y="71593"/>
                  </a:lnTo>
                  <a:lnTo>
                    <a:pt x="25409" y="69370"/>
                  </a:lnTo>
                  <a:lnTo>
                    <a:pt x="23362" y="67608"/>
                  </a:lnTo>
                  <a:lnTo>
                    <a:pt x="20777" y="66309"/>
                  </a:lnTo>
                  <a:lnTo>
                    <a:pt x="18726" y="64472"/>
                  </a:lnTo>
                  <a:lnTo>
                    <a:pt x="17212" y="62100"/>
                  </a:lnTo>
                  <a:lnTo>
                    <a:pt x="14483" y="59962"/>
                  </a:lnTo>
                  <a:lnTo>
                    <a:pt x="10544" y="58059"/>
                  </a:lnTo>
                  <a:lnTo>
                    <a:pt x="9356" y="57645"/>
                  </a:lnTo>
                  <a:lnTo>
                    <a:pt x="9123" y="57030"/>
                  </a:lnTo>
                  <a:lnTo>
                    <a:pt x="7195" y="54664"/>
                  </a:lnTo>
                  <a:lnTo>
                    <a:pt x="6372" y="53790"/>
                  </a:lnTo>
                  <a:lnTo>
                    <a:pt x="6445" y="52618"/>
                  </a:lnTo>
                  <a:lnTo>
                    <a:pt x="6061" y="51951"/>
                  </a:lnTo>
                  <a:lnTo>
                    <a:pt x="5359" y="51483"/>
                  </a:lnTo>
                  <a:lnTo>
                    <a:pt x="4984" y="49788"/>
                  </a:lnTo>
                  <a:lnTo>
                    <a:pt x="4763" y="48522"/>
                  </a:lnTo>
                  <a:lnTo>
                    <a:pt x="4213" y="47706"/>
                  </a:lnTo>
                  <a:lnTo>
                    <a:pt x="0" y="47538"/>
                  </a:lnTo>
                  <a:lnTo>
                    <a:pt x="3526" y="44509"/>
                  </a:lnTo>
                  <a:lnTo>
                    <a:pt x="5279" y="43664"/>
                  </a:lnTo>
                  <a:lnTo>
                    <a:pt x="7316" y="43810"/>
                  </a:lnTo>
                  <a:lnTo>
                    <a:pt x="7968" y="43536"/>
                  </a:lnTo>
                  <a:lnTo>
                    <a:pt x="8141" y="43098"/>
                  </a:lnTo>
                  <a:lnTo>
                    <a:pt x="8488" y="42110"/>
                  </a:lnTo>
                  <a:lnTo>
                    <a:pt x="8661" y="41177"/>
                  </a:lnTo>
                  <a:lnTo>
                    <a:pt x="8836" y="40300"/>
                  </a:lnTo>
                  <a:lnTo>
                    <a:pt x="8618" y="39804"/>
                  </a:lnTo>
                  <a:lnTo>
                    <a:pt x="7635" y="39650"/>
                  </a:lnTo>
                  <a:lnTo>
                    <a:pt x="7160" y="37482"/>
                  </a:lnTo>
                  <a:lnTo>
                    <a:pt x="7666" y="36662"/>
                  </a:lnTo>
                  <a:lnTo>
                    <a:pt x="8171" y="36091"/>
                  </a:lnTo>
                  <a:lnTo>
                    <a:pt x="7547" y="33450"/>
                  </a:lnTo>
                  <a:lnTo>
                    <a:pt x="7735" y="32551"/>
                  </a:lnTo>
                  <a:lnTo>
                    <a:pt x="9324" y="32410"/>
                  </a:lnTo>
                  <a:lnTo>
                    <a:pt x="10643" y="31846"/>
                  </a:lnTo>
                  <a:lnTo>
                    <a:pt x="11719" y="31204"/>
                  </a:lnTo>
                  <a:lnTo>
                    <a:pt x="12019" y="30389"/>
                  </a:lnTo>
                  <a:lnTo>
                    <a:pt x="12902" y="28722"/>
                  </a:lnTo>
                  <a:lnTo>
                    <a:pt x="12088" y="26676"/>
                  </a:lnTo>
                  <a:lnTo>
                    <a:pt x="7497" y="25343"/>
                  </a:lnTo>
                  <a:lnTo>
                    <a:pt x="7257" y="24833"/>
                  </a:lnTo>
                  <a:lnTo>
                    <a:pt x="8326" y="24253"/>
                  </a:lnTo>
                  <a:lnTo>
                    <a:pt x="9464" y="23427"/>
                  </a:lnTo>
                  <a:lnTo>
                    <a:pt x="10125" y="22783"/>
                  </a:lnTo>
                  <a:lnTo>
                    <a:pt x="11008" y="22693"/>
                  </a:lnTo>
                  <a:lnTo>
                    <a:pt x="12259" y="23017"/>
                  </a:lnTo>
                  <a:lnTo>
                    <a:pt x="14472" y="24501"/>
                  </a:lnTo>
                  <a:lnTo>
                    <a:pt x="15320" y="24715"/>
                  </a:lnTo>
                  <a:lnTo>
                    <a:pt x="16141" y="24284"/>
                  </a:lnTo>
                  <a:lnTo>
                    <a:pt x="17018" y="24192"/>
                  </a:lnTo>
                  <a:lnTo>
                    <a:pt x="19466" y="24246"/>
                  </a:lnTo>
                  <a:lnTo>
                    <a:pt x="21527" y="23902"/>
                  </a:lnTo>
                  <a:lnTo>
                    <a:pt x="21062" y="22321"/>
                  </a:lnTo>
                  <a:lnTo>
                    <a:pt x="21069" y="21173"/>
                  </a:lnTo>
                  <a:lnTo>
                    <a:pt x="20719" y="20256"/>
                  </a:lnTo>
                  <a:lnTo>
                    <a:pt x="20937" y="19246"/>
                  </a:lnTo>
                  <a:lnTo>
                    <a:pt x="21773" y="18459"/>
                  </a:lnTo>
                  <a:lnTo>
                    <a:pt x="22023" y="16690"/>
                  </a:lnTo>
                  <a:lnTo>
                    <a:pt x="23312" y="15496"/>
                  </a:lnTo>
                  <a:lnTo>
                    <a:pt x="23915" y="15324"/>
                  </a:lnTo>
                  <a:lnTo>
                    <a:pt x="26185" y="15542"/>
                  </a:lnTo>
                  <a:lnTo>
                    <a:pt x="26722" y="15852"/>
                  </a:lnTo>
                  <a:lnTo>
                    <a:pt x="27070" y="15920"/>
                  </a:lnTo>
                  <a:lnTo>
                    <a:pt x="30682" y="18834"/>
                  </a:lnTo>
                  <a:lnTo>
                    <a:pt x="34101" y="21022"/>
                  </a:lnTo>
                  <a:lnTo>
                    <a:pt x="36901" y="22141"/>
                  </a:lnTo>
                  <a:lnTo>
                    <a:pt x="41015" y="22233"/>
                  </a:lnTo>
                  <a:lnTo>
                    <a:pt x="45386" y="22330"/>
                  </a:lnTo>
                  <a:lnTo>
                    <a:pt x="52697" y="21949"/>
                  </a:lnTo>
                  <a:lnTo>
                    <a:pt x="58180" y="21663"/>
                  </a:lnTo>
                  <a:lnTo>
                    <a:pt x="58543" y="21118"/>
                  </a:lnTo>
                  <a:lnTo>
                    <a:pt x="59370" y="19812"/>
                  </a:lnTo>
                  <a:lnTo>
                    <a:pt x="58713" y="18691"/>
                  </a:lnTo>
                  <a:lnTo>
                    <a:pt x="58752" y="17372"/>
                  </a:lnTo>
                  <a:lnTo>
                    <a:pt x="59676" y="15656"/>
                  </a:lnTo>
                  <a:lnTo>
                    <a:pt x="62380" y="14230"/>
                  </a:lnTo>
                  <a:lnTo>
                    <a:pt x="70141" y="13602"/>
                  </a:lnTo>
                  <a:lnTo>
                    <a:pt x="74604" y="12539"/>
                  </a:lnTo>
                  <a:lnTo>
                    <a:pt x="75278" y="11086"/>
                  </a:lnTo>
                  <a:lnTo>
                    <a:pt x="76755" y="9652"/>
                  </a:lnTo>
                  <a:lnTo>
                    <a:pt x="78107" y="9362"/>
                  </a:lnTo>
                  <a:lnTo>
                    <a:pt x="79960" y="10020"/>
                  </a:lnTo>
                  <a:lnTo>
                    <a:pt x="82190" y="11286"/>
                  </a:lnTo>
                  <a:lnTo>
                    <a:pt x="84149" y="11955"/>
                  </a:lnTo>
                  <a:lnTo>
                    <a:pt x="85293" y="11524"/>
                  </a:lnTo>
                  <a:lnTo>
                    <a:pt x="89234" y="9392"/>
                  </a:lnTo>
                  <a:lnTo>
                    <a:pt x="93771" y="7311"/>
                  </a:lnTo>
                  <a:lnTo>
                    <a:pt x="96893" y="1656"/>
                  </a:lnTo>
                  <a:lnTo>
                    <a:pt x="97226" y="754"/>
                  </a:lnTo>
                  <a:lnTo>
                    <a:pt x="100612" y="106"/>
                  </a:lnTo>
                  <a:lnTo>
                    <a:pt x="105553" y="222"/>
                  </a:lnTo>
                  <a:lnTo>
                    <a:pt x="108085" y="959"/>
                  </a:lnTo>
                  <a:lnTo>
                    <a:pt x="109990" y="1349"/>
                  </a:lnTo>
                  <a:lnTo>
                    <a:pt x="112845" y="1216"/>
                  </a:lnTo>
                  <a:lnTo>
                    <a:pt x="116958" y="0"/>
                  </a:lnTo>
                  <a:lnTo>
                    <a:pt x="118483" y="34"/>
                  </a:lnTo>
                  <a:lnTo>
                    <a:pt x="119662" y="897"/>
                  </a:lnTo>
                  <a:lnTo>
                    <a:pt x="120956" y="1639"/>
                  </a:lnTo>
                  <a:lnTo>
                    <a:pt x="121828" y="2548"/>
                  </a:lnTo>
                  <a:lnTo>
                    <a:pt x="122489" y="3828"/>
                  </a:lnTo>
                  <a:lnTo>
                    <a:pt x="122845" y="4311"/>
                  </a:lnTo>
                  <a:lnTo>
                    <a:pt x="123419" y="4966"/>
                  </a:lnTo>
                  <a:lnTo>
                    <a:pt x="124456" y="5867"/>
                  </a:lnTo>
                  <a:lnTo>
                    <a:pt x="125462" y="6107"/>
                  </a:lnTo>
                  <a:lnTo>
                    <a:pt x="133076" y="4541"/>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3" name="ee4p_IE_1_15912">
              <a:extLst>
                <a:ext uri="{FF2B5EF4-FFF2-40B4-BE49-F238E27FC236}">
                  <a16:creationId xmlns:a16="http://schemas.microsoft.com/office/drawing/2014/main" id="{B8782764-E61F-DC5D-A34D-9BF2303200C0}"/>
                </a:ext>
              </a:extLst>
            </p:cNvPr>
            <p:cNvSpPr>
              <a:spLocks noChangeAspect="1"/>
            </p:cNvSpPr>
            <p:nvPr>
              <p:custDataLst>
                <p:tags r:id="rId35"/>
              </p:custDataLst>
            </p:nvPr>
          </p:nvSpPr>
          <p:spPr>
            <a:xfrm>
              <a:off x="2860933" y="3896828"/>
              <a:ext cx="382433" cy="464655"/>
            </a:xfrm>
            <a:custGeom>
              <a:avLst/>
              <a:gdLst>
                <a:gd name="connsiteX0" fmla="*/ 4626 w 96471"/>
                <a:gd name="connsiteY0" fmla="*/ 41297 h 117212"/>
                <a:gd name="connsiteX1" fmla="*/ 5539 w 96471"/>
                <a:gd name="connsiteY1" fmla="*/ 41650 h 117212"/>
                <a:gd name="connsiteX2" fmla="*/ 8709 w 96471"/>
                <a:gd name="connsiteY2" fmla="*/ 41699 h 117212"/>
                <a:gd name="connsiteX3" fmla="*/ 9599 w 96471"/>
                <a:gd name="connsiteY3" fmla="*/ 42196 h 117212"/>
                <a:gd name="connsiteX4" fmla="*/ 9774 w 96471"/>
                <a:gd name="connsiteY4" fmla="*/ 44442 h 117212"/>
                <a:gd name="connsiteX5" fmla="*/ 9681 w 96471"/>
                <a:gd name="connsiteY5" fmla="*/ 45307 h 117212"/>
                <a:gd name="connsiteX6" fmla="*/ 8043 w 96471"/>
                <a:gd name="connsiteY6" fmla="*/ 44217 h 117212"/>
                <a:gd name="connsiteX7" fmla="*/ 7247 w 96471"/>
                <a:gd name="connsiteY7" fmla="*/ 43030 h 117212"/>
                <a:gd name="connsiteX8" fmla="*/ 2753 w 96471"/>
                <a:gd name="connsiteY8" fmla="*/ 42485 h 117212"/>
                <a:gd name="connsiteX9" fmla="*/ 68137 w 96471"/>
                <a:gd name="connsiteY9" fmla="*/ 0 h 117212"/>
                <a:gd name="connsiteX10" fmla="*/ 69511 w 96471"/>
                <a:gd name="connsiteY10" fmla="*/ 395 h 117212"/>
                <a:gd name="connsiteX11" fmla="*/ 71531 w 96471"/>
                <a:gd name="connsiteY11" fmla="*/ 1873 h 117212"/>
                <a:gd name="connsiteX12" fmla="*/ 73633 w 96471"/>
                <a:gd name="connsiteY12" fmla="*/ 3031 h 117212"/>
                <a:gd name="connsiteX13" fmla="*/ 75813 w 96471"/>
                <a:gd name="connsiteY13" fmla="*/ 3949 h 117212"/>
                <a:gd name="connsiteX14" fmla="*/ 73718 w 96471"/>
                <a:gd name="connsiteY14" fmla="*/ 5785 h 117212"/>
                <a:gd name="connsiteX15" fmla="*/ 71143 w 96471"/>
                <a:gd name="connsiteY15" fmla="*/ 7058 h 117212"/>
                <a:gd name="connsiteX16" fmla="*/ 70130 w 96471"/>
                <a:gd name="connsiteY16" fmla="*/ 8444 h 117212"/>
                <a:gd name="connsiteX17" fmla="*/ 66631 w 96471"/>
                <a:gd name="connsiteY17" fmla="*/ 10422 h 117212"/>
                <a:gd name="connsiteX18" fmla="*/ 66089 w 96471"/>
                <a:gd name="connsiteY18" fmla="*/ 11171 h 117212"/>
                <a:gd name="connsiteX19" fmla="*/ 65103 w 96471"/>
                <a:gd name="connsiteY19" fmla="*/ 14188 h 117212"/>
                <a:gd name="connsiteX20" fmla="*/ 64987 w 96471"/>
                <a:gd name="connsiteY20" fmla="*/ 15048 h 117212"/>
                <a:gd name="connsiteX21" fmla="*/ 63861 w 96471"/>
                <a:gd name="connsiteY21" fmla="*/ 16633 h 117212"/>
                <a:gd name="connsiteX22" fmla="*/ 62795 w 96471"/>
                <a:gd name="connsiteY22" fmla="*/ 18395 h 117212"/>
                <a:gd name="connsiteX23" fmla="*/ 61555 w 96471"/>
                <a:gd name="connsiteY23" fmla="*/ 19077 h 117212"/>
                <a:gd name="connsiteX24" fmla="*/ 59708 w 96471"/>
                <a:gd name="connsiteY24" fmla="*/ 19618 h 117212"/>
                <a:gd name="connsiteX25" fmla="*/ 58658 w 96471"/>
                <a:gd name="connsiteY25" fmla="*/ 20156 h 117212"/>
                <a:gd name="connsiteX26" fmla="*/ 57336 w 96471"/>
                <a:gd name="connsiteY26" fmla="*/ 19886 h 117212"/>
                <a:gd name="connsiteX27" fmla="*/ 55662 w 96471"/>
                <a:gd name="connsiteY27" fmla="*/ 19929 h 117212"/>
                <a:gd name="connsiteX28" fmla="*/ 54830 w 96471"/>
                <a:gd name="connsiteY28" fmla="*/ 20527 h 117212"/>
                <a:gd name="connsiteX29" fmla="*/ 54871 w 96471"/>
                <a:gd name="connsiteY29" fmla="*/ 20986 h 117212"/>
                <a:gd name="connsiteX30" fmla="*/ 55371 w 96471"/>
                <a:gd name="connsiteY30" fmla="*/ 21515 h 117212"/>
                <a:gd name="connsiteX31" fmla="*/ 56837 w 96471"/>
                <a:gd name="connsiteY31" fmla="*/ 22322 h 117212"/>
                <a:gd name="connsiteX32" fmla="*/ 58463 w 96471"/>
                <a:gd name="connsiteY32" fmla="*/ 23052 h 117212"/>
                <a:gd name="connsiteX33" fmla="*/ 58284 w 96471"/>
                <a:gd name="connsiteY33" fmla="*/ 23691 h 117212"/>
                <a:gd name="connsiteX34" fmla="*/ 57413 w 96471"/>
                <a:gd name="connsiteY34" fmla="*/ 24415 h 117212"/>
                <a:gd name="connsiteX35" fmla="*/ 51873 w 96471"/>
                <a:gd name="connsiteY35" fmla="*/ 26211 h 117212"/>
                <a:gd name="connsiteX36" fmla="*/ 50223 w 96471"/>
                <a:gd name="connsiteY36" fmla="*/ 27295 h 117212"/>
                <a:gd name="connsiteX37" fmla="*/ 49651 w 96471"/>
                <a:gd name="connsiteY37" fmla="*/ 28010 h 117212"/>
                <a:gd name="connsiteX38" fmla="*/ 50238 w 96471"/>
                <a:gd name="connsiteY38" fmla="*/ 29208 h 117212"/>
                <a:gd name="connsiteX39" fmla="*/ 54656 w 96471"/>
                <a:gd name="connsiteY39" fmla="*/ 32794 h 117212"/>
                <a:gd name="connsiteX40" fmla="*/ 55408 w 96471"/>
                <a:gd name="connsiteY40" fmla="*/ 33184 h 117212"/>
                <a:gd name="connsiteX41" fmla="*/ 56061 w 96471"/>
                <a:gd name="connsiteY41" fmla="*/ 35268 h 117212"/>
                <a:gd name="connsiteX42" fmla="*/ 59956 w 96471"/>
                <a:gd name="connsiteY42" fmla="*/ 36139 h 117212"/>
                <a:gd name="connsiteX43" fmla="*/ 61553 w 96471"/>
                <a:gd name="connsiteY43" fmla="*/ 37440 h 117212"/>
                <a:gd name="connsiteX44" fmla="*/ 62927 w 96471"/>
                <a:gd name="connsiteY44" fmla="*/ 37752 h 117212"/>
                <a:gd name="connsiteX45" fmla="*/ 65912 w 96471"/>
                <a:gd name="connsiteY45" fmla="*/ 37639 h 117212"/>
                <a:gd name="connsiteX46" fmla="*/ 67112 w 96471"/>
                <a:gd name="connsiteY46" fmla="*/ 38128 h 117212"/>
                <a:gd name="connsiteX47" fmla="*/ 67790 w 96471"/>
                <a:gd name="connsiteY47" fmla="*/ 37757 h 117212"/>
                <a:gd name="connsiteX48" fmla="*/ 68183 w 96471"/>
                <a:gd name="connsiteY48" fmla="*/ 37071 h 117212"/>
                <a:gd name="connsiteX49" fmla="*/ 70696 w 96471"/>
                <a:gd name="connsiteY49" fmla="*/ 35304 h 117212"/>
                <a:gd name="connsiteX50" fmla="*/ 71527 w 96471"/>
                <a:gd name="connsiteY50" fmla="*/ 34532 h 117212"/>
                <a:gd name="connsiteX51" fmla="*/ 71028 w 96471"/>
                <a:gd name="connsiteY51" fmla="*/ 33454 h 117212"/>
                <a:gd name="connsiteX52" fmla="*/ 70485 w 96471"/>
                <a:gd name="connsiteY52" fmla="*/ 32635 h 117212"/>
                <a:gd name="connsiteX53" fmla="*/ 72013 w 96471"/>
                <a:gd name="connsiteY53" fmla="*/ 31003 h 117212"/>
                <a:gd name="connsiteX54" fmla="*/ 73866 w 96471"/>
                <a:gd name="connsiteY54" fmla="*/ 29391 h 117212"/>
                <a:gd name="connsiteX55" fmla="*/ 74795 w 96471"/>
                <a:gd name="connsiteY55" fmla="*/ 29439 h 117212"/>
                <a:gd name="connsiteX56" fmla="*/ 76377 w 96471"/>
                <a:gd name="connsiteY56" fmla="*/ 30426 h 117212"/>
                <a:gd name="connsiteX57" fmla="*/ 77680 w 96471"/>
                <a:gd name="connsiteY57" fmla="*/ 31804 h 117212"/>
                <a:gd name="connsiteX58" fmla="*/ 77857 w 96471"/>
                <a:gd name="connsiteY58" fmla="*/ 32871 h 117212"/>
                <a:gd name="connsiteX59" fmla="*/ 78097 w 96471"/>
                <a:gd name="connsiteY59" fmla="*/ 33645 h 117212"/>
                <a:gd name="connsiteX60" fmla="*/ 79330 w 96471"/>
                <a:gd name="connsiteY60" fmla="*/ 35297 h 117212"/>
                <a:gd name="connsiteX61" fmla="*/ 80126 w 96471"/>
                <a:gd name="connsiteY61" fmla="*/ 35867 h 117212"/>
                <a:gd name="connsiteX62" fmla="*/ 82273 w 96471"/>
                <a:gd name="connsiteY62" fmla="*/ 36198 h 117212"/>
                <a:gd name="connsiteX63" fmla="*/ 82773 w 96471"/>
                <a:gd name="connsiteY63" fmla="*/ 36846 h 117212"/>
                <a:gd name="connsiteX64" fmla="*/ 82390 w 96471"/>
                <a:gd name="connsiteY64" fmla="*/ 39235 h 117212"/>
                <a:gd name="connsiteX65" fmla="*/ 82709 w 96471"/>
                <a:gd name="connsiteY65" fmla="*/ 40029 h 117212"/>
                <a:gd name="connsiteX66" fmla="*/ 84957 w 96471"/>
                <a:gd name="connsiteY66" fmla="*/ 40070 h 117212"/>
                <a:gd name="connsiteX67" fmla="*/ 87342 w 96471"/>
                <a:gd name="connsiteY67" fmla="*/ 39877 h 117212"/>
                <a:gd name="connsiteX68" fmla="*/ 88175 w 96471"/>
                <a:gd name="connsiteY68" fmla="*/ 39968 h 117212"/>
                <a:gd name="connsiteX69" fmla="*/ 89036 w 96471"/>
                <a:gd name="connsiteY69" fmla="*/ 39468 h 117212"/>
                <a:gd name="connsiteX70" fmla="*/ 90363 w 96471"/>
                <a:gd name="connsiteY70" fmla="*/ 38929 h 117212"/>
                <a:gd name="connsiteX71" fmla="*/ 92257 w 96471"/>
                <a:gd name="connsiteY71" fmla="*/ 39115 h 117212"/>
                <a:gd name="connsiteX72" fmla="*/ 93191 w 96471"/>
                <a:gd name="connsiteY72" fmla="*/ 40184 h 117212"/>
                <a:gd name="connsiteX73" fmla="*/ 93607 w 96471"/>
                <a:gd name="connsiteY73" fmla="*/ 41285 h 117212"/>
                <a:gd name="connsiteX74" fmla="*/ 91977 w 96471"/>
                <a:gd name="connsiteY74" fmla="*/ 41699 h 117212"/>
                <a:gd name="connsiteX75" fmla="*/ 90275 w 96471"/>
                <a:gd name="connsiteY75" fmla="*/ 41473 h 117212"/>
                <a:gd name="connsiteX76" fmla="*/ 89445 w 96471"/>
                <a:gd name="connsiteY76" fmla="*/ 42196 h 117212"/>
                <a:gd name="connsiteX77" fmla="*/ 89391 w 96471"/>
                <a:gd name="connsiteY77" fmla="*/ 43588 h 117212"/>
                <a:gd name="connsiteX78" fmla="*/ 89966 w 96471"/>
                <a:gd name="connsiteY78" fmla="*/ 45379 h 117212"/>
                <a:gd name="connsiteX79" fmla="*/ 91104 w 96471"/>
                <a:gd name="connsiteY79" fmla="*/ 46649 h 117212"/>
                <a:gd name="connsiteX80" fmla="*/ 92014 w 96471"/>
                <a:gd name="connsiteY80" fmla="*/ 49509 h 117212"/>
                <a:gd name="connsiteX81" fmla="*/ 92768 w 96471"/>
                <a:gd name="connsiteY81" fmla="*/ 52676 h 117212"/>
                <a:gd name="connsiteX82" fmla="*/ 93941 w 96471"/>
                <a:gd name="connsiteY82" fmla="*/ 54588 h 117212"/>
                <a:gd name="connsiteX83" fmla="*/ 94182 w 96471"/>
                <a:gd name="connsiteY83" fmla="*/ 56958 h 117212"/>
                <a:gd name="connsiteX84" fmla="*/ 94009 w 96471"/>
                <a:gd name="connsiteY84" fmla="*/ 58122 h 117212"/>
                <a:gd name="connsiteX85" fmla="*/ 94223 w 96471"/>
                <a:gd name="connsiteY85" fmla="*/ 60212 h 117212"/>
                <a:gd name="connsiteX86" fmla="*/ 93724 w 96471"/>
                <a:gd name="connsiteY86" fmla="*/ 60948 h 117212"/>
                <a:gd name="connsiteX87" fmla="*/ 94098 w 96471"/>
                <a:gd name="connsiteY87" fmla="*/ 62908 h 117212"/>
                <a:gd name="connsiteX88" fmla="*/ 95479 w 96471"/>
                <a:gd name="connsiteY88" fmla="*/ 66960 h 117212"/>
                <a:gd name="connsiteX89" fmla="*/ 96082 w 96471"/>
                <a:gd name="connsiteY89" fmla="*/ 69214 h 117212"/>
                <a:gd name="connsiteX90" fmla="*/ 96471 w 96471"/>
                <a:gd name="connsiteY90" fmla="*/ 74127 h 117212"/>
                <a:gd name="connsiteX91" fmla="*/ 95497 w 96471"/>
                <a:gd name="connsiteY91" fmla="*/ 75966 h 117212"/>
                <a:gd name="connsiteX92" fmla="*/ 94188 w 96471"/>
                <a:gd name="connsiteY92" fmla="*/ 77709 h 117212"/>
                <a:gd name="connsiteX93" fmla="*/ 93333 w 96471"/>
                <a:gd name="connsiteY93" fmla="*/ 79774 h 117212"/>
                <a:gd name="connsiteX94" fmla="*/ 92672 w 96471"/>
                <a:gd name="connsiteY94" fmla="*/ 82001 h 117212"/>
                <a:gd name="connsiteX95" fmla="*/ 92274 w 96471"/>
                <a:gd name="connsiteY95" fmla="*/ 85587 h 117212"/>
                <a:gd name="connsiteX96" fmla="*/ 89440 w 96471"/>
                <a:gd name="connsiteY96" fmla="*/ 89784 h 117212"/>
                <a:gd name="connsiteX97" fmla="*/ 88234 w 96471"/>
                <a:gd name="connsiteY97" fmla="*/ 90826 h 117212"/>
                <a:gd name="connsiteX98" fmla="*/ 86835 w 96471"/>
                <a:gd name="connsiteY98" fmla="*/ 91467 h 117212"/>
                <a:gd name="connsiteX99" fmla="*/ 89891 w 96471"/>
                <a:gd name="connsiteY99" fmla="*/ 94395 h 117212"/>
                <a:gd name="connsiteX100" fmla="*/ 87394 w 96471"/>
                <a:gd name="connsiteY100" fmla="*/ 95700 h 117212"/>
                <a:gd name="connsiteX101" fmla="*/ 84671 w 96471"/>
                <a:gd name="connsiteY101" fmla="*/ 96111 h 117212"/>
                <a:gd name="connsiteX102" fmla="*/ 81658 w 96471"/>
                <a:gd name="connsiteY102" fmla="*/ 95379 h 117212"/>
                <a:gd name="connsiteX103" fmla="*/ 79781 w 96471"/>
                <a:gd name="connsiteY103" fmla="*/ 95468 h 117212"/>
                <a:gd name="connsiteX104" fmla="*/ 78067 w 96471"/>
                <a:gd name="connsiteY104" fmla="*/ 96415 h 117212"/>
                <a:gd name="connsiteX105" fmla="*/ 77392 w 96471"/>
                <a:gd name="connsiteY105" fmla="*/ 96988 h 117212"/>
                <a:gd name="connsiteX106" fmla="*/ 76853 w 96471"/>
                <a:gd name="connsiteY106" fmla="*/ 96711 h 117212"/>
                <a:gd name="connsiteX107" fmla="*/ 75722 w 96471"/>
                <a:gd name="connsiteY107" fmla="*/ 94311 h 117212"/>
                <a:gd name="connsiteX108" fmla="*/ 74893 w 96471"/>
                <a:gd name="connsiteY108" fmla="*/ 96790 h 117212"/>
                <a:gd name="connsiteX109" fmla="*/ 73157 w 96471"/>
                <a:gd name="connsiteY109" fmla="*/ 97578 h 117212"/>
                <a:gd name="connsiteX110" fmla="*/ 70184 w 96471"/>
                <a:gd name="connsiteY110" fmla="*/ 97410 h 117212"/>
                <a:gd name="connsiteX111" fmla="*/ 65217 w 96471"/>
                <a:gd name="connsiteY111" fmla="*/ 98070 h 117212"/>
                <a:gd name="connsiteX112" fmla="*/ 63306 w 96471"/>
                <a:gd name="connsiteY112" fmla="*/ 98775 h 117212"/>
                <a:gd name="connsiteX113" fmla="*/ 62512 w 96471"/>
                <a:gd name="connsiteY113" fmla="*/ 99878 h 117212"/>
                <a:gd name="connsiteX114" fmla="*/ 61922 w 96471"/>
                <a:gd name="connsiteY114" fmla="*/ 101152 h 117212"/>
                <a:gd name="connsiteX115" fmla="*/ 61147 w 96471"/>
                <a:gd name="connsiteY115" fmla="*/ 101904 h 117212"/>
                <a:gd name="connsiteX116" fmla="*/ 60271 w 96471"/>
                <a:gd name="connsiteY116" fmla="*/ 102300 h 117212"/>
                <a:gd name="connsiteX117" fmla="*/ 56436 w 96471"/>
                <a:gd name="connsiteY117" fmla="*/ 103238 h 117212"/>
                <a:gd name="connsiteX118" fmla="*/ 55680 w 96471"/>
                <a:gd name="connsiteY118" fmla="*/ 103613 h 117212"/>
                <a:gd name="connsiteX119" fmla="*/ 53904 w 96471"/>
                <a:gd name="connsiteY119" fmla="*/ 105667 h 117212"/>
                <a:gd name="connsiteX120" fmla="*/ 51575 w 96471"/>
                <a:gd name="connsiteY120" fmla="*/ 106853 h 117212"/>
                <a:gd name="connsiteX121" fmla="*/ 49646 w 96471"/>
                <a:gd name="connsiteY121" fmla="*/ 107208 h 117212"/>
                <a:gd name="connsiteX122" fmla="*/ 47934 w 96471"/>
                <a:gd name="connsiteY122" fmla="*/ 106014 h 117212"/>
                <a:gd name="connsiteX123" fmla="*/ 47230 w 96471"/>
                <a:gd name="connsiteY123" fmla="*/ 105296 h 117212"/>
                <a:gd name="connsiteX124" fmla="*/ 46435 w 96471"/>
                <a:gd name="connsiteY124" fmla="*/ 104931 h 117212"/>
                <a:gd name="connsiteX125" fmla="*/ 43805 w 96471"/>
                <a:gd name="connsiteY125" fmla="*/ 104987 h 117212"/>
                <a:gd name="connsiteX126" fmla="*/ 44636 w 96471"/>
                <a:gd name="connsiteY126" fmla="*/ 105357 h 117212"/>
                <a:gd name="connsiteX127" fmla="*/ 45172 w 96471"/>
                <a:gd name="connsiteY127" fmla="*/ 106200 h 117212"/>
                <a:gd name="connsiteX128" fmla="*/ 45432 w 96471"/>
                <a:gd name="connsiteY128" fmla="*/ 107815 h 117212"/>
                <a:gd name="connsiteX129" fmla="*/ 45133 w 96471"/>
                <a:gd name="connsiteY129" fmla="*/ 109397 h 117212"/>
                <a:gd name="connsiteX130" fmla="*/ 43836 w 96471"/>
                <a:gd name="connsiteY130" fmla="*/ 110200 h 117212"/>
                <a:gd name="connsiteX131" fmla="*/ 42287 w 96471"/>
                <a:gd name="connsiteY131" fmla="*/ 110348 h 117212"/>
                <a:gd name="connsiteX132" fmla="*/ 39845 w 96471"/>
                <a:gd name="connsiteY132" fmla="*/ 111987 h 117212"/>
                <a:gd name="connsiteX133" fmla="*/ 36612 w 96471"/>
                <a:gd name="connsiteY133" fmla="*/ 112435 h 117212"/>
                <a:gd name="connsiteX134" fmla="*/ 34866 w 96471"/>
                <a:gd name="connsiteY134" fmla="*/ 113943 h 117212"/>
                <a:gd name="connsiteX135" fmla="*/ 24185 w 96471"/>
                <a:gd name="connsiteY135" fmla="*/ 116492 h 117212"/>
                <a:gd name="connsiteX136" fmla="*/ 23579 w 96471"/>
                <a:gd name="connsiteY136" fmla="*/ 116522 h 117212"/>
                <a:gd name="connsiteX137" fmla="*/ 22105 w 96471"/>
                <a:gd name="connsiteY137" fmla="*/ 115873 h 117212"/>
                <a:gd name="connsiteX138" fmla="*/ 20506 w 96471"/>
                <a:gd name="connsiteY138" fmla="*/ 115586 h 117212"/>
                <a:gd name="connsiteX139" fmla="*/ 18914 w 96471"/>
                <a:gd name="connsiteY139" fmla="*/ 115789 h 117212"/>
                <a:gd name="connsiteX140" fmla="*/ 14438 w 96471"/>
                <a:gd name="connsiteY140" fmla="*/ 117212 h 117212"/>
                <a:gd name="connsiteX141" fmla="*/ 12270 w 96471"/>
                <a:gd name="connsiteY141" fmla="*/ 116929 h 117212"/>
                <a:gd name="connsiteX142" fmla="*/ 15033 w 96471"/>
                <a:gd name="connsiteY142" fmla="*/ 113390 h 117212"/>
                <a:gd name="connsiteX143" fmla="*/ 18748 w 96471"/>
                <a:gd name="connsiteY143" fmla="*/ 111602 h 117212"/>
                <a:gd name="connsiteX144" fmla="*/ 19134 w 96471"/>
                <a:gd name="connsiteY144" fmla="*/ 111112 h 117212"/>
                <a:gd name="connsiteX145" fmla="*/ 17920 w 96471"/>
                <a:gd name="connsiteY145" fmla="*/ 110872 h 117212"/>
                <a:gd name="connsiteX146" fmla="*/ 10862 w 96471"/>
                <a:gd name="connsiteY146" fmla="*/ 112114 h 117212"/>
                <a:gd name="connsiteX147" fmla="*/ 8410 w 96471"/>
                <a:gd name="connsiteY147" fmla="*/ 113172 h 117212"/>
                <a:gd name="connsiteX148" fmla="*/ 5959 w 96471"/>
                <a:gd name="connsiteY148" fmla="*/ 113479 h 117212"/>
                <a:gd name="connsiteX149" fmla="*/ 7094 w 96471"/>
                <a:gd name="connsiteY149" fmla="*/ 111864 h 117212"/>
                <a:gd name="connsiteX150" fmla="*/ 10256 w 96471"/>
                <a:gd name="connsiteY150" fmla="*/ 109650 h 117212"/>
                <a:gd name="connsiteX151" fmla="*/ 11952 w 96471"/>
                <a:gd name="connsiteY151" fmla="*/ 108607 h 117212"/>
                <a:gd name="connsiteX152" fmla="*/ 12987 w 96471"/>
                <a:gd name="connsiteY152" fmla="*/ 108193 h 117212"/>
                <a:gd name="connsiteX153" fmla="*/ 14168 w 96471"/>
                <a:gd name="connsiteY153" fmla="*/ 106891 h 117212"/>
                <a:gd name="connsiteX154" fmla="*/ 17500 w 96471"/>
                <a:gd name="connsiteY154" fmla="*/ 105411 h 117212"/>
                <a:gd name="connsiteX155" fmla="*/ 6767 w 96471"/>
                <a:gd name="connsiteY155" fmla="*/ 108463 h 117212"/>
                <a:gd name="connsiteX156" fmla="*/ 3947 w 96471"/>
                <a:gd name="connsiteY156" fmla="*/ 108091 h 117212"/>
                <a:gd name="connsiteX157" fmla="*/ 3283 w 96471"/>
                <a:gd name="connsiteY157" fmla="*/ 107240 h 117212"/>
                <a:gd name="connsiteX158" fmla="*/ 1087 w 96471"/>
                <a:gd name="connsiteY158" fmla="*/ 107639 h 117212"/>
                <a:gd name="connsiteX159" fmla="*/ 255 w 96471"/>
                <a:gd name="connsiteY159" fmla="*/ 105579 h 117212"/>
                <a:gd name="connsiteX160" fmla="*/ 3508 w 96471"/>
                <a:gd name="connsiteY160" fmla="*/ 102454 h 117212"/>
                <a:gd name="connsiteX161" fmla="*/ 5404 w 96471"/>
                <a:gd name="connsiteY161" fmla="*/ 101109 h 117212"/>
                <a:gd name="connsiteX162" fmla="*/ 7655 w 96471"/>
                <a:gd name="connsiteY162" fmla="*/ 100382 h 117212"/>
                <a:gd name="connsiteX163" fmla="*/ 9822 w 96471"/>
                <a:gd name="connsiteY163" fmla="*/ 99339 h 117212"/>
                <a:gd name="connsiteX164" fmla="*/ 10626 w 96471"/>
                <a:gd name="connsiteY164" fmla="*/ 98063 h 117212"/>
                <a:gd name="connsiteX165" fmla="*/ 9606 w 96471"/>
                <a:gd name="connsiteY165" fmla="*/ 97656 h 117212"/>
                <a:gd name="connsiteX166" fmla="*/ 3112 w 96471"/>
                <a:gd name="connsiteY166" fmla="*/ 97980 h 117212"/>
                <a:gd name="connsiteX167" fmla="*/ 0 w 96471"/>
                <a:gd name="connsiteY167" fmla="*/ 97708 h 117212"/>
                <a:gd name="connsiteX168" fmla="*/ 168 w 96471"/>
                <a:gd name="connsiteY168" fmla="*/ 96696 h 117212"/>
                <a:gd name="connsiteX169" fmla="*/ 742 w 96471"/>
                <a:gd name="connsiteY169" fmla="*/ 95574 h 117212"/>
                <a:gd name="connsiteX170" fmla="*/ 3965 w 96471"/>
                <a:gd name="connsiteY170" fmla="*/ 93654 h 117212"/>
                <a:gd name="connsiteX171" fmla="*/ 5708 w 96471"/>
                <a:gd name="connsiteY171" fmla="*/ 93345 h 117212"/>
                <a:gd name="connsiteX172" fmla="*/ 7263 w 96471"/>
                <a:gd name="connsiteY172" fmla="*/ 93528 h 117212"/>
                <a:gd name="connsiteX173" fmla="*/ 8781 w 96471"/>
                <a:gd name="connsiteY173" fmla="*/ 94020 h 117212"/>
                <a:gd name="connsiteX174" fmla="*/ 10015 w 96471"/>
                <a:gd name="connsiteY174" fmla="*/ 94663 h 117212"/>
                <a:gd name="connsiteX175" fmla="*/ 13668 w 96471"/>
                <a:gd name="connsiteY175" fmla="*/ 94294 h 117212"/>
                <a:gd name="connsiteX176" fmla="*/ 12143 w 96471"/>
                <a:gd name="connsiteY176" fmla="*/ 93067 h 117212"/>
                <a:gd name="connsiteX177" fmla="*/ 11874 w 96471"/>
                <a:gd name="connsiteY177" fmla="*/ 90572 h 117212"/>
                <a:gd name="connsiteX178" fmla="*/ 10706 w 96471"/>
                <a:gd name="connsiteY178" fmla="*/ 89733 h 117212"/>
                <a:gd name="connsiteX179" fmla="*/ 12201 w 96471"/>
                <a:gd name="connsiteY179" fmla="*/ 88575 h 117212"/>
                <a:gd name="connsiteX180" fmla="*/ 13911 w 96471"/>
                <a:gd name="connsiteY180" fmla="*/ 87871 h 117212"/>
                <a:gd name="connsiteX181" fmla="*/ 16761 w 96471"/>
                <a:gd name="connsiteY181" fmla="*/ 85473 h 117212"/>
                <a:gd name="connsiteX182" fmla="*/ 17776 w 96471"/>
                <a:gd name="connsiteY182" fmla="*/ 85108 h 117212"/>
                <a:gd name="connsiteX183" fmla="*/ 23416 w 96471"/>
                <a:gd name="connsiteY183" fmla="*/ 84525 h 117212"/>
                <a:gd name="connsiteX184" fmla="*/ 29499 w 96471"/>
                <a:gd name="connsiteY184" fmla="*/ 83263 h 117212"/>
                <a:gd name="connsiteX185" fmla="*/ 35529 w 96471"/>
                <a:gd name="connsiteY185" fmla="*/ 81519 h 117212"/>
                <a:gd name="connsiteX186" fmla="*/ 32437 w 96471"/>
                <a:gd name="connsiteY186" fmla="*/ 80544 h 117212"/>
                <a:gd name="connsiteX187" fmla="*/ 30956 w 96471"/>
                <a:gd name="connsiteY187" fmla="*/ 79257 h 117212"/>
                <a:gd name="connsiteX188" fmla="*/ 28576 w 96471"/>
                <a:gd name="connsiteY188" fmla="*/ 81858 h 117212"/>
                <a:gd name="connsiteX189" fmla="*/ 26863 w 96471"/>
                <a:gd name="connsiteY189" fmla="*/ 82852 h 117212"/>
                <a:gd name="connsiteX190" fmla="*/ 22024 w 96471"/>
                <a:gd name="connsiteY190" fmla="*/ 83383 h 117212"/>
                <a:gd name="connsiteX191" fmla="*/ 20492 w 96471"/>
                <a:gd name="connsiteY191" fmla="*/ 83091 h 117212"/>
                <a:gd name="connsiteX192" fmla="*/ 18335 w 96471"/>
                <a:gd name="connsiteY192" fmla="*/ 82284 h 117212"/>
                <a:gd name="connsiteX193" fmla="*/ 17665 w 96471"/>
                <a:gd name="connsiteY193" fmla="*/ 82592 h 117212"/>
                <a:gd name="connsiteX194" fmla="*/ 17042 w 96471"/>
                <a:gd name="connsiteY194" fmla="*/ 83215 h 117212"/>
                <a:gd name="connsiteX195" fmla="*/ 13839 w 96471"/>
                <a:gd name="connsiteY195" fmla="*/ 84489 h 117212"/>
                <a:gd name="connsiteX196" fmla="*/ 10473 w 96471"/>
                <a:gd name="connsiteY196" fmla="*/ 84794 h 117212"/>
                <a:gd name="connsiteX197" fmla="*/ 14387 w 96471"/>
                <a:gd name="connsiteY197" fmla="*/ 82456 h 117212"/>
                <a:gd name="connsiteX198" fmla="*/ 19353 w 96471"/>
                <a:gd name="connsiteY198" fmla="*/ 78489 h 117212"/>
                <a:gd name="connsiteX199" fmla="*/ 20461 w 96471"/>
                <a:gd name="connsiteY199" fmla="*/ 77234 h 117212"/>
                <a:gd name="connsiteX200" fmla="*/ 22037 w 96471"/>
                <a:gd name="connsiteY200" fmla="*/ 75050 h 117212"/>
                <a:gd name="connsiteX201" fmla="*/ 21549 w 96471"/>
                <a:gd name="connsiteY201" fmla="*/ 74078 h 117212"/>
                <a:gd name="connsiteX202" fmla="*/ 20526 w 96471"/>
                <a:gd name="connsiteY202" fmla="*/ 73524 h 117212"/>
                <a:gd name="connsiteX203" fmla="*/ 24125 w 96471"/>
                <a:gd name="connsiteY203" fmla="*/ 69022 h 117212"/>
                <a:gd name="connsiteX204" fmla="*/ 25392 w 96471"/>
                <a:gd name="connsiteY204" fmla="*/ 68204 h 117212"/>
                <a:gd name="connsiteX205" fmla="*/ 27699 w 96471"/>
                <a:gd name="connsiteY205" fmla="*/ 68072 h 117212"/>
                <a:gd name="connsiteX206" fmla="*/ 29389 w 96471"/>
                <a:gd name="connsiteY206" fmla="*/ 67357 h 117212"/>
                <a:gd name="connsiteX207" fmla="*/ 30134 w 96471"/>
                <a:gd name="connsiteY207" fmla="*/ 67354 h 117212"/>
                <a:gd name="connsiteX208" fmla="*/ 30804 w 96471"/>
                <a:gd name="connsiteY208" fmla="*/ 67088 h 117212"/>
                <a:gd name="connsiteX209" fmla="*/ 32286 w 96471"/>
                <a:gd name="connsiteY209" fmla="*/ 65736 h 117212"/>
                <a:gd name="connsiteX210" fmla="*/ 29999 w 96471"/>
                <a:gd name="connsiteY210" fmla="*/ 64876 h 117212"/>
                <a:gd name="connsiteX211" fmla="*/ 27638 w 96471"/>
                <a:gd name="connsiteY211" fmla="*/ 64433 h 117212"/>
                <a:gd name="connsiteX212" fmla="*/ 20332 w 96471"/>
                <a:gd name="connsiteY212" fmla="*/ 64902 h 117212"/>
                <a:gd name="connsiteX213" fmla="*/ 19371 w 96471"/>
                <a:gd name="connsiteY213" fmla="*/ 64801 h 117212"/>
                <a:gd name="connsiteX214" fmla="*/ 18465 w 96471"/>
                <a:gd name="connsiteY214" fmla="*/ 64386 h 117212"/>
                <a:gd name="connsiteX215" fmla="*/ 17877 w 96471"/>
                <a:gd name="connsiteY215" fmla="*/ 63787 h 117212"/>
                <a:gd name="connsiteX216" fmla="*/ 17435 w 96471"/>
                <a:gd name="connsiteY216" fmla="*/ 62252 h 117212"/>
                <a:gd name="connsiteX217" fmla="*/ 16899 w 96471"/>
                <a:gd name="connsiteY217" fmla="*/ 61909 h 117212"/>
                <a:gd name="connsiteX218" fmla="*/ 15250 w 96471"/>
                <a:gd name="connsiteY218" fmla="*/ 61909 h 117212"/>
                <a:gd name="connsiteX219" fmla="*/ 13625 w 96471"/>
                <a:gd name="connsiteY219" fmla="*/ 62378 h 117212"/>
                <a:gd name="connsiteX220" fmla="*/ 12490 w 96471"/>
                <a:gd name="connsiteY220" fmla="*/ 62333 h 117212"/>
                <a:gd name="connsiteX221" fmla="*/ 11376 w 96471"/>
                <a:gd name="connsiteY221" fmla="*/ 61660 h 117212"/>
                <a:gd name="connsiteX222" fmla="*/ 13153 w 96471"/>
                <a:gd name="connsiteY222" fmla="*/ 60088 h 117212"/>
                <a:gd name="connsiteX223" fmla="*/ 10862 w 96471"/>
                <a:gd name="connsiteY223" fmla="*/ 59718 h 117212"/>
                <a:gd name="connsiteX224" fmla="*/ 8542 w 96471"/>
                <a:gd name="connsiteY224" fmla="*/ 60027 h 117212"/>
                <a:gd name="connsiteX225" fmla="*/ 6611 w 96471"/>
                <a:gd name="connsiteY225" fmla="*/ 59551 h 117212"/>
                <a:gd name="connsiteX226" fmla="*/ 6551 w 96471"/>
                <a:gd name="connsiteY226" fmla="*/ 58564 h 117212"/>
                <a:gd name="connsiteX227" fmla="*/ 7426 w 96471"/>
                <a:gd name="connsiteY227" fmla="*/ 57579 h 117212"/>
                <a:gd name="connsiteX228" fmla="*/ 6279 w 96471"/>
                <a:gd name="connsiteY228" fmla="*/ 56644 h 117212"/>
                <a:gd name="connsiteX229" fmla="*/ 6042 w 96471"/>
                <a:gd name="connsiteY229" fmla="*/ 55462 h 117212"/>
                <a:gd name="connsiteX230" fmla="*/ 7264 w 96471"/>
                <a:gd name="connsiteY230" fmla="*/ 54881 h 117212"/>
                <a:gd name="connsiteX231" fmla="*/ 8599 w 96471"/>
                <a:gd name="connsiteY231" fmla="*/ 55074 h 117212"/>
                <a:gd name="connsiteX232" fmla="*/ 11320 w 96471"/>
                <a:gd name="connsiteY232" fmla="*/ 54199 h 117212"/>
                <a:gd name="connsiteX233" fmla="*/ 14806 w 96471"/>
                <a:gd name="connsiteY233" fmla="*/ 53774 h 117212"/>
                <a:gd name="connsiteX234" fmla="*/ 11816 w 96471"/>
                <a:gd name="connsiteY234" fmla="*/ 52911 h 117212"/>
                <a:gd name="connsiteX235" fmla="*/ 10625 w 96471"/>
                <a:gd name="connsiteY235" fmla="*/ 52171 h 117212"/>
                <a:gd name="connsiteX236" fmla="*/ 10568 w 96471"/>
                <a:gd name="connsiteY236" fmla="*/ 51038 h 117212"/>
                <a:gd name="connsiteX237" fmla="*/ 10805 w 96471"/>
                <a:gd name="connsiteY237" fmla="*/ 50068 h 117212"/>
                <a:gd name="connsiteX238" fmla="*/ 14266 w 96471"/>
                <a:gd name="connsiteY238" fmla="*/ 48427 h 117212"/>
                <a:gd name="connsiteX239" fmla="*/ 17955 w 96471"/>
                <a:gd name="connsiteY239" fmla="*/ 47703 h 117212"/>
                <a:gd name="connsiteX240" fmla="*/ 17683 w 96471"/>
                <a:gd name="connsiteY240" fmla="*/ 46621 h 117212"/>
                <a:gd name="connsiteX241" fmla="*/ 17941 w 96471"/>
                <a:gd name="connsiteY241" fmla="*/ 45450 h 117212"/>
                <a:gd name="connsiteX242" fmla="*/ 14212 w 96471"/>
                <a:gd name="connsiteY242" fmla="*/ 45112 h 117212"/>
                <a:gd name="connsiteX243" fmla="*/ 10529 w 96471"/>
                <a:gd name="connsiteY243" fmla="*/ 45938 h 117212"/>
                <a:gd name="connsiteX244" fmla="*/ 10923 w 96471"/>
                <a:gd name="connsiteY244" fmla="*/ 43700 h 117212"/>
                <a:gd name="connsiteX245" fmla="*/ 11805 w 96471"/>
                <a:gd name="connsiteY245" fmla="*/ 41678 h 117212"/>
                <a:gd name="connsiteX246" fmla="*/ 11979 w 96471"/>
                <a:gd name="connsiteY246" fmla="*/ 40343 h 117212"/>
                <a:gd name="connsiteX247" fmla="*/ 11803 w 96471"/>
                <a:gd name="connsiteY247" fmla="*/ 38914 h 117212"/>
                <a:gd name="connsiteX248" fmla="*/ 10078 w 96471"/>
                <a:gd name="connsiteY248" fmla="*/ 39525 h 117212"/>
                <a:gd name="connsiteX249" fmla="*/ 9876 w 96471"/>
                <a:gd name="connsiteY249" fmla="*/ 37509 h 117212"/>
                <a:gd name="connsiteX250" fmla="*/ 9135 w 96471"/>
                <a:gd name="connsiteY250" fmla="*/ 36125 h 117212"/>
                <a:gd name="connsiteX251" fmla="*/ 6580 w 96471"/>
                <a:gd name="connsiteY251" fmla="*/ 37078 h 117212"/>
                <a:gd name="connsiteX252" fmla="*/ 6646 w 96471"/>
                <a:gd name="connsiteY252" fmla="*/ 35252 h 117212"/>
                <a:gd name="connsiteX253" fmla="*/ 7382 w 96471"/>
                <a:gd name="connsiteY253" fmla="*/ 33975 h 117212"/>
                <a:gd name="connsiteX254" fmla="*/ 8718 w 96471"/>
                <a:gd name="connsiteY254" fmla="*/ 33420 h 117212"/>
                <a:gd name="connsiteX255" fmla="*/ 10045 w 96471"/>
                <a:gd name="connsiteY255" fmla="*/ 33661 h 117212"/>
                <a:gd name="connsiteX256" fmla="*/ 12508 w 96471"/>
                <a:gd name="connsiteY256" fmla="*/ 33637 h 117212"/>
                <a:gd name="connsiteX257" fmla="*/ 14883 w 96471"/>
                <a:gd name="connsiteY257" fmla="*/ 32677 h 117212"/>
                <a:gd name="connsiteX258" fmla="*/ 18307 w 96471"/>
                <a:gd name="connsiteY258" fmla="*/ 32430 h 117212"/>
                <a:gd name="connsiteX259" fmla="*/ 23764 w 96471"/>
                <a:gd name="connsiteY259" fmla="*/ 32732 h 117212"/>
                <a:gd name="connsiteX260" fmla="*/ 27515 w 96471"/>
                <a:gd name="connsiteY260" fmla="*/ 35441 h 117212"/>
                <a:gd name="connsiteX261" fmla="*/ 28483 w 96471"/>
                <a:gd name="connsiteY261" fmla="*/ 34957 h 117212"/>
                <a:gd name="connsiteX262" fmla="*/ 29983 w 96471"/>
                <a:gd name="connsiteY262" fmla="*/ 33245 h 117212"/>
                <a:gd name="connsiteX263" fmla="*/ 30687 w 96471"/>
                <a:gd name="connsiteY263" fmla="*/ 33056 h 117212"/>
                <a:gd name="connsiteX264" fmla="*/ 36340 w 96471"/>
                <a:gd name="connsiteY264" fmla="*/ 33802 h 117212"/>
                <a:gd name="connsiteX265" fmla="*/ 39851 w 96471"/>
                <a:gd name="connsiteY265" fmla="*/ 34787 h 117212"/>
                <a:gd name="connsiteX266" fmla="*/ 40790 w 96471"/>
                <a:gd name="connsiteY266" fmla="*/ 34480 h 117212"/>
                <a:gd name="connsiteX267" fmla="*/ 40283 w 96471"/>
                <a:gd name="connsiteY267" fmla="*/ 32580 h 117212"/>
                <a:gd name="connsiteX268" fmla="*/ 39074 w 96471"/>
                <a:gd name="connsiteY268" fmla="*/ 31262 h 117212"/>
                <a:gd name="connsiteX269" fmla="*/ 40593 w 96471"/>
                <a:gd name="connsiteY269" fmla="*/ 29534 h 117212"/>
                <a:gd name="connsiteX270" fmla="*/ 42438 w 96471"/>
                <a:gd name="connsiteY270" fmla="*/ 28363 h 117212"/>
                <a:gd name="connsiteX271" fmla="*/ 43671 w 96471"/>
                <a:gd name="connsiteY271" fmla="*/ 27779 h 117212"/>
                <a:gd name="connsiteX272" fmla="*/ 46518 w 96471"/>
                <a:gd name="connsiteY272" fmla="*/ 27053 h 117212"/>
                <a:gd name="connsiteX273" fmla="*/ 47759 w 96471"/>
                <a:gd name="connsiteY273" fmla="*/ 26369 h 117212"/>
                <a:gd name="connsiteX274" fmla="*/ 48586 w 96471"/>
                <a:gd name="connsiteY274" fmla="*/ 24143 h 117212"/>
                <a:gd name="connsiteX275" fmla="*/ 49902 w 96471"/>
                <a:gd name="connsiteY275" fmla="*/ 22287 h 117212"/>
                <a:gd name="connsiteX276" fmla="*/ 42758 w 96471"/>
                <a:gd name="connsiteY276" fmla="*/ 23252 h 117212"/>
                <a:gd name="connsiteX277" fmla="*/ 35961 w 96471"/>
                <a:gd name="connsiteY277" fmla="*/ 21052 h 117212"/>
                <a:gd name="connsiteX278" fmla="*/ 37039 w 96471"/>
                <a:gd name="connsiteY278" fmla="*/ 19495 h 117212"/>
                <a:gd name="connsiteX279" fmla="*/ 38474 w 96471"/>
                <a:gd name="connsiteY279" fmla="*/ 18612 h 117212"/>
                <a:gd name="connsiteX280" fmla="*/ 40950 w 96471"/>
                <a:gd name="connsiteY280" fmla="*/ 17935 h 117212"/>
                <a:gd name="connsiteX281" fmla="*/ 41185 w 96471"/>
                <a:gd name="connsiteY281" fmla="*/ 17122 h 117212"/>
                <a:gd name="connsiteX282" fmla="*/ 42438 w 96471"/>
                <a:gd name="connsiteY282" fmla="*/ 16446 h 117212"/>
                <a:gd name="connsiteX283" fmla="*/ 44510 w 96471"/>
                <a:gd name="connsiteY283" fmla="*/ 14669 h 117212"/>
                <a:gd name="connsiteX284" fmla="*/ 43749 w 96471"/>
                <a:gd name="connsiteY284" fmla="*/ 12346 h 117212"/>
                <a:gd name="connsiteX285" fmla="*/ 44157 w 96471"/>
                <a:gd name="connsiteY285" fmla="*/ 10646 h 117212"/>
                <a:gd name="connsiteX286" fmla="*/ 45649 w 96471"/>
                <a:gd name="connsiteY286" fmla="*/ 9537 h 117212"/>
                <a:gd name="connsiteX287" fmla="*/ 46116 w 96471"/>
                <a:gd name="connsiteY287" fmla="*/ 7945 h 117212"/>
                <a:gd name="connsiteX288" fmla="*/ 46781 w 96471"/>
                <a:gd name="connsiteY288" fmla="*/ 6772 h 117212"/>
                <a:gd name="connsiteX289" fmla="*/ 49808 w 96471"/>
                <a:gd name="connsiteY289" fmla="*/ 6352 h 117212"/>
                <a:gd name="connsiteX290" fmla="*/ 52718 w 96471"/>
                <a:gd name="connsiteY290" fmla="*/ 5261 h 117212"/>
                <a:gd name="connsiteX291" fmla="*/ 53769 w 96471"/>
                <a:gd name="connsiteY291" fmla="*/ 5367 h 117212"/>
                <a:gd name="connsiteX292" fmla="*/ 57205 w 96471"/>
                <a:gd name="connsiteY292" fmla="*/ 5115 h 117212"/>
                <a:gd name="connsiteX293" fmla="*/ 58369 w 96471"/>
                <a:gd name="connsiteY293" fmla="*/ 5555 h 117212"/>
                <a:gd name="connsiteX294" fmla="*/ 58104 w 96471"/>
                <a:gd name="connsiteY294" fmla="*/ 3626 h 117212"/>
                <a:gd name="connsiteX295" fmla="*/ 60214 w 96471"/>
                <a:gd name="connsiteY295" fmla="*/ 3375 h 117212"/>
                <a:gd name="connsiteX296" fmla="*/ 61039 w 96471"/>
                <a:gd name="connsiteY296" fmla="*/ 3760 h 117212"/>
                <a:gd name="connsiteX297" fmla="*/ 61402 w 96471"/>
                <a:gd name="connsiteY297" fmla="*/ 5127 h 117212"/>
                <a:gd name="connsiteX298" fmla="*/ 62361 w 96471"/>
                <a:gd name="connsiteY298" fmla="*/ 5999 h 117212"/>
                <a:gd name="connsiteX299" fmla="*/ 62657 w 96471"/>
                <a:gd name="connsiteY299" fmla="*/ 7513 h 117212"/>
                <a:gd name="connsiteX300" fmla="*/ 62014 w 96471"/>
                <a:gd name="connsiteY300" fmla="*/ 8682 h 117212"/>
                <a:gd name="connsiteX301" fmla="*/ 60940 w 96471"/>
                <a:gd name="connsiteY301" fmla="*/ 9582 h 117212"/>
                <a:gd name="connsiteX302" fmla="*/ 61922 w 96471"/>
                <a:gd name="connsiteY302" fmla="*/ 10503 h 117212"/>
                <a:gd name="connsiteX303" fmla="*/ 60399 w 96471"/>
                <a:gd name="connsiteY303" fmla="*/ 12166 h 117212"/>
                <a:gd name="connsiteX304" fmla="*/ 62043 w 96471"/>
                <a:gd name="connsiteY304" fmla="*/ 11458 h 117212"/>
                <a:gd name="connsiteX305" fmla="*/ 64386 w 96471"/>
                <a:gd name="connsiteY305" fmla="*/ 9829 h 117212"/>
                <a:gd name="connsiteX306" fmla="*/ 64265 w 96471"/>
                <a:gd name="connsiteY306" fmla="*/ 8496 h 117212"/>
                <a:gd name="connsiteX307" fmla="*/ 63866 w 96471"/>
                <a:gd name="connsiteY307" fmla="*/ 6820 h 117212"/>
                <a:gd name="connsiteX308" fmla="*/ 63214 w 96471"/>
                <a:gd name="connsiteY308" fmla="*/ 5307 h 117212"/>
                <a:gd name="connsiteX309" fmla="*/ 63514 w 96471"/>
                <a:gd name="connsiteY309" fmla="*/ 3639 h 117212"/>
                <a:gd name="connsiteX310" fmla="*/ 64831 w 96471"/>
                <a:gd name="connsiteY310" fmla="*/ 2595 h 117212"/>
                <a:gd name="connsiteX311" fmla="*/ 68293 w 96471"/>
                <a:gd name="connsiteY311" fmla="*/ 2070 h 117212"/>
                <a:gd name="connsiteX312" fmla="*/ 66873 w 96471"/>
                <a:gd name="connsiteY312" fmla="*/ 174 h 11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96471" h="117212">
                  <a:moveTo>
                    <a:pt x="4626" y="41297"/>
                  </a:moveTo>
                  <a:lnTo>
                    <a:pt x="5539" y="41650"/>
                  </a:lnTo>
                  <a:lnTo>
                    <a:pt x="8709" y="41699"/>
                  </a:lnTo>
                  <a:lnTo>
                    <a:pt x="9599" y="42196"/>
                  </a:lnTo>
                  <a:lnTo>
                    <a:pt x="9774" y="44442"/>
                  </a:lnTo>
                  <a:lnTo>
                    <a:pt x="9681" y="45307"/>
                  </a:lnTo>
                  <a:lnTo>
                    <a:pt x="8043" y="44217"/>
                  </a:lnTo>
                  <a:lnTo>
                    <a:pt x="7247" y="43030"/>
                  </a:lnTo>
                  <a:lnTo>
                    <a:pt x="2753" y="42485"/>
                  </a:lnTo>
                  <a:close/>
                  <a:moveTo>
                    <a:pt x="68137" y="0"/>
                  </a:moveTo>
                  <a:lnTo>
                    <a:pt x="69511" y="395"/>
                  </a:lnTo>
                  <a:lnTo>
                    <a:pt x="71531" y="1873"/>
                  </a:lnTo>
                  <a:lnTo>
                    <a:pt x="73633" y="3031"/>
                  </a:lnTo>
                  <a:lnTo>
                    <a:pt x="75813" y="3949"/>
                  </a:lnTo>
                  <a:lnTo>
                    <a:pt x="73718" y="5785"/>
                  </a:lnTo>
                  <a:lnTo>
                    <a:pt x="71143" y="7058"/>
                  </a:lnTo>
                  <a:lnTo>
                    <a:pt x="70130" y="8444"/>
                  </a:lnTo>
                  <a:lnTo>
                    <a:pt x="66631" y="10422"/>
                  </a:lnTo>
                  <a:lnTo>
                    <a:pt x="66089" y="11171"/>
                  </a:lnTo>
                  <a:lnTo>
                    <a:pt x="65103" y="14188"/>
                  </a:lnTo>
                  <a:lnTo>
                    <a:pt x="64987" y="15048"/>
                  </a:lnTo>
                  <a:lnTo>
                    <a:pt x="63861" y="16633"/>
                  </a:lnTo>
                  <a:lnTo>
                    <a:pt x="62795" y="18395"/>
                  </a:lnTo>
                  <a:lnTo>
                    <a:pt x="61555" y="19077"/>
                  </a:lnTo>
                  <a:lnTo>
                    <a:pt x="59708" y="19618"/>
                  </a:lnTo>
                  <a:lnTo>
                    <a:pt x="58658" y="20156"/>
                  </a:lnTo>
                  <a:lnTo>
                    <a:pt x="57336" y="19886"/>
                  </a:lnTo>
                  <a:lnTo>
                    <a:pt x="55662" y="19929"/>
                  </a:lnTo>
                  <a:lnTo>
                    <a:pt x="54830" y="20527"/>
                  </a:lnTo>
                  <a:lnTo>
                    <a:pt x="54871" y="20986"/>
                  </a:lnTo>
                  <a:lnTo>
                    <a:pt x="55371" y="21515"/>
                  </a:lnTo>
                  <a:lnTo>
                    <a:pt x="56837" y="22322"/>
                  </a:lnTo>
                  <a:lnTo>
                    <a:pt x="58463" y="23052"/>
                  </a:lnTo>
                  <a:lnTo>
                    <a:pt x="58284" y="23691"/>
                  </a:lnTo>
                  <a:lnTo>
                    <a:pt x="57413" y="24415"/>
                  </a:lnTo>
                  <a:lnTo>
                    <a:pt x="51873" y="26211"/>
                  </a:lnTo>
                  <a:lnTo>
                    <a:pt x="50223" y="27295"/>
                  </a:lnTo>
                  <a:lnTo>
                    <a:pt x="49651" y="28010"/>
                  </a:lnTo>
                  <a:lnTo>
                    <a:pt x="50238" y="29208"/>
                  </a:lnTo>
                  <a:lnTo>
                    <a:pt x="54656" y="32794"/>
                  </a:lnTo>
                  <a:lnTo>
                    <a:pt x="55408" y="33184"/>
                  </a:lnTo>
                  <a:lnTo>
                    <a:pt x="56061" y="35268"/>
                  </a:lnTo>
                  <a:lnTo>
                    <a:pt x="59956" y="36139"/>
                  </a:lnTo>
                  <a:lnTo>
                    <a:pt x="61553" y="37440"/>
                  </a:lnTo>
                  <a:lnTo>
                    <a:pt x="62927" y="37752"/>
                  </a:lnTo>
                  <a:lnTo>
                    <a:pt x="65912" y="37639"/>
                  </a:lnTo>
                  <a:lnTo>
                    <a:pt x="67112" y="38128"/>
                  </a:lnTo>
                  <a:lnTo>
                    <a:pt x="67790" y="37757"/>
                  </a:lnTo>
                  <a:lnTo>
                    <a:pt x="68183" y="37071"/>
                  </a:lnTo>
                  <a:lnTo>
                    <a:pt x="70696" y="35304"/>
                  </a:lnTo>
                  <a:lnTo>
                    <a:pt x="71527" y="34532"/>
                  </a:lnTo>
                  <a:lnTo>
                    <a:pt x="71028" y="33454"/>
                  </a:lnTo>
                  <a:lnTo>
                    <a:pt x="70485" y="32635"/>
                  </a:lnTo>
                  <a:lnTo>
                    <a:pt x="72013" y="31003"/>
                  </a:lnTo>
                  <a:lnTo>
                    <a:pt x="73866" y="29391"/>
                  </a:lnTo>
                  <a:lnTo>
                    <a:pt x="74795" y="29439"/>
                  </a:lnTo>
                  <a:lnTo>
                    <a:pt x="76377" y="30426"/>
                  </a:lnTo>
                  <a:lnTo>
                    <a:pt x="77680" y="31804"/>
                  </a:lnTo>
                  <a:lnTo>
                    <a:pt x="77857" y="32871"/>
                  </a:lnTo>
                  <a:lnTo>
                    <a:pt x="78097" y="33645"/>
                  </a:lnTo>
                  <a:lnTo>
                    <a:pt x="79330" y="35297"/>
                  </a:lnTo>
                  <a:lnTo>
                    <a:pt x="80126" y="35867"/>
                  </a:lnTo>
                  <a:lnTo>
                    <a:pt x="82273" y="36198"/>
                  </a:lnTo>
                  <a:lnTo>
                    <a:pt x="82773" y="36846"/>
                  </a:lnTo>
                  <a:lnTo>
                    <a:pt x="82390" y="39235"/>
                  </a:lnTo>
                  <a:lnTo>
                    <a:pt x="82709" y="40029"/>
                  </a:lnTo>
                  <a:lnTo>
                    <a:pt x="84957" y="40070"/>
                  </a:lnTo>
                  <a:lnTo>
                    <a:pt x="87342" y="39877"/>
                  </a:lnTo>
                  <a:lnTo>
                    <a:pt x="88175" y="39968"/>
                  </a:lnTo>
                  <a:lnTo>
                    <a:pt x="89036" y="39468"/>
                  </a:lnTo>
                  <a:lnTo>
                    <a:pt x="90363" y="38929"/>
                  </a:lnTo>
                  <a:lnTo>
                    <a:pt x="92257" y="39115"/>
                  </a:lnTo>
                  <a:lnTo>
                    <a:pt x="93191" y="40184"/>
                  </a:lnTo>
                  <a:lnTo>
                    <a:pt x="93607" y="41285"/>
                  </a:lnTo>
                  <a:lnTo>
                    <a:pt x="91977" y="41699"/>
                  </a:lnTo>
                  <a:lnTo>
                    <a:pt x="90275" y="41473"/>
                  </a:lnTo>
                  <a:lnTo>
                    <a:pt x="89445" y="42196"/>
                  </a:lnTo>
                  <a:lnTo>
                    <a:pt x="89391" y="43588"/>
                  </a:lnTo>
                  <a:lnTo>
                    <a:pt x="89966" y="45379"/>
                  </a:lnTo>
                  <a:lnTo>
                    <a:pt x="91104" y="46649"/>
                  </a:lnTo>
                  <a:lnTo>
                    <a:pt x="92014" y="49509"/>
                  </a:lnTo>
                  <a:lnTo>
                    <a:pt x="92768" y="52676"/>
                  </a:lnTo>
                  <a:lnTo>
                    <a:pt x="93941" y="54588"/>
                  </a:lnTo>
                  <a:lnTo>
                    <a:pt x="94182" y="56958"/>
                  </a:lnTo>
                  <a:lnTo>
                    <a:pt x="94009" y="58122"/>
                  </a:lnTo>
                  <a:lnTo>
                    <a:pt x="94223" y="60212"/>
                  </a:lnTo>
                  <a:lnTo>
                    <a:pt x="93724" y="60948"/>
                  </a:lnTo>
                  <a:lnTo>
                    <a:pt x="94098" y="62908"/>
                  </a:lnTo>
                  <a:lnTo>
                    <a:pt x="95479" y="66960"/>
                  </a:lnTo>
                  <a:lnTo>
                    <a:pt x="96082" y="69214"/>
                  </a:lnTo>
                  <a:lnTo>
                    <a:pt x="96471" y="74127"/>
                  </a:lnTo>
                  <a:lnTo>
                    <a:pt x="95497" y="75966"/>
                  </a:lnTo>
                  <a:lnTo>
                    <a:pt x="94188" y="77709"/>
                  </a:lnTo>
                  <a:lnTo>
                    <a:pt x="93333" y="79774"/>
                  </a:lnTo>
                  <a:lnTo>
                    <a:pt x="92672" y="82001"/>
                  </a:lnTo>
                  <a:lnTo>
                    <a:pt x="92274" y="85587"/>
                  </a:lnTo>
                  <a:lnTo>
                    <a:pt x="89440" y="89784"/>
                  </a:lnTo>
                  <a:lnTo>
                    <a:pt x="88234" y="90826"/>
                  </a:lnTo>
                  <a:lnTo>
                    <a:pt x="86835" y="91467"/>
                  </a:lnTo>
                  <a:lnTo>
                    <a:pt x="89891" y="94395"/>
                  </a:lnTo>
                  <a:lnTo>
                    <a:pt x="87394" y="95700"/>
                  </a:lnTo>
                  <a:lnTo>
                    <a:pt x="84671" y="96111"/>
                  </a:lnTo>
                  <a:lnTo>
                    <a:pt x="81658" y="95379"/>
                  </a:lnTo>
                  <a:lnTo>
                    <a:pt x="79781" y="95468"/>
                  </a:lnTo>
                  <a:lnTo>
                    <a:pt x="78067" y="96415"/>
                  </a:lnTo>
                  <a:lnTo>
                    <a:pt x="77392" y="96988"/>
                  </a:lnTo>
                  <a:lnTo>
                    <a:pt x="76853" y="96711"/>
                  </a:lnTo>
                  <a:lnTo>
                    <a:pt x="75722" y="94311"/>
                  </a:lnTo>
                  <a:lnTo>
                    <a:pt x="74893" y="96790"/>
                  </a:lnTo>
                  <a:lnTo>
                    <a:pt x="73157" y="97578"/>
                  </a:lnTo>
                  <a:lnTo>
                    <a:pt x="70184" y="97410"/>
                  </a:lnTo>
                  <a:lnTo>
                    <a:pt x="65217" y="98070"/>
                  </a:lnTo>
                  <a:lnTo>
                    <a:pt x="63306" y="98775"/>
                  </a:lnTo>
                  <a:lnTo>
                    <a:pt x="62512" y="99878"/>
                  </a:lnTo>
                  <a:lnTo>
                    <a:pt x="61922" y="101152"/>
                  </a:lnTo>
                  <a:lnTo>
                    <a:pt x="61147" y="101904"/>
                  </a:lnTo>
                  <a:lnTo>
                    <a:pt x="60271" y="102300"/>
                  </a:lnTo>
                  <a:lnTo>
                    <a:pt x="56436" y="103238"/>
                  </a:lnTo>
                  <a:lnTo>
                    <a:pt x="55680" y="103613"/>
                  </a:lnTo>
                  <a:lnTo>
                    <a:pt x="53904" y="105667"/>
                  </a:lnTo>
                  <a:lnTo>
                    <a:pt x="51575" y="106853"/>
                  </a:lnTo>
                  <a:lnTo>
                    <a:pt x="49646" y="107208"/>
                  </a:lnTo>
                  <a:lnTo>
                    <a:pt x="47934" y="106014"/>
                  </a:lnTo>
                  <a:lnTo>
                    <a:pt x="47230" y="105296"/>
                  </a:lnTo>
                  <a:lnTo>
                    <a:pt x="46435" y="104931"/>
                  </a:lnTo>
                  <a:lnTo>
                    <a:pt x="43805" y="104987"/>
                  </a:lnTo>
                  <a:lnTo>
                    <a:pt x="44636" y="105357"/>
                  </a:lnTo>
                  <a:lnTo>
                    <a:pt x="45172" y="106200"/>
                  </a:lnTo>
                  <a:lnTo>
                    <a:pt x="45432" y="107815"/>
                  </a:lnTo>
                  <a:lnTo>
                    <a:pt x="45133" y="109397"/>
                  </a:lnTo>
                  <a:lnTo>
                    <a:pt x="43836" y="110200"/>
                  </a:lnTo>
                  <a:lnTo>
                    <a:pt x="42287" y="110348"/>
                  </a:lnTo>
                  <a:lnTo>
                    <a:pt x="39845" y="111987"/>
                  </a:lnTo>
                  <a:lnTo>
                    <a:pt x="36612" y="112435"/>
                  </a:lnTo>
                  <a:lnTo>
                    <a:pt x="34866" y="113943"/>
                  </a:lnTo>
                  <a:lnTo>
                    <a:pt x="24185" y="116492"/>
                  </a:lnTo>
                  <a:lnTo>
                    <a:pt x="23579" y="116522"/>
                  </a:lnTo>
                  <a:lnTo>
                    <a:pt x="22105" y="115873"/>
                  </a:lnTo>
                  <a:lnTo>
                    <a:pt x="20506" y="115586"/>
                  </a:lnTo>
                  <a:lnTo>
                    <a:pt x="18914" y="115789"/>
                  </a:lnTo>
                  <a:lnTo>
                    <a:pt x="14438" y="117212"/>
                  </a:lnTo>
                  <a:lnTo>
                    <a:pt x="12270" y="116929"/>
                  </a:lnTo>
                  <a:lnTo>
                    <a:pt x="15033" y="113390"/>
                  </a:lnTo>
                  <a:lnTo>
                    <a:pt x="18748" y="111602"/>
                  </a:lnTo>
                  <a:lnTo>
                    <a:pt x="19134" y="111112"/>
                  </a:lnTo>
                  <a:lnTo>
                    <a:pt x="17920" y="110872"/>
                  </a:lnTo>
                  <a:lnTo>
                    <a:pt x="10862" y="112114"/>
                  </a:lnTo>
                  <a:lnTo>
                    <a:pt x="8410" y="113172"/>
                  </a:lnTo>
                  <a:lnTo>
                    <a:pt x="5959" y="113479"/>
                  </a:lnTo>
                  <a:lnTo>
                    <a:pt x="7094" y="111864"/>
                  </a:lnTo>
                  <a:lnTo>
                    <a:pt x="10256" y="109650"/>
                  </a:lnTo>
                  <a:lnTo>
                    <a:pt x="11952" y="108607"/>
                  </a:lnTo>
                  <a:lnTo>
                    <a:pt x="12987" y="108193"/>
                  </a:lnTo>
                  <a:lnTo>
                    <a:pt x="14168" y="106891"/>
                  </a:lnTo>
                  <a:lnTo>
                    <a:pt x="17500" y="105411"/>
                  </a:lnTo>
                  <a:lnTo>
                    <a:pt x="6767" y="108463"/>
                  </a:lnTo>
                  <a:lnTo>
                    <a:pt x="3947" y="108091"/>
                  </a:lnTo>
                  <a:lnTo>
                    <a:pt x="3283" y="107240"/>
                  </a:lnTo>
                  <a:lnTo>
                    <a:pt x="1087" y="107639"/>
                  </a:lnTo>
                  <a:lnTo>
                    <a:pt x="255" y="105579"/>
                  </a:lnTo>
                  <a:lnTo>
                    <a:pt x="3508" y="102454"/>
                  </a:lnTo>
                  <a:lnTo>
                    <a:pt x="5404" y="101109"/>
                  </a:lnTo>
                  <a:lnTo>
                    <a:pt x="7655" y="100382"/>
                  </a:lnTo>
                  <a:lnTo>
                    <a:pt x="9822" y="99339"/>
                  </a:lnTo>
                  <a:lnTo>
                    <a:pt x="10626" y="98063"/>
                  </a:lnTo>
                  <a:lnTo>
                    <a:pt x="9606" y="97656"/>
                  </a:lnTo>
                  <a:lnTo>
                    <a:pt x="3112" y="97980"/>
                  </a:lnTo>
                  <a:lnTo>
                    <a:pt x="0" y="97708"/>
                  </a:lnTo>
                  <a:lnTo>
                    <a:pt x="168" y="96696"/>
                  </a:lnTo>
                  <a:lnTo>
                    <a:pt x="742" y="95574"/>
                  </a:lnTo>
                  <a:lnTo>
                    <a:pt x="3965" y="93654"/>
                  </a:lnTo>
                  <a:lnTo>
                    <a:pt x="5708" y="93345"/>
                  </a:lnTo>
                  <a:lnTo>
                    <a:pt x="7263" y="93528"/>
                  </a:lnTo>
                  <a:lnTo>
                    <a:pt x="8781" y="94020"/>
                  </a:lnTo>
                  <a:lnTo>
                    <a:pt x="10015" y="94663"/>
                  </a:lnTo>
                  <a:lnTo>
                    <a:pt x="13668" y="94294"/>
                  </a:lnTo>
                  <a:lnTo>
                    <a:pt x="12143" y="93067"/>
                  </a:lnTo>
                  <a:lnTo>
                    <a:pt x="11874" y="90572"/>
                  </a:lnTo>
                  <a:lnTo>
                    <a:pt x="10706" y="89733"/>
                  </a:lnTo>
                  <a:lnTo>
                    <a:pt x="12201" y="88575"/>
                  </a:lnTo>
                  <a:lnTo>
                    <a:pt x="13911" y="87871"/>
                  </a:lnTo>
                  <a:lnTo>
                    <a:pt x="16761" y="85473"/>
                  </a:lnTo>
                  <a:lnTo>
                    <a:pt x="17776" y="85108"/>
                  </a:lnTo>
                  <a:lnTo>
                    <a:pt x="23416" y="84525"/>
                  </a:lnTo>
                  <a:lnTo>
                    <a:pt x="29499" y="83263"/>
                  </a:lnTo>
                  <a:lnTo>
                    <a:pt x="35529" y="81519"/>
                  </a:lnTo>
                  <a:lnTo>
                    <a:pt x="32437" y="80544"/>
                  </a:lnTo>
                  <a:lnTo>
                    <a:pt x="30956" y="79257"/>
                  </a:lnTo>
                  <a:lnTo>
                    <a:pt x="28576" y="81858"/>
                  </a:lnTo>
                  <a:lnTo>
                    <a:pt x="26863" y="82852"/>
                  </a:lnTo>
                  <a:lnTo>
                    <a:pt x="22024" y="83383"/>
                  </a:lnTo>
                  <a:lnTo>
                    <a:pt x="20492" y="83091"/>
                  </a:lnTo>
                  <a:lnTo>
                    <a:pt x="18335" y="82284"/>
                  </a:lnTo>
                  <a:lnTo>
                    <a:pt x="17665" y="82592"/>
                  </a:lnTo>
                  <a:lnTo>
                    <a:pt x="17042" y="83215"/>
                  </a:lnTo>
                  <a:lnTo>
                    <a:pt x="13839" y="84489"/>
                  </a:lnTo>
                  <a:lnTo>
                    <a:pt x="10473" y="84794"/>
                  </a:lnTo>
                  <a:lnTo>
                    <a:pt x="14387" y="82456"/>
                  </a:lnTo>
                  <a:lnTo>
                    <a:pt x="19353" y="78489"/>
                  </a:lnTo>
                  <a:lnTo>
                    <a:pt x="20461" y="77234"/>
                  </a:lnTo>
                  <a:lnTo>
                    <a:pt x="22037" y="75050"/>
                  </a:lnTo>
                  <a:lnTo>
                    <a:pt x="21549" y="74078"/>
                  </a:lnTo>
                  <a:lnTo>
                    <a:pt x="20526" y="73524"/>
                  </a:lnTo>
                  <a:lnTo>
                    <a:pt x="24125" y="69022"/>
                  </a:lnTo>
                  <a:lnTo>
                    <a:pt x="25392" y="68204"/>
                  </a:lnTo>
                  <a:lnTo>
                    <a:pt x="27699" y="68072"/>
                  </a:lnTo>
                  <a:lnTo>
                    <a:pt x="29389" y="67357"/>
                  </a:lnTo>
                  <a:lnTo>
                    <a:pt x="30134" y="67354"/>
                  </a:lnTo>
                  <a:lnTo>
                    <a:pt x="30804" y="67088"/>
                  </a:lnTo>
                  <a:lnTo>
                    <a:pt x="32286" y="65736"/>
                  </a:lnTo>
                  <a:lnTo>
                    <a:pt x="29999" y="64876"/>
                  </a:lnTo>
                  <a:lnTo>
                    <a:pt x="27638" y="64433"/>
                  </a:lnTo>
                  <a:lnTo>
                    <a:pt x="20332" y="64902"/>
                  </a:lnTo>
                  <a:lnTo>
                    <a:pt x="19371" y="64801"/>
                  </a:lnTo>
                  <a:lnTo>
                    <a:pt x="18465" y="64386"/>
                  </a:lnTo>
                  <a:lnTo>
                    <a:pt x="17877" y="63787"/>
                  </a:lnTo>
                  <a:lnTo>
                    <a:pt x="17435" y="62252"/>
                  </a:lnTo>
                  <a:lnTo>
                    <a:pt x="16899" y="61909"/>
                  </a:lnTo>
                  <a:lnTo>
                    <a:pt x="15250" y="61909"/>
                  </a:lnTo>
                  <a:lnTo>
                    <a:pt x="13625" y="62378"/>
                  </a:lnTo>
                  <a:lnTo>
                    <a:pt x="12490" y="62333"/>
                  </a:lnTo>
                  <a:lnTo>
                    <a:pt x="11376" y="61660"/>
                  </a:lnTo>
                  <a:lnTo>
                    <a:pt x="13153" y="60088"/>
                  </a:lnTo>
                  <a:lnTo>
                    <a:pt x="10862" y="59718"/>
                  </a:lnTo>
                  <a:lnTo>
                    <a:pt x="8542" y="60027"/>
                  </a:lnTo>
                  <a:lnTo>
                    <a:pt x="6611" y="59551"/>
                  </a:lnTo>
                  <a:lnTo>
                    <a:pt x="6551" y="58564"/>
                  </a:lnTo>
                  <a:lnTo>
                    <a:pt x="7426" y="57579"/>
                  </a:lnTo>
                  <a:lnTo>
                    <a:pt x="6279" y="56644"/>
                  </a:lnTo>
                  <a:lnTo>
                    <a:pt x="6042" y="55462"/>
                  </a:lnTo>
                  <a:lnTo>
                    <a:pt x="7264" y="54881"/>
                  </a:lnTo>
                  <a:lnTo>
                    <a:pt x="8599" y="55074"/>
                  </a:lnTo>
                  <a:lnTo>
                    <a:pt x="11320" y="54199"/>
                  </a:lnTo>
                  <a:lnTo>
                    <a:pt x="14806" y="53774"/>
                  </a:lnTo>
                  <a:lnTo>
                    <a:pt x="11816" y="52911"/>
                  </a:lnTo>
                  <a:lnTo>
                    <a:pt x="10625" y="52171"/>
                  </a:lnTo>
                  <a:lnTo>
                    <a:pt x="10568" y="51038"/>
                  </a:lnTo>
                  <a:lnTo>
                    <a:pt x="10805" y="50068"/>
                  </a:lnTo>
                  <a:lnTo>
                    <a:pt x="14266" y="48427"/>
                  </a:lnTo>
                  <a:lnTo>
                    <a:pt x="17955" y="47703"/>
                  </a:lnTo>
                  <a:lnTo>
                    <a:pt x="17683" y="46621"/>
                  </a:lnTo>
                  <a:lnTo>
                    <a:pt x="17941" y="45450"/>
                  </a:lnTo>
                  <a:lnTo>
                    <a:pt x="14212" y="45112"/>
                  </a:lnTo>
                  <a:lnTo>
                    <a:pt x="10529" y="45938"/>
                  </a:lnTo>
                  <a:lnTo>
                    <a:pt x="10923" y="43700"/>
                  </a:lnTo>
                  <a:lnTo>
                    <a:pt x="11805" y="41678"/>
                  </a:lnTo>
                  <a:lnTo>
                    <a:pt x="11979" y="40343"/>
                  </a:lnTo>
                  <a:lnTo>
                    <a:pt x="11803" y="38914"/>
                  </a:lnTo>
                  <a:lnTo>
                    <a:pt x="10078" y="39525"/>
                  </a:lnTo>
                  <a:lnTo>
                    <a:pt x="9876" y="37509"/>
                  </a:lnTo>
                  <a:lnTo>
                    <a:pt x="9135" y="36125"/>
                  </a:lnTo>
                  <a:lnTo>
                    <a:pt x="6580" y="37078"/>
                  </a:lnTo>
                  <a:lnTo>
                    <a:pt x="6646" y="35252"/>
                  </a:lnTo>
                  <a:lnTo>
                    <a:pt x="7382" y="33975"/>
                  </a:lnTo>
                  <a:lnTo>
                    <a:pt x="8718" y="33420"/>
                  </a:lnTo>
                  <a:lnTo>
                    <a:pt x="10045" y="33661"/>
                  </a:lnTo>
                  <a:lnTo>
                    <a:pt x="12508" y="33637"/>
                  </a:lnTo>
                  <a:lnTo>
                    <a:pt x="14883" y="32677"/>
                  </a:lnTo>
                  <a:lnTo>
                    <a:pt x="18307" y="32430"/>
                  </a:lnTo>
                  <a:lnTo>
                    <a:pt x="23764" y="32732"/>
                  </a:lnTo>
                  <a:lnTo>
                    <a:pt x="27515" y="35441"/>
                  </a:lnTo>
                  <a:lnTo>
                    <a:pt x="28483" y="34957"/>
                  </a:lnTo>
                  <a:lnTo>
                    <a:pt x="29983" y="33245"/>
                  </a:lnTo>
                  <a:lnTo>
                    <a:pt x="30687" y="33056"/>
                  </a:lnTo>
                  <a:lnTo>
                    <a:pt x="36340" y="33802"/>
                  </a:lnTo>
                  <a:lnTo>
                    <a:pt x="39851" y="34787"/>
                  </a:lnTo>
                  <a:lnTo>
                    <a:pt x="40790" y="34480"/>
                  </a:lnTo>
                  <a:lnTo>
                    <a:pt x="40283" y="32580"/>
                  </a:lnTo>
                  <a:lnTo>
                    <a:pt x="39074" y="31262"/>
                  </a:lnTo>
                  <a:lnTo>
                    <a:pt x="40593" y="29534"/>
                  </a:lnTo>
                  <a:lnTo>
                    <a:pt x="42438" y="28363"/>
                  </a:lnTo>
                  <a:lnTo>
                    <a:pt x="43671" y="27779"/>
                  </a:lnTo>
                  <a:lnTo>
                    <a:pt x="46518" y="27053"/>
                  </a:lnTo>
                  <a:lnTo>
                    <a:pt x="47759" y="26369"/>
                  </a:lnTo>
                  <a:lnTo>
                    <a:pt x="48586" y="24143"/>
                  </a:lnTo>
                  <a:lnTo>
                    <a:pt x="49902" y="22287"/>
                  </a:lnTo>
                  <a:lnTo>
                    <a:pt x="42758" y="23252"/>
                  </a:lnTo>
                  <a:lnTo>
                    <a:pt x="35961" y="21052"/>
                  </a:lnTo>
                  <a:lnTo>
                    <a:pt x="37039" y="19495"/>
                  </a:lnTo>
                  <a:lnTo>
                    <a:pt x="38474" y="18612"/>
                  </a:lnTo>
                  <a:lnTo>
                    <a:pt x="40950" y="17935"/>
                  </a:lnTo>
                  <a:lnTo>
                    <a:pt x="41185" y="17122"/>
                  </a:lnTo>
                  <a:lnTo>
                    <a:pt x="42438" y="16446"/>
                  </a:lnTo>
                  <a:lnTo>
                    <a:pt x="44510" y="14669"/>
                  </a:lnTo>
                  <a:lnTo>
                    <a:pt x="43749" y="12346"/>
                  </a:lnTo>
                  <a:lnTo>
                    <a:pt x="44157" y="10646"/>
                  </a:lnTo>
                  <a:lnTo>
                    <a:pt x="45649" y="9537"/>
                  </a:lnTo>
                  <a:lnTo>
                    <a:pt x="46116" y="7945"/>
                  </a:lnTo>
                  <a:lnTo>
                    <a:pt x="46781" y="6772"/>
                  </a:lnTo>
                  <a:lnTo>
                    <a:pt x="49808" y="6352"/>
                  </a:lnTo>
                  <a:lnTo>
                    <a:pt x="52718" y="5261"/>
                  </a:lnTo>
                  <a:lnTo>
                    <a:pt x="53769" y="5367"/>
                  </a:lnTo>
                  <a:lnTo>
                    <a:pt x="57205" y="5115"/>
                  </a:lnTo>
                  <a:lnTo>
                    <a:pt x="58369" y="5555"/>
                  </a:lnTo>
                  <a:lnTo>
                    <a:pt x="58104" y="3626"/>
                  </a:lnTo>
                  <a:lnTo>
                    <a:pt x="60214" y="3375"/>
                  </a:lnTo>
                  <a:lnTo>
                    <a:pt x="61039" y="3760"/>
                  </a:lnTo>
                  <a:lnTo>
                    <a:pt x="61402" y="5127"/>
                  </a:lnTo>
                  <a:lnTo>
                    <a:pt x="62361" y="5999"/>
                  </a:lnTo>
                  <a:lnTo>
                    <a:pt x="62657" y="7513"/>
                  </a:lnTo>
                  <a:lnTo>
                    <a:pt x="62014" y="8682"/>
                  </a:lnTo>
                  <a:lnTo>
                    <a:pt x="60940" y="9582"/>
                  </a:lnTo>
                  <a:lnTo>
                    <a:pt x="61922" y="10503"/>
                  </a:lnTo>
                  <a:lnTo>
                    <a:pt x="60399" y="12166"/>
                  </a:lnTo>
                  <a:lnTo>
                    <a:pt x="62043" y="11458"/>
                  </a:lnTo>
                  <a:lnTo>
                    <a:pt x="64386" y="9829"/>
                  </a:lnTo>
                  <a:lnTo>
                    <a:pt x="64265" y="8496"/>
                  </a:lnTo>
                  <a:lnTo>
                    <a:pt x="63866" y="6820"/>
                  </a:lnTo>
                  <a:lnTo>
                    <a:pt x="63214" y="5307"/>
                  </a:lnTo>
                  <a:lnTo>
                    <a:pt x="63514" y="3639"/>
                  </a:lnTo>
                  <a:lnTo>
                    <a:pt x="64831" y="2595"/>
                  </a:lnTo>
                  <a:lnTo>
                    <a:pt x="68293" y="2070"/>
                  </a:lnTo>
                  <a:lnTo>
                    <a:pt x="66873" y="17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4" name="ee4p_IS_1_15912">
              <a:extLst>
                <a:ext uri="{FF2B5EF4-FFF2-40B4-BE49-F238E27FC236}">
                  <a16:creationId xmlns:a16="http://schemas.microsoft.com/office/drawing/2014/main" id="{709919A5-8836-1B68-C95F-354FEEFD196C}"/>
                </a:ext>
              </a:extLst>
            </p:cNvPr>
            <p:cNvSpPr>
              <a:spLocks noChangeAspect="1"/>
            </p:cNvSpPr>
            <p:nvPr>
              <p:custDataLst>
                <p:tags r:id="rId36"/>
              </p:custDataLst>
            </p:nvPr>
          </p:nvSpPr>
          <p:spPr>
            <a:xfrm>
              <a:off x="1626234" y="2407471"/>
              <a:ext cx="957187" cy="444021"/>
            </a:xfrm>
            <a:custGeom>
              <a:avLst/>
              <a:gdLst/>
              <a:ahLst/>
              <a:cxnLst/>
              <a:rect l="0" t="0" r="0" b="0"/>
              <a:pathLst>
                <a:path w="241456" h="112007">
                  <a:moveTo>
                    <a:pt x="197518" y="10959"/>
                  </a:moveTo>
                  <a:lnTo>
                    <a:pt x="200053" y="11095"/>
                  </a:lnTo>
                  <a:lnTo>
                    <a:pt x="204200" y="9834"/>
                  </a:lnTo>
                  <a:lnTo>
                    <a:pt x="205936" y="9005"/>
                  </a:lnTo>
                  <a:lnTo>
                    <a:pt x="210191" y="6134"/>
                  </a:lnTo>
                  <a:lnTo>
                    <a:pt x="212709" y="5334"/>
                  </a:lnTo>
                  <a:lnTo>
                    <a:pt x="216589" y="5530"/>
                  </a:lnTo>
                  <a:lnTo>
                    <a:pt x="218464" y="5330"/>
                  </a:lnTo>
                  <a:lnTo>
                    <a:pt x="218507" y="5609"/>
                  </a:lnTo>
                  <a:lnTo>
                    <a:pt x="216124" y="6776"/>
                  </a:lnTo>
                  <a:lnTo>
                    <a:pt x="214210" y="7175"/>
                  </a:lnTo>
                  <a:lnTo>
                    <a:pt x="211468" y="8910"/>
                  </a:lnTo>
                  <a:lnTo>
                    <a:pt x="208864" y="12818"/>
                  </a:lnTo>
                  <a:lnTo>
                    <a:pt x="206932" y="14734"/>
                  </a:lnTo>
                  <a:lnTo>
                    <a:pt x="206953" y="15584"/>
                  </a:lnTo>
                  <a:lnTo>
                    <a:pt x="209300" y="17092"/>
                  </a:lnTo>
                  <a:lnTo>
                    <a:pt x="211870" y="17948"/>
                  </a:lnTo>
                  <a:lnTo>
                    <a:pt x="214234" y="17172"/>
                  </a:lnTo>
                  <a:lnTo>
                    <a:pt x="215267" y="17474"/>
                  </a:lnTo>
                  <a:lnTo>
                    <a:pt x="216201" y="18595"/>
                  </a:lnTo>
                  <a:lnTo>
                    <a:pt x="216728" y="19704"/>
                  </a:lnTo>
                  <a:lnTo>
                    <a:pt x="216846" y="20802"/>
                  </a:lnTo>
                  <a:lnTo>
                    <a:pt x="216421" y="23099"/>
                  </a:lnTo>
                  <a:lnTo>
                    <a:pt x="214999" y="25404"/>
                  </a:lnTo>
                  <a:lnTo>
                    <a:pt x="213081" y="27331"/>
                  </a:lnTo>
                  <a:lnTo>
                    <a:pt x="213351" y="27937"/>
                  </a:lnTo>
                  <a:lnTo>
                    <a:pt x="214889" y="28250"/>
                  </a:lnTo>
                  <a:lnTo>
                    <a:pt x="222215" y="27002"/>
                  </a:lnTo>
                  <a:lnTo>
                    <a:pt x="222975" y="27094"/>
                  </a:lnTo>
                  <a:lnTo>
                    <a:pt x="223396" y="27715"/>
                  </a:lnTo>
                  <a:lnTo>
                    <a:pt x="223478" y="28867"/>
                  </a:lnTo>
                  <a:lnTo>
                    <a:pt x="223881" y="29908"/>
                  </a:lnTo>
                  <a:lnTo>
                    <a:pt x="224604" y="30841"/>
                  </a:lnTo>
                  <a:lnTo>
                    <a:pt x="224379" y="31794"/>
                  </a:lnTo>
                  <a:lnTo>
                    <a:pt x="221172" y="34805"/>
                  </a:lnTo>
                  <a:lnTo>
                    <a:pt x="224955" y="32910"/>
                  </a:lnTo>
                  <a:lnTo>
                    <a:pt x="227948" y="32374"/>
                  </a:lnTo>
                  <a:lnTo>
                    <a:pt x="233067" y="33327"/>
                  </a:lnTo>
                  <a:lnTo>
                    <a:pt x="235162" y="34420"/>
                  </a:lnTo>
                  <a:lnTo>
                    <a:pt x="236388" y="36341"/>
                  </a:lnTo>
                  <a:lnTo>
                    <a:pt x="238160" y="35705"/>
                  </a:lnTo>
                  <a:lnTo>
                    <a:pt x="238930" y="35742"/>
                  </a:lnTo>
                  <a:lnTo>
                    <a:pt x="240089" y="36836"/>
                  </a:lnTo>
                  <a:lnTo>
                    <a:pt x="240130" y="38003"/>
                  </a:lnTo>
                  <a:lnTo>
                    <a:pt x="239280" y="39663"/>
                  </a:lnTo>
                  <a:lnTo>
                    <a:pt x="238986" y="41195"/>
                  </a:lnTo>
                  <a:lnTo>
                    <a:pt x="238096" y="41824"/>
                  </a:lnTo>
                  <a:lnTo>
                    <a:pt x="236432" y="42279"/>
                  </a:lnTo>
                  <a:lnTo>
                    <a:pt x="235956" y="42793"/>
                  </a:lnTo>
                  <a:lnTo>
                    <a:pt x="236689" y="43959"/>
                  </a:lnTo>
                  <a:lnTo>
                    <a:pt x="237768" y="45098"/>
                  </a:lnTo>
                  <a:lnTo>
                    <a:pt x="239302" y="45151"/>
                  </a:lnTo>
                  <a:lnTo>
                    <a:pt x="239575" y="45675"/>
                  </a:lnTo>
                  <a:lnTo>
                    <a:pt x="239610" y="46308"/>
                  </a:lnTo>
                  <a:lnTo>
                    <a:pt x="239402" y="47047"/>
                  </a:lnTo>
                  <a:lnTo>
                    <a:pt x="238901" y="47556"/>
                  </a:lnTo>
                  <a:lnTo>
                    <a:pt x="238109" y="47834"/>
                  </a:lnTo>
                  <a:lnTo>
                    <a:pt x="237060" y="48649"/>
                  </a:lnTo>
                  <a:lnTo>
                    <a:pt x="240909" y="50433"/>
                  </a:lnTo>
                  <a:lnTo>
                    <a:pt x="241400" y="51094"/>
                  </a:lnTo>
                  <a:lnTo>
                    <a:pt x="241455" y="52066"/>
                  </a:lnTo>
                  <a:lnTo>
                    <a:pt x="241155" y="53128"/>
                  </a:lnTo>
                  <a:lnTo>
                    <a:pt x="240499" y="54285"/>
                  </a:lnTo>
                  <a:lnTo>
                    <a:pt x="239338" y="54971"/>
                  </a:lnTo>
                  <a:lnTo>
                    <a:pt x="236565" y="55083"/>
                  </a:lnTo>
                  <a:lnTo>
                    <a:pt x="234868" y="55832"/>
                  </a:lnTo>
                  <a:lnTo>
                    <a:pt x="235446" y="57084"/>
                  </a:lnTo>
                  <a:lnTo>
                    <a:pt x="235402" y="58662"/>
                  </a:lnTo>
                  <a:lnTo>
                    <a:pt x="234891" y="60521"/>
                  </a:lnTo>
                  <a:lnTo>
                    <a:pt x="232708" y="63332"/>
                  </a:lnTo>
                  <a:lnTo>
                    <a:pt x="230657" y="64825"/>
                  </a:lnTo>
                  <a:lnTo>
                    <a:pt x="228651" y="65793"/>
                  </a:lnTo>
                  <a:lnTo>
                    <a:pt x="225073" y="65452"/>
                  </a:lnTo>
                  <a:lnTo>
                    <a:pt x="223124" y="64706"/>
                  </a:lnTo>
                  <a:lnTo>
                    <a:pt x="223341" y="67128"/>
                  </a:lnTo>
                  <a:lnTo>
                    <a:pt x="221349" y="68618"/>
                  </a:lnTo>
                  <a:lnTo>
                    <a:pt x="221726" y="69862"/>
                  </a:lnTo>
                  <a:lnTo>
                    <a:pt x="222419" y="70494"/>
                  </a:lnTo>
                  <a:lnTo>
                    <a:pt x="222074" y="72090"/>
                  </a:lnTo>
                  <a:lnTo>
                    <a:pt x="221128" y="73668"/>
                  </a:lnTo>
                  <a:lnTo>
                    <a:pt x="219542" y="75378"/>
                  </a:lnTo>
                  <a:lnTo>
                    <a:pt x="217748" y="76444"/>
                  </a:lnTo>
                  <a:lnTo>
                    <a:pt x="214181" y="77728"/>
                  </a:lnTo>
                  <a:lnTo>
                    <a:pt x="211133" y="79863"/>
                  </a:lnTo>
                  <a:lnTo>
                    <a:pt x="209050" y="80707"/>
                  </a:lnTo>
                  <a:lnTo>
                    <a:pt x="203870" y="80671"/>
                  </a:lnTo>
                  <a:lnTo>
                    <a:pt x="198582" y="82044"/>
                  </a:lnTo>
                  <a:lnTo>
                    <a:pt x="191110" y="84933"/>
                  </a:lnTo>
                  <a:lnTo>
                    <a:pt x="186079" y="87247"/>
                  </a:lnTo>
                  <a:lnTo>
                    <a:pt x="182196" y="89863"/>
                  </a:lnTo>
                  <a:lnTo>
                    <a:pt x="177065" y="94126"/>
                  </a:lnTo>
                  <a:lnTo>
                    <a:pt x="173256" y="95918"/>
                  </a:lnTo>
                  <a:lnTo>
                    <a:pt x="171059" y="96401"/>
                  </a:lnTo>
                  <a:lnTo>
                    <a:pt x="166783" y="96782"/>
                  </a:lnTo>
                  <a:lnTo>
                    <a:pt x="163200" y="97937"/>
                  </a:lnTo>
                  <a:lnTo>
                    <a:pt x="151296" y="100099"/>
                  </a:lnTo>
                  <a:lnTo>
                    <a:pt x="147266" y="101279"/>
                  </a:lnTo>
                  <a:lnTo>
                    <a:pt x="146745" y="102354"/>
                  </a:lnTo>
                  <a:lnTo>
                    <a:pt x="145074" y="103968"/>
                  </a:lnTo>
                  <a:lnTo>
                    <a:pt x="144969" y="104551"/>
                  </a:lnTo>
                  <a:lnTo>
                    <a:pt x="145703" y="105002"/>
                  </a:lnTo>
                  <a:lnTo>
                    <a:pt x="145838" y="105587"/>
                  </a:lnTo>
                  <a:lnTo>
                    <a:pt x="144365" y="107494"/>
                  </a:lnTo>
                  <a:lnTo>
                    <a:pt x="141422" y="108873"/>
                  </a:lnTo>
                  <a:lnTo>
                    <a:pt x="140031" y="108850"/>
                  </a:lnTo>
                  <a:lnTo>
                    <a:pt x="138347" y="107664"/>
                  </a:lnTo>
                  <a:lnTo>
                    <a:pt x="137614" y="107706"/>
                  </a:lnTo>
                  <a:lnTo>
                    <a:pt x="137326" y="107887"/>
                  </a:lnTo>
                  <a:lnTo>
                    <a:pt x="137309" y="108259"/>
                  </a:lnTo>
                  <a:lnTo>
                    <a:pt x="138276" y="109682"/>
                  </a:lnTo>
                  <a:lnTo>
                    <a:pt x="136495" y="110345"/>
                  </a:lnTo>
                  <a:lnTo>
                    <a:pt x="128738" y="112006"/>
                  </a:lnTo>
                  <a:lnTo>
                    <a:pt x="115546" y="110773"/>
                  </a:lnTo>
                  <a:lnTo>
                    <a:pt x="110320" y="109496"/>
                  </a:lnTo>
                  <a:lnTo>
                    <a:pt x="103870" y="107465"/>
                  </a:lnTo>
                  <a:lnTo>
                    <a:pt x="100029" y="106923"/>
                  </a:lnTo>
                  <a:lnTo>
                    <a:pt x="94585" y="106791"/>
                  </a:lnTo>
                  <a:lnTo>
                    <a:pt x="90112" y="103942"/>
                  </a:lnTo>
                  <a:lnTo>
                    <a:pt x="88042" y="102179"/>
                  </a:lnTo>
                  <a:lnTo>
                    <a:pt x="87876" y="101447"/>
                  </a:lnTo>
                  <a:lnTo>
                    <a:pt x="88109" y="100612"/>
                  </a:lnTo>
                  <a:lnTo>
                    <a:pt x="88575" y="100043"/>
                  </a:lnTo>
                  <a:lnTo>
                    <a:pt x="89271" y="99734"/>
                  </a:lnTo>
                  <a:lnTo>
                    <a:pt x="90747" y="99703"/>
                  </a:lnTo>
                  <a:lnTo>
                    <a:pt x="90939" y="99454"/>
                  </a:lnTo>
                  <a:lnTo>
                    <a:pt x="89813" y="98040"/>
                  </a:lnTo>
                  <a:lnTo>
                    <a:pt x="88736" y="98498"/>
                  </a:lnTo>
                  <a:lnTo>
                    <a:pt x="85855" y="100494"/>
                  </a:lnTo>
                  <a:lnTo>
                    <a:pt x="84573" y="100422"/>
                  </a:lnTo>
                  <a:lnTo>
                    <a:pt x="82890" y="99425"/>
                  </a:lnTo>
                  <a:lnTo>
                    <a:pt x="82826" y="98455"/>
                  </a:lnTo>
                  <a:lnTo>
                    <a:pt x="79535" y="98084"/>
                  </a:lnTo>
                  <a:lnTo>
                    <a:pt x="76676" y="96872"/>
                  </a:lnTo>
                  <a:lnTo>
                    <a:pt x="73835" y="95127"/>
                  </a:lnTo>
                  <a:lnTo>
                    <a:pt x="73411" y="94461"/>
                  </a:lnTo>
                  <a:lnTo>
                    <a:pt x="74775" y="93489"/>
                  </a:lnTo>
                  <a:lnTo>
                    <a:pt x="74512" y="93298"/>
                  </a:lnTo>
                  <a:lnTo>
                    <a:pt x="73485" y="93133"/>
                  </a:lnTo>
                  <a:lnTo>
                    <a:pt x="71410" y="93453"/>
                  </a:lnTo>
                  <a:lnTo>
                    <a:pt x="68284" y="95660"/>
                  </a:lnTo>
                  <a:lnTo>
                    <a:pt x="66934" y="96167"/>
                  </a:lnTo>
                  <a:lnTo>
                    <a:pt x="46504" y="96683"/>
                  </a:lnTo>
                  <a:lnTo>
                    <a:pt x="41323" y="96911"/>
                  </a:lnTo>
                  <a:lnTo>
                    <a:pt x="40321" y="97246"/>
                  </a:lnTo>
                  <a:lnTo>
                    <a:pt x="39418" y="95811"/>
                  </a:lnTo>
                  <a:lnTo>
                    <a:pt x="38614" y="92606"/>
                  </a:lnTo>
                  <a:lnTo>
                    <a:pt x="38314" y="90492"/>
                  </a:lnTo>
                  <a:lnTo>
                    <a:pt x="38520" y="89468"/>
                  </a:lnTo>
                  <a:lnTo>
                    <a:pt x="39238" y="88238"/>
                  </a:lnTo>
                  <a:lnTo>
                    <a:pt x="40349" y="88447"/>
                  </a:lnTo>
                  <a:lnTo>
                    <a:pt x="41407" y="89425"/>
                  </a:lnTo>
                  <a:lnTo>
                    <a:pt x="42364" y="90811"/>
                  </a:lnTo>
                  <a:lnTo>
                    <a:pt x="43464" y="91478"/>
                  </a:lnTo>
                  <a:lnTo>
                    <a:pt x="50595" y="89792"/>
                  </a:lnTo>
                  <a:lnTo>
                    <a:pt x="53490" y="88657"/>
                  </a:lnTo>
                  <a:lnTo>
                    <a:pt x="54721" y="87579"/>
                  </a:lnTo>
                  <a:lnTo>
                    <a:pt x="56170" y="85743"/>
                  </a:lnTo>
                  <a:lnTo>
                    <a:pt x="57707" y="84803"/>
                  </a:lnTo>
                  <a:lnTo>
                    <a:pt x="58441" y="83914"/>
                  </a:lnTo>
                  <a:lnTo>
                    <a:pt x="59882" y="81098"/>
                  </a:lnTo>
                  <a:lnTo>
                    <a:pt x="60877" y="79789"/>
                  </a:lnTo>
                  <a:lnTo>
                    <a:pt x="62069" y="78822"/>
                  </a:lnTo>
                  <a:lnTo>
                    <a:pt x="63455" y="78198"/>
                  </a:lnTo>
                  <a:lnTo>
                    <a:pt x="66609" y="77752"/>
                  </a:lnTo>
                  <a:lnTo>
                    <a:pt x="64534" y="77088"/>
                  </a:lnTo>
                  <a:lnTo>
                    <a:pt x="62555" y="77088"/>
                  </a:lnTo>
                  <a:lnTo>
                    <a:pt x="55821" y="80068"/>
                  </a:lnTo>
                  <a:lnTo>
                    <a:pt x="53563" y="80068"/>
                  </a:lnTo>
                  <a:lnTo>
                    <a:pt x="53658" y="79604"/>
                  </a:lnTo>
                  <a:lnTo>
                    <a:pt x="54610" y="78763"/>
                  </a:lnTo>
                  <a:lnTo>
                    <a:pt x="56926" y="77310"/>
                  </a:lnTo>
                  <a:lnTo>
                    <a:pt x="55335" y="77200"/>
                  </a:lnTo>
                  <a:lnTo>
                    <a:pt x="54728" y="76543"/>
                  </a:lnTo>
                  <a:lnTo>
                    <a:pt x="54658" y="75156"/>
                  </a:lnTo>
                  <a:lnTo>
                    <a:pt x="55841" y="72921"/>
                  </a:lnTo>
                  <a:lnTo>
                    <a:pt x="61323" y="69970"/>
                  </a:lnTo>
                  <a:lnTo>
                    <a:pt x="63219" y="69535"/>
                  </a:lnTo>
                  <a:lnTo>
                    <a:pt x="63795" y="68951"/>
                  </a:lnTo>
                  <a:lnTo>
                    <a:pt x="63076" y="68474"/>
                  </a:lnTo>
                  <a:lnTo>
                    <a:pt x="61930" y="68190"/>
                  </a:lnTo>
                  <a:lnTo>
                    <a:pt x="56414" y="71227"/>
                  </a:lnTo>
                  <a:lnTo>
                    <a:pt x="52399" y="72277"/>
                  </a:lnTo>
                  <a:lnTo>
                    <a:pt x="51205" y="72072"/>
                  </a:lnTo>
                  <a:lnTo>
                    <a:pt x="49128" y="70894"/>
                  </a:lnTo>
                  <a:lnTo>
                    <a:pt x="48459" y="70370"/>
                  </a:lnTo>
                  <a:lnTo>
                    <a:pt x="47563" y="69021"/>
                  </a:lnTo>
                  <a:lnTo>
                    <a:pt x="47664" y="68207"/>
                  </a:lnTo>
                  <a:lnTo>
                    <a:pt x="49577" y="65823"/>
                  </a:lnTo>
                  <a:lnTo>
                    <a:pt x="49269" y="65361"/>
                  </a:lnTo>
                  <a:lnTo>
                    <a:pt x="47953" y="65125"/>
                  </a:lnTo>
                  <a:lnTo>
                    <a:pt x="44415" y="62927"/>
                  </a:lnTo>
                  <a:lnTo>
                    <a:pt x="38815" y="63147"/>
                  </a:lnTo>
                  <a:lnTo>
                    <a:pt x="24958" y="61874"/>
                  </a:lnTo>
                  <a:lnTo>
                    <a:pt x="22095" y="62414"/>
                  </a:lnTo>
                  <a:lnTo>
                    <a:pt x="17374" y="64301"/>
                  </a:lnTo>
                  <a:lnTo>
                    <a:pt x="14521" y="64923"/>
                  </a:lnTo>
                  <a:lnTo>
                    <a:pt x="13203" y="64512"/>
                  </a:lnTo>
                  <a:lnTo>
                    <a:pt x="12005" y="63515"/>
                  </a:lnTo>
                  <a:lnTo>
                    <a:pt x="10917" y="62170"/>
                  </a:lnTo>
                  <a:lnTo>
                    <a:pt x="9940" y="60475"/>
                  </a:lnTo>
                  <a:lnTo>
                    <a:pt x="10363" y="59292"/>
                  </a:lnTo>
                  <a:lnTo>
                    <a:pt x="12190" y="58618"/>
                  </a:lnTo>
                  <a:lnTo>
                    <a:pt x="13530" y="58298"/>
                  </a:lnTo>
                  <a:lnTo>
                    <a:pt x="17302" y="58708"/>
                  </a:lnTo>
                  <a:lnTo>
                    <a:pt x="21899" y="57520"/>
                  </a:lnTo>
                  <a:lnTo>
                    <a:pt x="24832" y="57271"/>
                  </a:lnTo>
                  <a:lnTo>
                    <a:pt x="25674" y="57084"/>
                  </a:lnTo>
                  <a:lnTo>
                    <a:pt x="27401" y="55818"/>
                  </a:lnTo>
                  <a:lnTo>
                    <a:pt x="28252" y="55499"/>
                  </a:lnTo>
                  <a:lnTo>
                    <a:pt x="29581" y="55943"/>
                  </a:lnTo>
                  <a:lnTo>
                    <a:pt x="30224" y="56802"/>
                  </a:lnTo>
                  <a:lnTo>
                    <a:pt x="34852" y="55467"/>
                  </a:lnTo>
                  <a:lnTo>
                    <a:pt x="36441" y="54797"/>
                  </a:lnTo>
                  <a:lnTo>
                    <a:pt x="36620" y="54387"/>
                  </a:lnTo>
                  <a:lnTo>
                    <a:pt x="37316" y="53906"/>
                  </a:lnTo>
                  <a:lnTo>
                    <a:pt x="39618" y="54629"/>
                  </a:lnTo>
                  <a:lnTo>
                    <a:pt x="41482" y="54652"/>
                  </a:lnTo>
                  <a:lnTo>
                    <a:pt x="43809" y="54155"/>
                  </a:lnTo>
                  <a:lnTo>
                    <a:pt x="47922" y="53936"/>
                  </a:lnTo>
                  <a:lnTo>
                    <a:pt x="57127" y="53823"/>
                  </a:lnTo>
                  <a:lnTo>
                    <a:pt x="58506" y="52733"/>
                  </a:lnTo>
                  <a:lnTo>
                    <a:pt x="59155" y="51769"/>
                  </a:lnTo>
                  <a:lnTo>
                    <a:pt x="59967" y="49327"/>
                  </a:lnTo>
                  <a:lnTo>
                    <a:pt x="59608" y="48823"/>
                  </a:lnTo>
                  <a:lnTo>
                    <a:pt x="53858" y="51073"/>
                  </a:lnTo>
                  <a:lnTo>
                    <a:pt x="52546" y="51038"/>
                  </a:lnTo>
                  <a:lnTo>
                    <a:pt x="45891" y="49846"/>
                  </a:lnTo>
                  <a:lnTo>
                    <a:pt x="43486" y="48496"/>
                  </a:lnTo>
                  <a:lnTo>
                    <a:pt x="44274" y="47412"/>
                  </a:lnTo>
                  <a:lnTo>
                    <a:pt x="47800" y="45075"/>
                  </a:lnTo>
                  <a:lnTo>
                    <a:pt x="51441" y="43199"/>
                  </a:lnTo>
                  <a:lnTo>
                    <a:pt x="56799" y="41169"/>
                  </a:lnTo>
                  <a:lnTo>
                    <a:pt x="58054" y="40379"/>
                  </a:lnTo>
                  <a:lnTo>
                    <a:pt x="58184" y="39444"/>
                  </a:lnTo>
                  <a:lnTo>
                    <a:pt x="54615" y="37775"/>
                  </a:lnTo>
                  <a:lnTo>
                    <a:pt x="47855" y="38236"/>
                  </a:lnTo>
                  <a:lnTo>
                    <a:pt x="46125" y="36254"/>
                  </a:lnTo>
                  <a:lnTo>
                    <a:pt x="40511" y="35080"/>
                  </a:lnTo>
                  <a:lnTo>
                    <a:pt x="36773" y="35818"/>
                  </a:lnTo>
                  <a:lnTo>
                    <a:pt x="34787" y="34619"/>
                  </a:lnTo>
                  <a:lnTo>
                    <a:pt x="29931" y="36277"/>
                  </a:lnTo>
                  <a:lnTo>
                    <a:pt x="19263" y="38675"/>
                  </a:lnTo>
                  <a:lnTo>
                    <a:pt x="15018" y="40335"/>
                  </a:lnTo>
                  <a:lnTo>
                    <a:pt x="12732" y="40884"/>
                  </a:lnTo>
                  <a:lnTo>
                    <a:pt x="10098" y="39529"/>
                  </a:lnTo>
                  <a:lnTo>
                    <a:pt x="5566" y="38001"/>
                  </a:lnTo>
                  <a:lnTo>
                    <a:pt x="462" y="37525"/>
                  </a:lnTo>
                  <a:lnTo>
                    <a:pt x="0" y="36624"/>
                  </a:lnTo>
                  <a:lnTo>
                    <a:pt x="2977" y="33865"/>
                  </a:lnTo>
                  <a:lnTo>
                    <a:pt x="5014" y="33366"/>
                  </a:lnTo>
                  <a:lnTo>
                    <a:pt x="7067" y="33619"/>
                  </a:lnTo>
                  <a:lnTo>
                    <a:pt x="10983" y="35544"/>
                  </a:lnTo>
                  <a:lnTo>
                    <a:pt x="13686" y="36146"/>
                  </a:lnTo>
                  <a:lnTo>
                    <a:pt x="10297" y="33321"/>
                  </a:lnTo>
                  <a:lnTo>
                    <a:pt x="10385" y="32234"/>
                  </a:lnTo>
                  <a:lnTo>
                    <a:pt x="10130" y="30606"/>
                  </a:lnTo>
                  <a:lnTo>
                    <a:pt x="9080" y="29906"/>
                  </a:lnTo>
                  <a:lnTo>
                    <a:pt x="8044" y="28102"/>
                  </a:lnTo>
                  <a:lnTo>
                    <a:pt x="8470" y="27493"/>
                  </a:lnTo>
                  <a:lnTo>
                    <a:pt x="9801" y="27279"/>
                  </a:lnTo>
                  <a:lnTo>
                    <a:pt x="12529" y="27889"/>
                  </a:lnTo>
                  <a:lnTo>
                    <a:pt x="19011" y="31018"/>
                  </a:lnTo>
                  <a:lnTo>
                    <a:pt x="22194" y="30464"/>
                  </a:lnTo>
                  <a:lnTo>
                    <a:pt x="23941" y="29311"/>
                  </a:lnTo>
                  <a:lnTo>
                    <a:pt x="26321" y="28456"/>
                  </a:lnTo>
                  <a:lnTo>
                    <a:pt x="25645" y="28010"/>
                  </a:lnTo>
                  <a:lnTo>
                    <a:pt x="20042" y="27957"/>
                  </a:lnTo>
                  <a:lnTo>
                    <a:pt x="17047" y="27320"/>
                  </a:lnTo>
                  <a:lnTo>
                    <a:pt x="15532" y="26404"/>
                  </a:lnTo>
                  <a:lnTo>
                    <a:pt x="14220" y="24841"/>
                  </a:lnTo>
                  <a:lnTo>
                    <a:pt x="14682" y="24123"/>
                  </a:lnTo>
                  <a:lnTo>
                    <a:pt x="16239" y="23551"/>
                  </a:lnTo>
                  <a:lnTo>
                    <a:pt x="21023" y="23717"/>
                  </a:lnTo>
                  <a:lnTo>
                    <a:pt x="17871" y="21005"/>
                  </a:lnTo>
                  <a:lnTo>
                    <a:pt x="15680" y="19445"/>
                  </a:lnTo>
                  <a:lnTo>
                    <a:pt x="15442" y="18691"/>
                  </a:lnTo>
                  <a:lnTo>
                    <a:pt x="15592" y="17744"/>
                  </a:lnTo>
                  <a:lnTo>
                    <a:pt x="15889" y="17110"/>
                  </a:lnTo>
                  <a:lnTo>
                    <a:pt x="16330" y="16793"/>
                  </a:lnTo>
                  <a:lnTo>
                    <a:pt x="21821" y="18380"/>
                  </a:lnTo>
                  <a:lnTo>
                    <a:pt x="23023" y="18448"/>
                  </a:lnTo>
                  <a:lnTo>
                    <a:pt x="21913" y="17422"/>
                  </a:lnTo>
                  <a:lnTo>
                    <a:pt x="19506" y="15915"/>
                  </a:lnTo>
                  <a:lnTo>
                    <a:pt x="19396" y="15349"/>
                  </a:lnTo>
                  <a:lnTo>
                    <a:pt x="20410" y="14883"/>
                  </a:lnTo>
                  <a:lnTo>
                    <a:pt x="20911" y="14023"/>
                  </a:lnTo>
                  <a:lnTo>
                    <a:pt x="20957" y="13312"/>
                  </a:lnTo>
                  <a:lnTo>
                    <a:pt x="22624" y="12703"/>
                  </a:lnTo>
                  <a:lnTo>
                    <a:pt x="24304" y="12676"/>
                  </a:lnTo>
                  <a:lnTo>
                    <a:pt x="25997" y="13231"/>
                  </a:lnTo>
                  <a:lnTo>
                    <a:pt x="31247" y="16178"/>
                  </a:lnTo>
                  <a:lnTo>
                    <a:pt x="32000" y="17004"/>
                  </a:lnTo>
                  <a:lnTo>
                    <a:pt x="32248" y="18093"/>
                  </a:lnTo>
                  <a:lnTo>
                    <a:pt x="31991" y="19441"/>
                  </a:lnTo>
                  <a:lnTo>
                    <a:pt x="32210" y="19987"/>
                  </a:lnTo>
                  <a:lnTo>
                    <a:pt x="34262" y="19523"/>
                  </a:lnTo>
                  <a:lnTo>
                    <a:pt x="35898" y="20091"/>
                  </a:lnTo>
                  <a:lnTo>
                    <a:pt x="36714" y="19938"/>
                  </a:lnTo>
                  <a:lnTo>
                    <a:pt x="38748" y="17907"/>
                  </a:lnTo>
                  <a:lnTo>
                    <a:pt x="40152" y="18386"/>
                  </a:lnTo>
                  <a:lnTo>
                    <a:pt x="40998" y="19336"/>
                  </a:lnTo>
                  <a:lnTo>
                    <a:pt x="41261" y="20195"/>
                  </a:lnTo>
                  <a:lnTo>
                    <a:pt x="41386" y="21374"/>
                  </a:lnTo>
                  <a:lnTo>
                    <a:pt x="41028" y="23829"/>
                  </a:lnTo>
                  <a:lnTo>
                    <a:pt x="41121" y="24175"/>
                  </a:lnTo>
                  <a:lnTo>
                    <a:pt x="42546" y="22790"/>
                  </a:lnTo>
                  <a:lnTo>
                    <a:pt x="44976" y="22685"/>
                  </a:lnTo>
                  <a:lnTo>
                    <a:pt x="45289" y="21988"/>
                  </a:lnTo>
                  <a:lnTo>
                    <a:pt x="45362" y="19404"/>
                  </a:lnTo>
                  <a:lnTo>
                    <a:pt x="45165" y="17224"/>
                  </a:lnTo>
                  <a:lnTo>
                    <a:pt x="44896" y="16772"/>
                  </a:lnTo>
                  <a:lnTo>
                    <a:pt x="36911" y="13746"/>
                  </a:lnTo>
                  <a:lnTo>
                    <a:pt x="35522" y="13031"/>
                  </a:lnTo>
                  <a:lnTo>
                    <a:pt x="33782" y="11538"/>
                  </a:lnTo>
                  <a:lnTo>
                    <a:pt x="34134" y="10787"/>
                  </a:lnTo>
                  <a:lnTo>
                    <a:pt x="35690" y="10116"/>
                  </a:lnTo>
                  <a:lnTo>
                    <a:pt x="38036" y="9849"/>
                  </a:lnTo>
                  <a:lnTo>
                    <a:pt x="43479" y="9884"/>
                  </a:lnTo>
                  <a:lnTo>
                    <a:pt x="44031" y="9570"/>
                  </a:lnTo>
                  <a:lnTo>
                    <a:pt x="42976" y="8783"/>
                  </a:lnTo>
                  <a:lnTo>
                    <a:pt x="40456" y="8274"/>
                  </a:lnTo>
                  <a:lnTo>
                    <a:pt x="39867" y="7820"/>
                  </a:lnTo>
                  <a:lnTo>
                    <a:pt x="39568" y="6945"/>
                  </a:lnTo>
                  <a:lnTo>
                    <a:pt x="36581" y="7423"/>
                  </a:lnTo>
                  <a:lnTo>
                    <a:pt x="33249" y="7442"/>
                  </a:lnTo>
                  <a:lnTo>
                    <a:pt x="30045" y="6907"/>
                  </a:lnTo>
                  <a:lnTo>
                    <a:pt x="29979" y="6226"/>
                  </a:lnTo>
                  <a:lnTo>
                    <a:pt x="31244" y="5226"/>
                  </a:lnTo>
                  <a:lnTo>
                    <a:pt x="33861" y="3565"/>
                  </a:lnTo>
                  <a:lnTo>
                    <a:pt x="35080" y="3153"/>
                  </a:lnTo>
                  <a:lnTo>
                    <a:pt x="38739" y="3443"/>
                  </a:lnTo>
                  <a:lnTo>
                    <a:pt x="42375" y="2977"/>
                  </a:lnTo>
                  <a:lnTo>
                    <a:pt x="45320" y="3540"/>
                  </a:lnTo>
                  <a:lnTo>
                    <a:pt x="47656" y="5185"/>
                  </a:lnTo>
                  <a:lnTo>
                    <a:pt x="50979" y="8069"/>
                  </a:lnTo>
                  <a:lnTo>
                    <a:pt x="55473" y="9913"/>
                  </a:lnTo>
                  <a:lnTo>
                    <a:pt x="55884" y="10491"/>
                  </a:lnTo>
                  <a:lnTo>
                    <a:pt x="58275" y="11999"/>
                  </a:lnTo>
                  <a:lnTo>
                    <a:pt x="63028" y="16051"/>
                  </a:lnTo>
                  <a:lnTo>
                    <a:pt x="67857" y="18398"/>
                  </a:lnTo>
                  <a:lnTo>
                    <a:pt x="68081" y="18995"/>
                  </a:lnTo>
                  <a:lnTo>
                    <a:pt x="67287" y="19697"/>
                  </a:lnTo>
                  <a:lnTo>
                    <a:pt x="65430" y="20520"/>
                  </a:lnTo>
                  <a:lnTo>
                    <a:pt x="65855" y="20976"/>
                  </a:lnTo>
                  <a:lnTo>
                    <a:pt x="68280" y="21572"/>
                  </a:lnTo>
                  <a:lnTo>
                    <a:pt x="70027" y="23159"/>
                  </a:lnTo>
                  <a:lnTo>
                    <a:pt x="70145" y="23847"/>
                  </a:lnTo>
                  <a:lnTo>
                    <a:pt x="68565" y="28751"/>
                  </a:lnTo>
                  <a:lnTo>
                    <a:pt x="67726" y="29791"/>
                  </a:lnTo>
                  <a:lnTo>
                    <a:pt x="66758" y="30340"/>
                  </a:lnTo>
                  <a:lnTo>
                    <a:pt x="62295" y="29418"/>
                  </a:lnTo>
                  <a:lnTo>
                    <a:pt x="63359" y="30975"/>
                  </a:lnTo>
                  <a:lnTo>
                    <a:pt x="66545" y="32633"/>
                  </a:lnTo>
                  <a:lnTo>
                    <a:pt x="67266" y="33559"/>
                  </a:lnTo>
                  <a:lnTo>
                    <a:pt x="66791" y="34466"/>
                  </a:lnTo>
                  <a:lnTo>
                    <a:pt x="67139" y="34676"/>
                  </a:lnTo>
                  <a:lnTo>
                    <a:pt x="68305" y="34185"/>
                  </a:lnTo>
                  <a:lnTo>
                    <a:pt x="68789" y="34700"/>
                  </a:lnTo>
                  <a:lnTo>
                    <a:pt x="68588" y="36218"/>
                  </a:lnTo>
                  <a:lnTo>
                    <a:pt x="68091" y="37477"/>
                  </a:lnTo>
                  <a:lnTo>
                    <a:pt x="67298" y="38476"/>
                  </a:lnTo>
                  <a:lnTo>
                    <a:pt x="67526" y="38908"/>
                  </a:lnTo>
                  <a:lnTo>
                    <a:pt x="68773" y="38775"/>
                  </a:lnTo>
                  <a:lnTo>
                    <a:pt x="69943" y="39034"/>
                  </a:lnTo>
                  <a:lnTo>
                    <a:pt x="71769" y="40412"/>
                  </a:lnTo>
                  <a:lnTo>
                    <a:pt x="73251" y="44619"/>
                  </a:lnTo>
                  <a:lnTo>
                    <a:pt x="73987" y="45978"/>
                  </a:lnTo>
                  <a:lnTo>
                    <a:pt x="74517" y="44772"/>
                  </a:lnTo>
                  <a:lnTo>
                    <a:pt x="75183" y="41702"/>
                  </a:lnTo>
                  <a:lnTo>
                    <a:pt x="75809" y="40132"/>
                  </a:lnTo>
                  <a:lnTo>
                    <a:pt x="76394" y="40063"/>
                  </a:lnTo>
                  <a:lnTo>
                    <a:pt x="76899" y="39546"/>
                  </a:lnTo>
                  <a:lnTo>
                    <a:pt x="77322" y="38581"/>
                  </a:lnTo>
                  <a:lnTo>
                    <a:pt x="78187" y="35174"/>
                  </a:lnTo>
                  <a:lnTo>
                    <a:pt x="81181" y="32587"/>
                  </a:lnTo>
                  <a:lnTo>
                    <a:pt x="82610" y="31794"/>
                  </a:lnTo>
                  <a:lnTo>
                    <a:pt x="83954" y="31618"/>
                  </a:lnTo>
                  <a:lnTo>
                    <a:pt x="84607" y="31941"/>
                  </a:lnTo>
                  <a:lnTo>
                    <a:pt x="86846" y="34654"/>
                  </a:lnTo>
                  <a:lnTo>
                    <a:pt x="88209" y="35110"/>
                  </a:lnTo>
                  <a:lnTo>
                    <a:pt x="88909" y="34961"/>
                  </a:lnTo>
                  <a:lnTo>
                    <a:pt x="89867" y="33121"/>
                  </a:lnTo>
                  <a:lnTo>
                    <a:pt x="91081" y="29583"/>
                  </a:lnTo>
                  <a:lnTo>
                    <a:pt x="91358" y="25625"/>
                  </a:lnTo>
                  <a:lnTo>
                    <a:pt x="90698" y="21246"/>
                  </a:lnTo>
                  <a:lnTo>
                    <a:pt x="91082" y="18118"/>
                  </a:lnTo>
                  <a:lnTo>
                    <a:pt x="92507" y="16246"/>
                  </a:lnTo>
                  <a:lnTo>
                    <a:pt x="94378" y="15670"/>
                  </a:lnTo>
                  <a:lnTo>
                    <a:pt x="96696" y="16389"/>
                  </a:lnTo>
                  <a:lnTo>
                    <a:pt x="98390" y="17531"/>
                  </a:lnTo>
                  <a:lnTo>
                    <a:pt x="101736" y="21888"/>
                  </a:lnTo>
                  <a:lnTo>
                    <a:pt x="104437" y="24164"/>
                  </a:lnTo>
                  <a:lnTo>
                    <a:pt x="106754" y="26607"/>
                  </a:lnTo>
                  <a:lnTo>
                    <a:pt x="107954" y="27398"/>
                  </a:lnTo>
                  <a:lnTo>
                    <a:pt x="110251" y="27799"/>
                  </a:lnTo>
                  <a:lnTo>
                    <a:pt x="110867" y="27642"/>
                  </a:lnTo>
                  <a:lnTo>
                    <a:pt x="111277" y="27078"/>
                  </a:lnTo>
                  <a:lnTo>
                    <a:pt x="111485" y="26109"/>
                  </a:lnTo>
                  <a:lnTo>
                    <a:pt x="110990" y="19886"/>
                  </a:lnTo>
                  <a:lnTo>
                    <a:pt x="111636" y="17944"/>
                  </a:lnTo>
                  <a:lnTo>
                    <a:pt x="112611" y="16564"/>
                  </a:lnTo>
                  <a:lnTo>
                    <a:pt x="116760" y="15750"/>
                  </a:lnTo>
                  <a:lnTo>
                    <a:pt x="119018" y="14884"/>
                  </a:lnTo>
                  <a:lnTo>
                    <a:pt x="121217" y="13461"/>
                  </a:lnTo>
                  <a:lnTo>
                    <a:pt x="123040" y="12698"/>
                  </a:lnTo>
                  <a:lnTo>
                    <a:pt x="124487" y="12595"/>
                  </a:lnTo>
                  <a:lnTo>
                    <a:pt x="125998" y="13151"/>
                  </a:lnTo>
                  <a:lnTo>
                    <a:pt x="127576" y="14363"/>
                  </a:lnTo>
                  <a:lnTo>
                    <a:pt x="130036" y="16724"/>
                  </a:lnTo>
                  <a:lnTo>
                    <a:pt x="133131" y="20630"/>
                  </a:lnTo>
                  <a:lnTo>
                    <a:pt x="137067" y="23546"/>
                  </a:lnTo>
                  <a:lnTo>
                    <a:pt x="139130" y="28165"/>
                  </a:lnTo>
                  <a:lnTo>
                    <a:pt x="139571" y="28945"/>
                  </a:lnTo>
                  <a:lnTo>
                    <a:pt x="140052" y="29036"/>
                  </a:lnTo>
                  <a:lnTo>
                    <a:pt x="140573" y="28437"/>
                  </a:lnTo>
                  <a:lnTo>
                    <a:pt x="140906" y="27585"/>
                  </a:lnTo>
                  <a:lnTo>
                    <a:pt x="141001" y="25532"/>
                  </a:lnTo>
                  <a:lnTo>
                    <a:pt x="139899" y="22804"/>
                  </a:lnTo>
                  <a:lnTo>
                    <a:pt x="136218" y="15924"/>
                  </a:lnTo>
                  <a:lnTo>
                    <a:pt x="136155" y="14618"/>
                  </a:lnTo>
                  <a:lnTo>
                    <a:pt x="136620" y="13568"/>
                  </a:lnTo>
                  <a:lnTo>
                    <a:pt x="139214" y="13454"/>
                  </a:lnTo>
                  <a:lnTo>
                    <a:pt x="145248" y="14086"/>
                  </a:lnTo>
                  <a:lnTo>
                    <a:pt x="147175" y="15156"/>
                  </a:lnTo>
                  <a:lnTo>
                    <a:pt x="151277" y="19365"/>
                  </a:lnTo>
                  <a:lnTo>
                    <a:pt x="152429" y="20380"/>
                  </a:lnTo>
                  <a:lnTo>
                    <a:pt x="153132" y="20636"/>
                  </a:lnTo>
                  <a:lnTo>
                    <a:pt x="153384" y="20127"/>
                  </a:lnTo>
                  <a:lnTo>
                    <a:pt x="154976" y="19347"/>
                  </a:lnTo>
                  <a:lnTo>
                    <a:pt x="156077" y="18400"/>
                  </a:lnTo>
                  <a:lnTo>
                    <a:pt x="157912" y="16081"/>
                  </a:lnTo>
                  <a:lnTo>
                    <a:pt x="161920" y="11902"/>
                  </a:lnTo>
                  <a:lnTo>
                    <a:pt x="162752" y="11778"/>
                  </a:lnTo>
                  <a:lnTo>
                    <a:pt x="163922" y="12108"/>
                  </a:lnTo>
                  <a:lnTo>
                    <a:pt x="165977" y="13203"/>
                  </a:lnTo>
                  <a:lnTo>
                    <a:pt x="166952" y="14080"/>
                  </a:lnTo>
                  <a:lnTo>
                    <a:pt x="168885" y="14748"/>
                  </a:lnTo>
                  <a:lnTo>
                    <a:pt x="170866" y="14514"/>
                  </a:lnTo>
                  <a:lnTo>
                    <a:pt x="173601" y="13049"/>
                  </a:lnTo>
                  <a:lnTo>
                    <a:pt x="176691" y="12155"/>
                  </a:lnTo>
                  <a:lnTo>
                    <a:pt x="177750" y="10076"/>
                  </a:lnTo>
                  <a:lnTo>
                    <a:pt x="177950" y="9127"/>
                  </a:lnTo>
                  <a:lnTo>
                    <a:pt x="175460" y="2928"/>
                  </a:lnTo>
                  <a:lnTo>
                    <a:pt x="176506" y="1658"/>
                  </a:lnTo>
                  <a:lnTo>
                    <a:pt x="181902" y="117"/>
                  </a:lnTo>
                  <a:lnTo>
                    <a:pt x="186622" y="0"/>
                  </a:lnTo>
                  <a:lnTo>
                    <a:pt x="187738" y="422"/>
                  </a:lnTo>
                  <a:lnTo>
                    <a:pt x="190712" y="3439"/>
                  </a:lnTo>
                  <a:lnTo>
                    <a:pt x="192727" y="4956"/>
                  </a:lnTo>
                  <a:lnTo>
                    <a:pt x="193744" y="6176"/>
                  </a:lnTo>
                  <a:lnTo>
                    <a:pt x="193987" y="8856"/>
                  </a:lnTo>
                  <a:lnTo>
                    <a:pt x="195213" y="9847"/>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5" name="ee4p_IT_1_15912">
              <a:extLst>
                <a:ext uri="{FF2B5EF4-FFF2-40B4-BE49-F238E27FC236}">
                  <a16:creationId xmlns:a16="http://schemas.microsoft.com/office/drawing/2014/main" id="{F60B2F0F-BF71-7BD5-3B67-A134905A1339}"/>
                </a:ext>
              </a:extLst>
            </p:cNvPr>
            <p:cNvSpPr>
              <a:spLocks noChangeAspect="1"/>
            </p:cNvSpPr>
            <p:nvPr>
              <p:custDataLst>
                <p:tags r:id="rId37"/>
              </p:custDataLst>
            </p:nvPr>
          </p:nvSpPr>
          <p:spPr>
            <a:xfrm>
              <a:off x="4488825" y="5317667"/>
              <a:ext cx="653384" cy="636877"/>
            </a:xfrm>
            <a:custGeom>
              <a:avLst/>
              <a:gdLst>
                <a:gd name="connsiteX0" fmla="*/ 83300 w 164820"/>
                <a:gd name="connsiteY0" fmla="*/ 156716 h 160656"/>
                <a:gd name="connsiteX1" fmla="*/ 84985 w 164820"/>
                <a:gd name="connsiteY1" fmla="*/ 157277 h 160656"/>
                <a:gd name="connsiteX2" fmla="*/ 85512 w 164820"/>
                <a:gd name="connsiteY2" fmla="*/ 158410 h 160656"/>
                <a:gd name="connsiteX3" fmla="*/ 85583 w 164820"/>
                <a:gd name="connsiteY3" fmla="*/ 158900 h 160656"/>
                <a:gd name="connsiteX4" fmla="*/ 84523 w 164820"/>
                <a:gd name="connsiteY4" fmla="*/ 159180 h 160656"/>
                <a:gd name="connsiteX5" fmla="*/ 83137 w 164820"/>
                <a:gd name="connsiteY5" fmla="*/ 158308 h 160656"/>
                <a:gd name="connsiteX6" fmla="*/ 83044 w 164820"/>
                <a:gd name="connsiteY6" fmla="*/ 157083 h 160656"/>
                <a:gd name="connsiteX7" fmla="*/ 163353 w 164820"/>
                <a:gd name="connsiteY7" fmla="*/ 119599 h 160656"/>
                <a:gd name="connsiteX8" fmla="*/ 164820 w 164820"/>
                <a:gd name="connsiteY8" fmla="*/ 120327 h 160656"/>
                <a:gd name="connsiteX9" fmla="*/ 163535 w 164820"/>
                <a:gd name="connsiteY9" fmla="*/ 121541 h 160656"/>
                <a:gd name="connsiteX10" fmla="*/ 162038 w 164820"/>
                <a:gd name="connsiteY10" fmla="*/ 124459 h 160656"/>
                <a:gd name="connsiteX11" fmla="*/ 161304 w 164820"/>
                <a:gd name="connsiteY11" fmla="*/ 125580 h 160656"/>
                <a:gd name="connsiteX12" fmla="*/ 155970 w 164820"/>
                <a:gd name="connsiteY12" fmla="*/ 132706 h 160656"/>
                <a:gd name="connsiteX13" fmla="*/ 155359 w 164820"/>
                <a:gd name="connsiteY13" fmla="*/ 134350 h 160656"/>
                <a:gd name="connsiteX14" fmla="*/ 154984 w 164820"/>
                <a:gd name="connsiteY14" fmla="*/ 136135 h 160656"/>
                <a:gd name="connsiteX15" fmla="*/ 154431 w 164820"/>
                <a:gd name="connsiteY15" fmla="*/ 137699 h 160656"/>
                <a:gd name="connsiteX16" fmla="*/ 153683 w 164820"/>
                <a:gd name="connsiteY16" fmla="*/ 139172 h 160656"/>
                <a:gd name="connsiteX17" fmla="*/ 152986 w 164820"/>
                <a:gd name="connsiteY17" fmla="*/ 141044 h 160656"/>
                <a:gd name="connsiteX18" fmla="*/ 153122 w 164820"/>
                <a:gd name="connsiteY18" fmla="*/ 143164 h 160656"/>
                <a:gd name="connsiteX19" fmla="*/ 153373 w 164820"/>
                <a:gd name="connsiteY19" fmla="*/ 144204 h 160656"/>
                <a:gd name="connsiteX20" fmla="*/ 154014 w 164820"/>
                <a:gd name="connsiteY20" fmla="*/ 144885 h 160656"/>
                <a:gd name="connsiteX21" fmla="*/ 155068 w 164820"/>
                <a:gd name="connsiteY21" fmla="*/ 145526 h 160656"/>
                <a:gd name="connsiteX22" fmla="*/ 155877 w 164820"/>
                <a:gd name="connsiteY22" fmla="*/ 146508 h 160656"/>
                <a:gd name="connsiteX23" fmla="*/ 154636 w 164820"/>
                <a:gd name="connsiteY23" fmla="*/ 147403 h 160656"/>
                <a:gd name="connsiteX24" fmla="*/ 156005 w 164820"/>
                <a:gd name="connsiteY24" fmla="*/ 149197 h 160656"/>
                <a:gd name="connsiteX25" fmla="*/ 157169 w 164820"/>
                <a:gd name="connsiteY25" fmla="*/ 150262 h 160656"/>
                <a:gd name="connsiteX26" fmla="*/ 157324 w 164820"/>
                <a:gd name="connsiteY26" fmla="*/ 151324 h 160656"/>
                <a:gd name="connsiteX27" fmla="*/ 157298 w 164820"/>
                <a:gd name="connsiteY27" fmla="*/ 152389 h 160656"/>
                <a:gd name="connsiteX28" fmla="*/ 154880 w 164820"/>
                <a:gd name="connsiteY28" fmla="*/ 154385 h 160656"/>
                <a:gd name="connsiteX29" fmla="*/ 153934 w 164820"/>
                <a:gd name="connsiteY29" fmla="*/ 155483 h 160656"/>
                <a:gd name="connsiteX30" fmla="*/ 153347 w 164820"/>
                <a:gd name="connsiteY30" fmla="*/ 156812 h 160656"/>
                <a:gd name="connsiteX31" fmla="*/ 153092 w 164820"/>
                <a:gd name="connsiteY31" fmla="*/ 158184 h 160656"/>
                <a:gd name="connsiteX32" fmla="*/ 153357 w 164820"/>
                <a:gd name="connsiteY32" fmla="*/ 159422 h 160656"/>
                <a:gd name="connsiteX33" fmla="*/ 153275 w 164820"/>
                <a:gd name="connsiteY33" fmla="*/ 160656 h 160656"/>
                <a:gd name="connsiteX34" fmla="*/ 150840 w 164820"/>
                <a:gd name="connsiteY34" fmla="*/ 160502 h 160656"/>
                <a:gd name="connsiteX35" fmla="*/ 148346 w 164820"/>
                <a:gd name="connsiteY35" fmla="*/ 159750 h 160656"/>
                <a:gd name="connsiteX36" fmla="*/ 145832 w 164820"/>
                <a:gd name="connsiteY36" fmla="*/ 160083 h 160656"/>
                <a:gd name="connsiteX37" fmla="*/ 142258 w 164820"/>
                <a:gd name="connsiteY37" fmla="*/ 158657 h 160656"/>
                <a:gd name="connsiteX38" fmla="*/ 140956 w 164820"/>
                <a:gd name="connsiteY38" fmla="*/ 158399 h 160656"/>
                <a:gd name="connsiteX39" fmla="*/ 139771 w 164820"/>
                <a:gd name="connsiteY39" fmla="*/ 157843 h 160656"/>
                <a:gd name="connsiteX40" fmla="*/ 136795 w 164820"/>
                <a:gd name="connsiteY40" fmla="*/ 153418 h 160656"/>
                <a:gd name="connsiteX41" fmla="*/ 134402 w 164820"/>
                <a:gd name="connsiteY41" fmla="*/ 151546 h 160656"/>
                <a:gd name="connsiteX42" fmla="*/ 131835 w 164820"/>
                <a:gd name="connsiteY42" fmla="*/ 150090 h 160656"/>
                <a:gd name="connsiteX43" fmla="*/ 129211 w 164820"/>
                <a:gd name="connsiteY43" fmla="*/ 150001 h 160656"/>
                <a:gd name="connsiteX44" fmla="*/ 126583 w 164820"/>
                <a:gd name="connsiteY44" fmla="*/ 150167 h 160656"/>
                <a:gd name="connsiteX45" fmla="*/ 124264 w 164820"/>
                <a:gd name="connsiteY45" fmla="*/ 149269 h 160656"/>
                <a:gd name="connsiteX46" fmla="*/ 119544 w 164820"/>
                <a:gd name="connsiteY46" fmla="*/ 146257 h 160656"/>
                <a:gd name="connsiteX47" fmla="*/ 114542 w 164820"/>
                <a:gd name="connsiteY47" fmla="*/ 143846 h 160656"/>
                <a:gd name="connsiteX48" fmla="*/ 112420 w 164820"/>
                <a:gd name="connsiteY48" fmla="*/ 142274 h 160656"/>
                <a:gd name="connsiteX49" fmla="*/ 111450 w 164820"/>
                <a:gd name="connsiteY49" fmla="*/ 141217 h 160656"/>
                <a:gd name="connsiteX50" fmla="*/ 110319 w 164820"/>
                <a:gd name="connsiteY50" fmla="*/ 140515 h 160656"/>
                <a:gd name="connsiteX51" fmla="*/ 107453 w 164820"/>
                <a:gd name="connsiteY51" fmla="*/ 139819 h 160656"/>
                <a:gd name="connsiteX52" fmla="*/ 104884 w 164820"/>
                <a:gd name="connsiteY52" fmla="*/ 138186 h 160656"/>
                <a:gd name="connsiteX53" fmla="*/ 103713 w 164820"/>
                <a:gd name="connsiteY53" fmla="*/ 138066 h 160656"/>
                <a:gd name="connsiteX54" fmla="*/ 101195 w 164820"/>
                <a:gd name="connsiteY54" fmla="*/ 138265 h 160656"/>
                <a:gd name="connsiteX55" fmla="*/ 99906 w 164820"/>
                <a:gd name="connsiteY55" fmla="*/ 138152 h 160656"/>
                <a:gd name="connsiteX56" fmla="*/ 98606 w 164820"/>
                <a:gd name="connsiteY56" fmla="*/ 137577 h 160656"/>
                <a:gd name="connsiteX57" fmla="*/ 96097 w 164820"/>
                <a:gd name="connsiteY57" fmla="*/ 135655 h 160656"/>
                <a:gd name="connsiteX58" fmla="*/ 94497 w 164820"/>
                <a:gd name="connsiteY58" fmla="*/ 132988 h 160656"/>
                <a:gd name="connsiteX59" fmla="*/ 94080 w 164820"/>
                <a:gd name="connsiteY59" fmla="*/ 131811 h 160656"/>
                <a:gd name="connsiteX60" fmla="*/ 95214 w 164820"/>
                <a:gd name="connsiteY60" fmla="*/ 128764 h 160656"/>
                <a:gd name="connsiteX61" fmla="*/ 96559 w 164820"/>
                <a:gd name="connsiteY61" fmla="*/ 125837 h 160656"/>
                <a:gd name="connsiteX62" fmla="*/ 97753 w 164820"/>
                <a:gd name="connsiteY62" fmla="*/ 125015 h 160656"/>
                <a:gd name="connsiteX63" fmla="*/ 99140 w 164820"/>
                <a:gd name="connsiteY63" fmla="*/ 124426 h 160656"/>
                <a:gd name="connsiteX64" fmla="*/ 99980 w 164820"/>
                <a:gd name="connsiteY64" fmla="*/ 123559 h 160656"/>
                <a:gd name="connsiteX65" fmla="*/ 100688 w 164820"/>
                <a:gd name="connsiteY65" fmla="*/ 122497 h 160656"/>
                <a:gd name="connsiteX66" fmla="*/ 103260 w 164820"/>
                <a:gd name="connsiteY66" fmla="*/ 125560 h 160656"/>
                <a:gd name="connsiteX67" fmla="*/ 104411 w 164820"/>
                <a:gd name="connsiteY67" fmla="*/ 126300 h 160656"/>
                <a:gd name="connsiteX68" fmla="*/ 105577 w 164820"/>
                <a:gd name="connsiteY68" fmla="*/ 126135 h 160656"/>
                <a:gd name="connsiteX69" fmla="*/ 107645 w 164820"/>
                <a:gd name="connsiteY69" fmla="*/ 125038 h 160656"/>
                <a:gd name="connsiteX70" fmla="*/ 107818 w 164820"/>
                <a:gd name="connsiteY70" fmla="*/ 123836 h 160656"/>
                <a:gd name="connsiteX71" fmla="*/ 110098 w 164820"/>
                <a:gd name="connsiteY71" fmla="*/ 122311 h 160656"/>
                <a:gd name="connsiteX72" fmla="*/ 112999 w 164820"/>
                <a:gd name="connsiteY72" fmla="*/ 122282 h 160656"/>
                <a:gd name="connsiteX73" fmla="*/ 114337 w 164820"/>
                <a:gd name="connsiteY73" fmla="*/ 122562 h 160656"/>
                <a:gd name="connsiteX74" fmla="*/ 115041 w 164820"/>
                <a:gd name="connsiteY74" fmla="*/ 123941 h 160656"/>
                <a:gd name="connsiteX75" fmla="*/ 116147 w 164820"/>
                <a:gd name="connsiteY75" fmla="*/ 124366 h 160656"/>
                <a:gd name="connsiteX76" fmla="*/ 117425 w 164820"/>
                <a:gd name="connsiteY76" fmla="*/ 124549 h 160656"/>
                <a:gd name="connsiteX77" fmla="*/ 121632 w 164820"/>
                <a:gd name="connsiteY77" fmla="*/ 127175 h 160656"/>
                <a:gd name="connsiteX78" fmla="*/ 122811 w 164820"/>
                <a:gd name="connsiteY78" fmla="*/ 127603 h 160656"/>
                <a:gd name="connsiteX79" fmla="*/ 124005 w 164820"/>
                <a:gd name="connsiteY79" fmla="*/ 127676 h 160656"/>
                <a:gd name="connsiteX80" fmla="*/ 127272 w 164820"/>
                <a:gd name="connsiteY80" fmla="*/ 126574 h 160656"/>
                <a:gd name="connsiteX81" fmla="*/ 129779 w 164820"/>
                <a:gd name="connsiteY81" fmla="*/ 126155 h 160656"/>
                <a:gd name="connsiteX82" fmla="*/ 135035 w 164820"/>
                <a:gd name="connsiteY82" fmla="*/ 126762 h 160656"/>
                <a:gd name="connsiteX83" fmla="*/ 137877 w 164820"/>
                <a:gd name="connsiteY83" fmla="*/ 126102 h 160656"/>
                <a:gd name="connsiteX84" fmla="*/ 139861 w 164820"/>
                <a:gd name="connsiteY84" fmla="*/ 126027 h 160656"/>
                <a:gd name="connsiteX85" fmla="*/ 142753 w 164820"/>
                <a:gd name="connsiteY85" fmla="*/ 125012 h 160656"/>
                <a:gd name="connsiteX86" fmla="*/ 144975 w 164820"/>
                <a:gd name="connsiteY86" fmla="*/ 123326 h 160656"/>
                <a:gd name="connsiteX87" fmla="*/ 146134 w 164820"/>
                <a:gd name="connsiteY87" fmla="*/ 122910 h 160656"/>
                <a:gd name="connsiteX88" fmla="*/ 147378 w 164820"/>
                <a:gd name="connsiteY88" fmla="*/ 122790 h 160656"/>
                <a:gd name="connsiteX89" fmla="*/ 150386 w 164820"/>
                <a:gd name="connsiteY89" fmla="*/ 122895 h 160656"/>
                <a:gd name="connsiteX90" fmla="*/ 153411 w 164820"/>
                <a:gd name="connsiteY90" fmla="*/ 123276 h 160656"/>
                <a:gd name="connsiteX91" fmla="*/ 154679 w 164820"/>
                <a:gd name="connsiteY91" fmla="*/ 122882 h 160656"/>
                <a:gd name="connsiteX92" fmla="*/ 155739 w 164820"/>
                <a:gd name="connsiteY92" fmla="*/ 121779 h 160656"/>
                <a:gd name="connsiteX93" fmla="*/ 156968 w 164820"/>
                <a:gd name="connsiteY93" fmla="*/ 121282 h 160656"/>
                <a:gd name="connsiteX94" fmla="*/ 158320 w 164820"/>
                <a:gd name="connsiteY94" fmla="*/ 121617 h 160656"/>
                <a:gd name="connsiteX95" fmla="*/ 161813 w 164820"/>
                <a:gd name="connsiteY95" fmla="*/ 119728 h 160656"/>
                <a:gd name="connsiteX96" fmla="*/ 4111 w 164820"/>
                <a:gd name="connsiteY96" fmla="*/ 98453 h 160656"/>
                <a:gd name="connsiteX97" fmla="*/ 5744 w 164820"/>
                <a:gd name="connsiteY97" fmla="*/ 99107 h 160656"/>
                <a:gd name="connsiteX98" fmla="*/ 6590 w 164820"/>
                <a:gd name="connsiteY98" fmla="*/ 99705 h 160656"/>
                <a:gd name="connsiteX99" fmla="*/ 5321 w 164820"/>
                <a:gd name="connsiteY99" fmla="*/ 102261 h 160656"/>
                <a:gd name="connsiteX100" fmla="*/ 3982 w 164820"/>
                <a:gd name="connsiteY100" fmla="*/ 100451 h 160656"/>
                <a:gd name="connsiteX101" fmla="*/ 3930 w 164820"/>
                <a:gd name="connsiteY101" fmla="*/ 98896 h 160656"/>
                <a:gd name="connsiteX102" fmla="*/ 125825 w 164820"/>
                <a:gd name="connsiteY102" fmla="*/ 55558 h 160656"/>
                <a:gd name="connsiteX103" fmla="*/ 127836 w 164820"/>
                <a:gd name="connsiteY103" fmla="*/ 56147 h 160656"/>
                <a:gd name="connsiteX104" fmla="*/ 127808 w 164820"/>
                <a:gd name="connsiteY104" fmla="*/ 56704 h 160656"/>
                <a:gd name="connsiteX105" fmla="*/ 127309 w 164820"/>
                <a:gd name="connsiteY105" fmla="*/ 57033 h 160656"/>
                <a:gd name="connsiteX106" fmla="*/ 126322 w 164820"/>
                <a:gd name="connsiteY106" fmla="*/ 57260 h 160656"/>
                <a:gd name="connsiteX107" fmla="*/ 125747 w 164820"/>
                <a:gd name="connsiteY107" fmla="*/ 56951 h 160656"/>
                <a:gd name="connsiteX108" fmla="*/ 125434 w 164820"/>
                <a:gd name="connsiteY108" fmla="*/ 56549 h 160656"/>
                <a:gd name="connsiteX109" fmla="*/ 3081 w 164820"/>
                <a:gd name="connsiteY109" fmla="*/ 46092 h 160656"/>
                <a:gd name="connsiteX110" fmla="*/ 3602 w 164820"/>
                <a:gd name="connsiteY110" fmla="*/ 46625 h 160656"/>
                <a:gd name="connsiteX111" fmla="*/ 3053 w 164820"/>
                <a:gd name="connsiteY111" fmla="*/ 47648 h 160656"/>
                <a:gd name="connsiteX112" fmla="*/ 2326 w 164820"/>
                <a:gd name="connsiteY112" fmla="*/ 48251 h 160656"/>
                <a:gd name="connsiteX113" fmla="*/ 1589 w 164820"/>
                <a:gd name="connsiteY113" fmla="*/ 49454 h 160656"/>
                <a:gd name="connsiteX114" fmla="*/ 549 w 164820"/>
                <a:gd name="connsiteY114" fmla="*/ 49366 h 160656"/>
                <a:gd name="connsiteX115" fmla="*/ 955 w 164820"/>
                <a:gd name="connsiteY115" fmla="*/ 48476 h 160656"/>
                <a:gd name="connsiteX116" fmla="*/ 1913 w 164820"/>
                <a:gd name="connsiteY116" fmla="*/ 46691 h 160656"/>
                <a:gd name="connsiteX117" fmla="*/ 23164 w 164820"/>
                <a:gd name="connsiteY117" fmla="*/ 42529 h 160656"/>
                <a:gd name="connsiteX118" fmla="*/ 24371 w 164820"/>
                <a:gd name="connsiteY118" fmla="*/ 43990 h 160656"/>
                <a:gd name="connsiteX119" fmla="*/ 25869 w 164820"/>
                <a:gd name="connsiteY119" fmla="*/ 44142 h 160656"/>
                <a:gd name="connsiteX120" fmla="*/ 28178 w 164820"/>
                <a:gd name="connsiteY120" fmla="*/ 45347 h 160656"/>
                <a:gd name="connsiteX121" fmla="*/ 29174 w 164820"/>
                <a:gd name="connsiteY121" fmla="*/ 46500 h 160656"/>
                <a:gd name="connsiteX122" fmla="*/ 30026 w 164820"/>
                <a:gd name="connsiteY122" fmla="*/ 47888 h 160656"/>
                <a:gd name="connsiteX123" fmla="*/ 30842 w 164820"/>
                <a:gd name="connsiteY123" fmla="*/ 48496 h 160656"/>
                <a:gd name="connsiteX124" fmla="*/ 31719 w 164820"/>
                <a:gd name="connsiteY124" fmla="*/ 48845 h 160656"/>
                <a:gd name="connsiteX125" fmla="*/ 31849 w 164820"/>
                <a:gd name="connsiteY125" fmla="*/ 49171 h 160656"/>
                <a:gd name="connsiteX126" fmla="*/ 31154 w 164820"/>
                <a:gd name="connsiteY126" fmla="*/ 49497 h 160656"/>
                <a:gd name="connsiteX127" fmla="*/ 30357 w 164820"/>
                <a:gd name="connsiteY127" fmla="*/ 51084 h 160656"/>
                <a:gd name="connsiteX128" fmla="*/ 30806 w 164820"/>
                <a:gd name="connsiteY128" fmla="*/ 51541 h 160656"/>
                <a:gd name="connsiteX129" fmla="*/ 32088 w 164820"/>
                <a:gd name="connsiteY129" fmla="*/ 52401 h 160656"/>
                <a:gd name="connsiteX130" fmla="*/ 33194 w 164820"/>
                <a:gd name="connsiteY130" fmla="*/ 54080 h 160656"/>
                <a:gd name="connsiteX131" fmla="*/ 35677 w 164820"/>
                <a:gd name="connsiteY131" fmla="*/ 60951 h 160656"/>
                <a:gd name="connsiteX132" fmla="*/ 35919 w 164820"/>
                <a:gd name="connsiteY132" fmla="*/ 62435 h 160656"/>
                <a:gd name="connsiteX133" fmla="*/ 35423 w 164820"/>
                <a:gd name="connsiteY133" fmla="*/ 63955 h 160656"/>
                <a:gd name="connsiteX134" fmla="*/ 34790 w 164820"/>
                <a:gd name="connsiteY134" fmla="*/ 65033 h 160656"/>
                <a:gd name="connsiteX135" fmla="*/ 32330 w 164820"/>
                <a:gd name="connsiteY135" fmla="*/ 68482 h 160656"/>
                <a:gd name="connsiteX136" fmla="*/ 32695 w 164820"/>
                <a:gd name="connsiteY136" fmla="*/ 71334 h 160656"/>
                <a:gd name="connsiteX137" fmla="*/ 33609 w 164820"/>
                <a:gd name="connsiteY137" fmla="*/ 73095 h 160656"/>
                <a:gd name="connsiteX138" fmla="*/ 33740 w 164820"/>
                <a:gd name="connsiteY138" fmla="*/ 75044 h 160656"/>
                <a:gd name="connsiteX139" fmla="*/ 33283 w 164820"/>
                <a:gd name="connsiteY139" fmla="*/ 77460 h 160656"/>
                <a:gd name="connsiteX140" fmla="*/ 31756 w 164820"/>
                <a:gd name="connsiteY140" fmla="*/ 92276 h 160656"/>
                <a:gd name="connsiteX141" fmla="*/ 31018 w 164820"/>
                <a:gd name="connsiteY141" fmla="*/ 94889 h 160656"/>
                <a:gd name="connsiteX142" fmla="*/ 30551 w 164820"/>
                <a:gd name="connsiteY142" fmla="*/ 97156 h 160656"/>
                <a:gd name="connsiteX143" fmla="*/ 28867 w 164820"/>
                <a:gd name="connsiteY143" fmla="*/ 97841 h 160656"/>
                <a:gd name="connsiteX144" fmla="*/ 26694 w 164820"/>
                <a:gd name="connsiteY144" fmla="*/ 97117 h 160656"/>
                <a:gd name="connsiteX145" fmla="*/ 23954 w 164820"/>
                <a:gd name="connsiteY145" fmla="*/ 95841 h 160656"/>
                <a:gd name="connsiteX146" fmla="*/ 22689 w 164820"/>
                <a:gd name="connsiteY146" fmla="*/ 95918 h 160656"/>
                <a:gd name="connsiteX147" fmla="*/ 21415 w 164820"/>
                <a:gd name="connsiteY147" fmla="*/ 96354 h 160656"/>
                <a:gd name="connsiteX148" fmla="*/ 20363 w 164820"/>
                <a:gd name="connsiteY148" fmla="*/ 95984 h 160656"/>
                <a:gd name="connsiteX149" fmla="*/ 19359 w 164820"/>
                <a:gd name="connsiteY149" fmla="*/ 95262 h 160656"/>
                <a:gd name="connsiteX150" fmla="*/ 18614 w 164820"/>
                <a:gd name="connsiteY150" fmla="*/ 100332 h 160656"/>
                <a:gd name="connsiteX151" fmla="*/ 17375 w 164820"/>
                <a:gd name="connsiteY151" fmla="*/ 102389 h 160656"/>
                <a:gd name="connsiteX152" fmla="*/ 15489 w 164820"/>
                <a:gd name="connsiteY152" fmla="*/ 103702 h 160656"/>
                <a:gd name="connsiteX153" fmla="*/ 13716 w 164820"/>
                <a:gd name="connsiteY153" fmla="*/ 103785 h 160656"/>
                <a:gd name="connsiteX154" fmla="*/ 11890 w 164820"/>
                <a:gd name="connsiteY154" fmla="*/ 103345 h 160656"/>
                <a:gd name="connsiteX155" fmla="*/ 10341 w 164820"/>
                <a:gd name="connsiteY155" fmla="*/ 103349 h 160656"/>
                <a:gd name="connsiteX156" fmla="*/ 9167 w 164820"/>
                <a:gd name="connsiteY156" fmla="*/ 102373 h 160656"/>
                <a:gd name="connsiteX157" fmla="*/ 8236 w 164820"/>
                <a:gd name="connsiteY157" fmla="*/ 100667 h 160656"/>
                <a:gd name="connsiteX158" fmla="*/ 6752 w 164820"/>
                <a:gd name="connsiteY158" fmla="*/ 98593 h 160656"/>
                <a:gd name="connsiteX159" fmla="*/ 5247 w 164820"/>
                <a:gd name="connsiteY159" fmla="*/ 96128 h 160656"/>
                <a:gd name="connsiteX160" fmla="*/ 5083 w 164820"/>
                <a:gd name="connsiteY160" fmla="*/ 93898 h 160656"/>
                <a:gd name="connsiteX161" fmla="*/ 4826 w 164820"/>
                <a:gd name="connsiteY161" fmla="*/ 88975 h 160656"/>
                <a:gd name="connsiteX162" fmla="*/ 5258 w 164820"/>
                <a:gd name="connsiteY162" fmla="*/ 87899 h 160656"/>
                <a:gd name="connsiteX163" fmla="*/ 5887 w 164820"/>
                <a:gd name="connsiteY163" fmla="*/ 86867 h 160656"/>
                <a:gd name="connsiteX164" fmla="*/ 6195 w 164820"/>
                <a:gd name="connsiteY164" fmla="*/ 84661 h 160656"/>
                <a:gd name="connsiteX165" fmla="*/ 5977 w 164820"/>
                <a:gd name="connsiteY165" fmla="*/ 82737 h 160656"/>
                <a:gd name="connsiteX166" fmla="*/ 6418 w 164820"/>
                <a:gd name="connsiteY166" fmla="*/ 82050 h 160656"/>
                <a:gd name="connsiteX167" fmla="*/ 7295 w 164820"/>
                <a:gd name="connsiteY167" fmla="*/ 82737 h 160656"/>
                <a:gd name="connsiteX168" fmla="*/ 7953 w 164820"/>
                <a:gd name="connsiteY168" fmla="*/ 82479 h 160656"/>
                <a:gd name="connsiteX169" fmla="*/ 7912 w 164820"/>
                <a:gd name="connsiteY169" fmla="*/ 81488 h 160656"/>
                <a:gd name="connsiteX170" fmla="*/ 8113 w 164820"/>
                <a:gd name="connsiteY170" fmla="*/ 79678 h 160656"/>
                <a:gd name="connsiteX171" fmla="*/ 6966 w 164820"/>
                <a:gd name="connsiteY171" fmla="*/ 78161 h 160656"/>
                <a:gd name="connsiteX172" fmla="*/ 5018 w 164820"/>
                <a:gd name="connsiteY172" fmla="*/ 77646 h 160656"/>
                <a:gd name="connsiteX173" fmla="*/ 4830 w 164820"/>
                <a:gd name="connsiteY173" fmla="*/ 76058 h 160656"/>
                <a:gd name="connsiteX174" fmla="*/ 5036 w 164820"/>
                <a:gd name="connsiteY174" fmla="*/ 74507 h 160656"/>
                <a:gd name="connsiteX175" fmla="*/ 6064 w 164820"/>
                <a:gd name="connsiteY175" fmla="*/ 73465 h 160656"/>
                <a:gd name="connsiteX176" fmla="*/ 6411 w 164820"/>
                <a:gd name="connsiteY176" fmla="*/ 72079 h 160656"/>
                <a:gd name="connsiteX177" fmla="*/ 6422 w 164820"/>
                <a:gd name="connsiteY177" fmla="*/ 67848 h 160656"/>
                <a:gd name="connsiteX178" fmla="*/ 5049 w 164820"/>
                <a:gd name="connsiteY178" fmla="*/ 66288 h 160656"/>
                <a:gd name="connsiteX179" fmla="*/ 4522 w 164820"/>
                <a:gd name="connsiteY179" fmla="*/ 63924 h 160656"/>
                <a:gd name="connsiteX180" fmla="*/ 3812 w 164820"/>
                <a:gd name="connsiteY180" fmla="*/ 62409 h 160656"/>
                <a:gd name="connsiteX181" fmla="*/ 2535 w 164820"/>
                <a:gd name="connsiteY181" fmla="*/ 60887 h 160656"/>
                <a:gd name="connsiteX182" fmla="*/ 1093 w 164820"/>
                <a:gd name="connsiteY182" fmla="*/ 59647 h 160656"/>
                <a:gd name="connsiteX183" fmla="*/ 201 w 164820"/>
                <a:gd name="connsiteY183" fmla="*/ 58450 h 160656"/>
                <a:gd name="connsiteX184" fmla="*/ 0 w 164820"/>
                <a:gd name="connsiteY184" fmla="*/ 55316 h 160656"/>
                <a:gd name="connsiteX185" fmla="*/ 507 w 164820"/>
                <a:gd name="connsiteY185" fmla="*/ 52699 h 160656"/>
                <a:gd name="connsiteX186" fmla="*/ 959 w 164820"/>
                <a:gd name="connsiteY186" fmla="*/ 51578 h 160656"/>
                <a:gd name="connsiteX187" fmla="*/ 1423 w 164820"/>
                <a:gd name="connsiteY187" fmla="*/ 51744 h 160656"/>
                <a:gd name="connsiteX188" fmla="*/ 2859 w 164820"/>
                <a:gd name="connsiteY188" fmla="*/ 53045 h 160656"/>
                <a:gd name="connsiteX189" fmla="*/ 4034 w 164820"/>
                <a:gd name="connsiteY189" fmla="*/ 53339 h 160656"/>
                <a:gd name="connsiteX190" fmla="*/ 6359 w 164820"/>
                <a:gd name="connsiteY190" fmla="*/ 53654 h 160656"/>
                <a:gd name="connsiteX191" fmla="*/ 8646 w 164820"/>
                <a:gd name="connsiteY191" fmla="*/ 53238 h 160656"/>
                <a:gd name="connsiteX192" fmla="*/ 11456 w 164820"/>
                <a:gd name="connsiteY192" fmla="*/ 52053 h 160656"/>
                <a:gd name="connsiteX193" fmla="*/ 14159 w 164820"/>
                <a:gd name="connsiteY193" fmla="*/ 50617 h 160656"/>
                <a:gd name="connsiteX194" fmla="*/ 18072 w 164820"/>
                <a:gd name="connsiteY194" fmla="*/ 46395 h 160656"/>
                <a:gd name="connsiteX195" fmla="*/ 20484 w 164820"/>
                <a:gd name="connsiteY195" fmla="*/ 45537 h 160656"/>
                <a:gd name="connsiteX196" fmla="*/ 21719 w 164820"/>
                <a:gd name="connsiteY196" fmla="*/ 44425 h 160656"/>
                <a:gd name="connsiteX197" fmla="*/ 22140 w 164820"/>
                <a:gd name="connsiteY197" fmla="*/ 42922 h 160656"/>
                <a:gd name="connsiteX198" fmla="*/ 48962 w 164820"/>
                <a:gd name="connsiteY198" fmla="*/ 0 h 160656"/>
                <a:gd name="connsiteX199" fmla="*/ 49696 w 164820"/>
                <a:gd name="connsiteY199" fmla="*/ 1042 h 160656"/>
                <a:gd name="connsiteX200" fmla="*/ 49782 w 164820"/>
                <a:gd name="connsiteY200" fmla="*/ 1647 h 160656"/>
                <a:gd name="connsiteX201" fmla="*/ 49290 w 164820"/>
                <a:gd name="connsiteY201" fmla="*/ 2331 h 160656"/>
                <a:gd name="connsiteX202" fmla="*/ 49497 w 164820"/>
                <a:gd name="connsiteY202" fmla="*/ 3877 h 160656"/>
                <a:gd name="connsiteX203" fmla="*/ 47647 w 164820"/>
                <a:gd name="connsiteY203" fmla="*/ 2595 h 160656"/>
                <a:gd name="connsiteX204" fmla="*/ 44846 w 164820"/>
                <a:gd name="connsiteY204" fmla="*/ 3242 h 160656"/>
                <a:gd name="connsiteX205" fmla="*/ 43127 w 164820"/>
                <a:gd name="connsiteY205" fmla="*/ 3105 h 160656"/>
                <a:gd name="connsiteX206" fmla="*/ 42652 w 164820"/>
                <a:gd name="connsiteY206" fmla="*/ 1955 h 160656"/>
                <a:gd name="connsiteX207" fmla="*/ 43045 w 164820"/>
                <a:gd name="connsiteY207" fmla="*/ 1280 h 160656"/>
                <a:gd name="connsiteX208" fmla="*/ 45714 w 164820"/>
                <a:gd name="connsiteY208" fmla="*/ 1133 h 160656"/>
                <a:gd name="connsiteX209" fmla="*/ 46543 w 164820"/>
                <a:gd name="connsiteY209" fmla="*/ 804 h 160656"/>
                <a:gd name="connsiteX210" fmla="*/ 48163 w 164820"/>
                <a:gd name="connsiteY210" fmla="*/ 959 h 1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64820" h="160656">
                  <a:moveTo>
                    <a:pt x="83300" y="156716"/>
                  </a:moveTo>
                  <a:lnTo>
                    <a:pt x="84985" y="157277"/>
                  </a:lnTo>
                  <a:lnTo>
                    <a:pt x="85512" y="158410"/>
                  </a:lnTo>
                  <a:lnTo>
                    <a:pt x="85583" y="158900"/>
                  </a:lnTo>
                  <a:lnTo>
                    <a:pt x="84523" y="159180"/>
                  </a:lnTo>
                  <a:lnTo>
                    <a:pt x="83137" y="158308"/>
                  </a:lnTo>
                  <a:lnTo>
                    <a:pt x="83044" y="157083"/>
                  </a:lnTo>
                  <a:close/>
                  <a:moveTo>
                    <a:pt x="163353" y="119599"/>
                  </a:moveTo>
                  <a:lnTo>
                    <a:pt x="164820" y="120327"/>
                  </a:lnTo>
                  <a:lnTo>
                    <a:pt x="163535" y="121541"/>
                  </a:lnTo>
                  <a:lnTo>
                    <a:pt x="162038" y="124459"/>
                  </a:lnTo>
                  <a:lnTo>
                    <a:pt x="161304" y="125580"/>
                  </a:lnTo>
                  <a:lnTo>
                    <a:pt x="155970" y="132706"/>
                  </a:lnTo>
                  <a:lnTo>
                    <a:pt x="155359" y="134350"/>
                  </a:lnTo>
                  <a:lnTo>
                    <a:pt x="154984" y="136135"/>
                  </a:lnTo>
                  <a:lnTo>
                    <a:pt x="154431" y="137699"/>
                  </a:lnTo>
                  <a:lnTo>
                    <a:pt x="153683" y="139172"/>
                  </a:lnTo>
                  <a:lnTo>
                    <a:pt x="152986" y="141044"/>
                  </a:lnTo>
                  <a:lnTo>
                    <a:pt x="153122" y="143164"/>
                  </a:lnTo>
                  <a:lnTo>
                    <a:pt x="153373" y="144204"/>
                  </a:lnTo>
                  <a:lnTo>
                    <a:pt x="154014" y="144885"/>
                  </a:lnTo>
                  <a:lnTo>
                    <a:pt x="155068" y="145526"/>
                  </a:lnTo>
                  <a:lnTo>
                    <a:pt x="155877" y="146508"/>
                  </a:lnTo>
                  <a:lnTo>
                    <a:pt x="154636" y="147403"/>
                  </a:lnTo>
                  <a:lnTo>
                    <a:pt x="156005" y="149197"/>
                  </a:lnTo>
                  <a:lnTo>
                    <a:pt x="157169" y="150262"/>
                  </a:lnTo>
                  <a:lnTo>
                    <a:pt x="157324" y="151324"/>
                  </a:lnTo>
                  <a:lnTo>
                    <a:pt x="157298" y="152389"/>
                  </a:lnTo>
                  <a:lnTo>
                    <a:pt x="154880" y="154385"/>
                  </a:lnTo>
                  <a:lnTo>
                    <a:pt x="153934" y="155483"/>
                  </a:lnTo>
                  <a:lnTo>
                    <a:pt x="153347" y="156812"/>
                  </a:lnTo>
                  <a:lnTo>
                    <a:pt x="153092" y="158184"/>
                  </a:lnTo>
                  <a:lnTo>
                    <a:pt x="153357" y="159422"/>
                  </a:lnTo>
                  <a:lnTo>
                    <a:pt x="153275" y="160656"/>
                  </a:lnTo>
                  <a:lnTo>
                    <a:pt x="150840" y="160502"/>
                  </a:lnTo>
                  <a:lnTo>
                    <a:pt x="148346" y="159750"/>
                  </a:lnTo>
                  <a:lnTo>
                    <a:pt x="145832" y="160083"/>
                  </a:lnTo>
                  <a:lnTo>
                    <a:pt x="142258" y="158657"/>
                  </a:lnTo>
                  <a:lnTo>
                    <a:pt x="140956" y="158399"/>
                  </a:lnTo>
                  <a:lnTo>
                    <a:pt x="139771" y="157843"/>
                  </a:lnTo>
                  <a:lnTo>
                    <a:pt x="136795" y="153418"/>
                  </a:lnTo>
                  <a:lnTo>
                    <a:pt x="134402" y="151546"/>
                  </a:lnTo>
                  <a:lnTo>
                    <a:pt x="131835" y="150090"/>
                  </a:lnTo>
                  <a:lnTo>
                    <a:pt x="129211" y="150001"/>
                  </a:lnTo>
                  <a:lnTo>
                    <a:pt x="126583" y="150167"/>
                  </a:lnTo>
                  <a:lnTo>
                    <a:pt x="124264" y="149269"/>
                  </a:lnTo>
                  <a:lnTo>
                    <a:pt x="119544" y="146257"/>
                  </a:lnTo>
                  <a:lnTo>
                    <a:pt x="114542" y="143846"/>
                  </a:lnTo>
                  <a:lnTo>
                    <a:pt x="112420" y="142274"/>
                  </a:lnTo>
                  <a:lnTo>
                    <a:pt x="111450" y="141217"/>
                  </a:lnTo>
                  <a:lnTo>
                    <a:pt x="110319" y="140515"/>
                  </a:lnTo>
                  <a:lnTo>
                    <a:pt x="107453" y="139819"/>
                  </a:lnTo>
                  <a:lnTo>
                    <a:pt x="104884" y="138186"/>
                  </a:lnTo>
                  <a:lnTo>
                    <a:pt x="103713" y="138066"/>
                  </a:lnTo>
                  <a:lnTo>
                    <a:pt x="101195" y="138265"/>
                  </a:lnTo>
                  <a:lnTo>
                    <a:pt x="99906" y="138152"/>
                  </a:lnTo>
                  <a:lnTo>
                    <a:pt x="98606" y="137577"/>
                  </a:lnTo>
                  <a:lnTo>
                    <a:pt x="96097" y="135655"/>
                  </a:lnTo>
                  <a:lnTo>
                    <a:pt x="94497" y="132988"/>
                  </a:lnTo>
                  <a:lnTo>
                    <a:pt x="94080" y="131811"/>
                  </a:lnTo>
                  <a:lnTo>
                    <a:pt x="95214" y="128764"/>
                  </a:lnTo>
                  <a:lnTo>
                    <a:pt x="96559" y="125837"/>
                  </a:lnTo>
                  <a:lnTo>
                    <a:pt x="97753" y="125015"/>
                  </a:lnTo>
                  <a:lnTo>
                    <a:pt x="99140" y="124426"/>
                  </a:lnTo>
                  <a:lnTo>
                    <a:pt x="99980" y="123559"/>
                  </a:lnTo>
                  <a:lnTo>
                    <a:pt x="100688" y="122497"/>
                  </a:lnTo>
                  <a:lnTo>
                    <a:pt x="103260" y="125560"/>
                  </a:lnTo>
                  <a:lnTo>
                    <a:pt x="104411" y="126300"/>
                  </a:lnTo>
                  <a:lnTo>
                    <a:pt x="105577" y="126135"/>
                  </a:lnTo>
                  <a:lnTo>
                    <a:pt x="107645" y="125038"/>
                  </a:lnTo>
                  <a:lnTo>
                    <a:pt x="107818" y="123836"/>
                  </a:lnTo>
                  <a:lnTo>
                    <a:pt x="110098" y="122311"/>
                  </a:lnTo>
                  <a:lnTo>
                    <a:pt x="112999" y="122282"/>
                  </a:lnTo>
                  <a:lnTo>
                    <a:pt x="114337" y="122562"/>
                  </a:lnTo>
                  <a:lnTo>
                    <a:pt x="115041" y="123941"/>
                  </a:lnTo>
                  <a:lnTo>
                    <a:pt x="116147" y="124366"/>
                  </a:lnTo>
                  <a:lnTo>
                    <a:pt x="117425" y="124549"/>
                  </a:lnTo>
                  <a:lnTo>
                    <a:pt x="121632" y="127175"/>
                  </a:lnTo>
                  <a:lnTo>
                    <a:pt x="122811" y="127603"/>
                  </a:lnTo>
                  <a:lnTo>
                    <a:pt x="124005" y="127676"/>
                  </a:lnTo>
                  <a:lnTo>
                    <a:pt x="127272" y="126574"/>
                  </a:lnTo>
                  <a:lnTo>
                    <a:pt x="129779" y="126155"/>
                  </a:lnTo>
                  <a:lnTo>
                    <a:pt x="135035" y="126762"/>
                  </a:lnTo>
                  <a:lnTo>
                    <a:pt x="137877" y="126102"/>
                  </a:lnTo>
                  <a:lnTo>
                    <a:pt x="139861" y="126027"/>
                  </a:lnTo>
                  <a:lnTo>
                    <a:pt x="142753" y="125012"/>
                  </a:lnTo>
                  <a:lnTo>
                    <a:pt x="144975" y="123326"/>
                  </a:lnTo>
                  <a:lnTo>
                    <a:pt x="146134" y="122910"/>
                  </a:lnTo>
                  <a:lnTo>
                    <a:pt x="147378" y="122790"/>
                  </a:lnTo>
                  <a:lnTo>
                    <a:pt x="150386" y="122895"/>
                  </a:lnTo>
                  <a:lnTo>
                    <a:pt x="153411" y="123276"/>
                  </a:lnTo>
                  <a:lnTo>
                    <a:pt x="154679" y="122882"/>
                  </a:lnTo>
                  <a:lnTo>
                    <a:pt x="155739" y="121779"/>
                  </a:lnTo>
                  <a:lnTo>
                    <a:pt x="156968" y="121282"/>
                  </a:lnTo>
                  <a:lnTo>
                    <a:pt x="158320" y="121617"/>
                  </a:lnTo>
                  <a:lnTo>
                    <a:pt x="161813" y="119728"/>
                  </a:lnTo>
                  <a:close/>
                  <a:moveTo>
                    <a:pt x="4111" y="98453"/>
                  </a:moveTo>
                  <a:lnTo>
                    <a:pt x="5744" y="99107"/>
                  </a:lnTo>
                  <a:lnTo>
                    <a:pt x="6590" y="99705"/>
                  </a:lnTo>
                  <a:lnTo>
                    <a:pt x="5321" y="102261"/>
                  </a:lnTo>
                  <a:lnTo>
                    <a:pt x="3982" y="100451"/>
                  </a:lnTo>
                  <a:lnTo>
                    <a:pt x="3930" y="98896"/>
                  </a:lnTo>
                  <a:close/>
                  <a:moveTo>
                    <a:pt x="125825" y="55558"/>
                  </a:moveTo>
                  <a:lnTo>
                    <a:pt x="127836" y="56147"/>
                  </a:lnTo>
                  <a:lnTo>
                    <a:pt x="127808" y="56704"/>
                  </a:lnTo>
                  <a:lnTo>
                    <a:pt x="127309" y="57033"/>
                  </a:lnTo>
                  <a:lnTo>
                    <a:pt x="126322" y="57260"/>
                  </a:lnTo>
                  <a:lnTo>
                    <a:pt x="125747" y="56951"/>
                  </a:lnTo>
                  <a:lnTo>
                    <a:pt x="125434" y="56549"/>
                  </a:lnTo>
                  <a:close/>
                  <a:moveTo>
                    <a:pt x="3081" y="46092"/>
                  </a:moveTo>
                  <a:lnTo>
                    <a:pt x="3602" y="46625"/>
                  </a:lnTo>
                  <a:lnTo>
                    <a:pt x="3053" y="47648"/>
                  </a:lnTo>
                  <a:lnTo>
                    <a:pt x="2326" y="48251"/>
                  </a:lnTo>
                  <a:lnTo>
                    <a:pt x="1589" y="49454"/>
                  </a:lnTo>
                  <a:lnTo>
                    <a:pt x="549" y="49366"/>
                  </a:lnTo>
                  <a:lnTo>
                    <a:pt x="955" y="48476"/>
                  </a:lnTo>
                  <a:lnTo>
                    <a:pt x="1913" y="46691"/>
                  </a:lnTo>
                  <a:close/>
                  <a:moveTo>
                    <a:pt x="23164" y="42529"/>
                  </a:moveTo>
                  <a:lnTo>
                    <a:pt x="24371" y="43990"/>
                  </a:lnTo>
                  <a:lnTo>
                    <a:pt x="25869" y="44142"/>
                  </a:lnTo>
                  <a:lnTo>
                    <a:pt x="28178" y="45347"/>
                  </a:lnTo>
                  <a:lnTo>
                    <a:pt x="29174" y="46500"/>
                  </a:lnTo>
                  <a:lnTo>
                    <a:pt x="30026" y="47888"/>
                  </a:lnTo>
                  <a:lnTo>
                    <a:pt x="30842" y="48496"/>
                  </a:lnTo>
                  <a:lnTo>
                    <a:pt x="31719" y="48845"/>
                  </a:lnTo>
                  <a:lnTo>
                    <a:pt x="31849" y="49171"/>
                  </a:lnTo>
                  <a:lnTo>
                    <a:pt x="31154" y="49497"/>
                  </a:lnTo>
                  <a:lnTo>
                    <a:pt x="30357" y="51084"/>
                  </a:lnTo>
                  <a:lnTo>
                    <a:pt x="30806" y="51541"/>
                  </a:lnTo>
                  <a:lnTo>
                    <a:pt x="32088" y="52401"/>
                  </a:lnTo>
                  <a:lnTo>
                    <a:pt x="33194" y="54080"/>
                  </a:lnTo>
                  <a:lnTo>
                    <a:pt x="35677" y="60951"/>
                  </a:lnTo>
                  <a:lnTo>
                    <a:pt x="35919" y="62435"/>
                  </a:lnTo>
                  <a:lnTo>
                    <a:pt x="35423" y="63955"/>
                  </a:lnTo>
                  <a:lnTo>
                    <a:pt x="34790" y="65033"/>
                  </a:lnTo>
                  <a:lnTo>
                    <a:pt x="32330" y="68482"/>
                  </a:lnTo>
                  <a:lnTo>
                    <a:pt x="32695" y="71334"/>
                  </a:lnTo>
                  <a:lnTo>
                    <a:pt x="33609" y="73095"/>
                  </a:lnTo>
                  <a:lnTo>
                    <a:pt x="33740" y="75044"/>
                  </a:lnTo>
                  <a:lnTo>
                    <a:pt x="33283" y="77460"/>
                  </a:lnTo>
                  <a:lnTo>
                    <a:pt x="31756" y="92276"/>
                  </a:lnTo>
                  <a:lnTo>
                    <a:pt x="31018" y="94889"/>
                  </a:lnTo>
                  <a:lnTo>
                    <a:pt x="30551" y="97156"/>
                  </a:lnTo>
                  <a:lnTo>
                    <a:pt x="28867" y="97841"/>
                  </a:lnTo>
                  <a:lnTo>
                    <a:pt x="26694" y="97117"/>
                  </a:lnTo>
                  <a:lnTo>
                    <a:pt x="23954" y="95841"/>
                  </a:lnTo>
                  <a:lnTo>
                    <a:pt x="22689" y="95918"/>
                  </a:lnTo>
                  <a:lnTo>
                    <a:pt x="21415" y="96354"/>
                  </a:lnTo>
                  <a:lnTo>
                    <a:pt x="20363" y="95984"/>
                  </a:lnTo>
                  <a:lnTo>
                    <a:pt x="19359" y="95262"/>
                  </a:lnTo>
                  <a:lnTo>
                    <a:pt x="18614" y="100332"/>
                  </a:lnTo>
                  <a:lnTo>
                    <a:pt x="17375" y="102389"/>
                  </a:lnTo>
                  <a:lnTo>
                    <a:pt x="15489" y="103702"/>
                  </a:lnTo>
                  <a:lnTo>
                    <a:pt x="13716" y="103785"/>
                  </a:lnTo>
                  <a:lnTo>
                    <a:pt x="11890" y="103345"/>
                  </a:lnTo>
                  <a:lnTo>
                    <a:pt x="10341" y="103349"/>
                  </a:lnTo>
                  <a:lnTo>
                    <a:pt x="9167" y="102373"/>
                  </a:lnTo>
                  <a:lnTo>
                    <a:pt x="8236" y="100667"/>
                  </a:lnTo>
                  <a:lnTo>
                    <a:pt x="6752" y="98593"/>
                  </a:lnTo>
                  <a:lnTo>
                    <a:pt x="5247" y="96128"/>
                  </a:lnTo>
                  <a:lnTo>
                    <a:pt x="5083" y="93898"/>
                  </a:lnTo>
                  <a:lnTo>
                    <a:pt x="4826" y="88975"/>
                  </a:lnTo>
                  <a:lnTo>
                    <a:pt x="5258" y="87899"/>
                  </a:lnTo>
                  <a:lnTo>
                    <a:pt x="5887" y="86867"/>
                  </a:lnTo>
                  <a:lnTo>
                    <a:pt x="6195" y="84661"/>
                  </a:lnTo>
                  <a:lnTo>
                    <a:pt x="5977" y="82737"/>
                  </a:lnTo>
                  <a:lnTo>
                    <a:pt x="6418" y="82050"/>
                  </a:lnTo>
                  <a:lnTo>
                    <a:pt x="7295" y="82737"/>
                  </a:lnTo>
                  <a:lnTo>
                    <a:pt x="7953" y="82479"/>
                  </a:lnTo>
                  <a:lnTo>
                    <a:pt x="7912" y="81488"/>
                  </a:lnTo>
                  <a:lnTo>
                    <a:pt x="8113" y="79678"/>
                  </a:lnTo>
                  <a:lnTo>
                    <a:pt x="6966" y="78161"/>
                  </a:lnTo>
                  <a:lnTo>
                    <a:pt x="5018" y="77646"/>
                  </a:lnTo>
                  <a:lnTo>
                    <a:pt x="4830" y="76058"/>
                  </a:lnTo>
                  <a:lnTo>
                    <a:pt x="5036" y="74507"/>
                  </a:lnTo>
                  <a:lnTo>
                    <a:pt x="6064" y="73465"/>
                  </a:lnTo>
                  <a:lnTo>
                    <a:pt x="6411" y="72079"/>
                  </a:lnTo>
                  <a:lnTo>
                    <a:pt x="6422" y="67848"/>
                  </a:lnTo>
                  <a:lnTo>
                    <a:pt x="5049" y="66288"/>
                  </a:lnTo>
                  <a:lnTo>
                    <a:pt x="4522" y="63924"/>
                  </a:lnTo>
                  <a:lnTo>
                    <a:pt x="3812" y="62409"/>
                  </a:lnTo>
                  <a:lnTo>
                    <a:pt x="2535" y="60887"/>
                  </a:lnTo>
                  <a:lnTo>
                    <a:pt x="1093" y="59647"/>
                  </a:lnTo>
                  <a:lnTo>
                    <a:pt x="201" y="58450"/>
                  </a:lnTo>
                  <a:lnTo>
                    <a:pt x="0" y="55316"/>
                  </a:lnTo>
                  <a:lnTo>
                    <a:pt x="507" y="52699"/>
                  </a:lnTo>
                  <a:lnTo>
                    <a:pt x="959" y="51578"/>
                  </a:lnTo>
                  <a:lnTo>
                    <a:pt x="1423" y="51744"/>
                  </a:lnTo>
                  <a:lnTo>
                    <a:pt x="2859" y="53045"/>
                  </a:lnTo>
                  <a:lnTo>
                    <a:pt x="4034" y="53339"/>
                  </a:lnTo>
                  <a:lnTo>
                    <a:pt x="6359" y="53654"/>
                  </a:lnTo>
                  <a:lnTo>
                    <a:pt x="8646" y="53238"/>
                  </a:lnTo>
                  <a:lnTo>
                    <a:pt x="11456" y="52053"/>
                  </a:lnTo>
                  <a:lnTo>
                    <a:pt x="14159" y="50617"/>
                  </a:lnTo>
                  <a:lnTo>
                    <a:pt x="18072" y="46395"/>
                  </a:lnTo>
                  <a:lnTo>
                    <a:pt x="20484" y="45537"/>
                  </a:lnTo>
                  <a:lnTo>
                    <a:pt x="21719" y="44425"/>
                  </a:lnTo>
                  <a:lnTo>
                    <a:pt x="22140" y="42922"/>
                  </a:lnTo>
                  <a:close/>
                  <a:moveTo>
                    <a:pt x="48962" y="0"/>
                  </a:moveTo>
                  <a:lnTo>
                    <a:pt x="49696" y="1042"/>
                  </a:lnTo>
                  <a:lnTo>
                    <a:pt x="49782" y="1647"/>
                  </a:lnTo>
                  <a:lnTo>
                    <a:pt x="49290" y="2331"/>
                  </a:lnTo>
                  <a:lnTo>
                    <a:pt x="49497" y="3877"/>
                  </a:lnTo>
                  <a:lnTo>
                    <a:pt x="47647" y="2595"/>
                  </a:lnTo>
                  <a:lnTo>
                    <a:pt x="44846" y="3242"/>
                  </a:lnTo>
                  <a:lnTo>
                    <a:pt x="43127" y="3105"/>
                  </a:lnTo>
                  <a:lnTo>
                    <a:pt x="42652" y="1955"/>
                  </a:lnTo>
                  <a:lnTo>
                    <a:pt x="43045" y="1280"/>
                  </a:lnTo>
                  <a:lnTo>
                    <a:pt x="45714" y="1133"/>
                  </a:lnTo>
                  <a:lnTo>
                    <a:pt x="46543" y="804"/>
                  </a:lnTo>
                  <a:lnTo>
                    <a:pt x="48163" y="95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6" name="ee4p_SM_1_15912">
              <a:extLst>
                <a:ext uri="{FF2B5EF4-FFF2-40B4-BE49-F238E27FC236}">
                  <a16:creationId xmlns:a16="http://schemas.microsoft.com/office/drawing/2014/main" id="{3517CEAB-FBA5-5F6C-B49A-01C8F7E3F6F7}"/>
                </a:ext>
              </a:extLst>
            </p:cNvPr>
            <p:cNvSpPr>
              <a:spLocks noChangeAspect="1"/>
            </p:cNvSpPr>
            <p:nvPr>
              <p:custDataLst>
                <p:tags r:id="rId38"/>
              </p:custDataLst>
            </p:nvPr>
          </p:nvSpPr>
          <p:spPr>
            <a:xfrm>
              <a:off x="4858390" y="5196961"/>
              <a:ext cx="10327" cy="10255"/>
            </a:xfrm>
            <a:custGeom>
              <a:avLst/>
              <a:gdLst/>
              <a:ahLst/>
              <a:cxnLst/>
              <a:rect l="0" t="0" r="0" b="0"/>
              <a:pathLst>
                <a:path w="2605" h="2587">
                  <a:moveTo>
                    <a:pt x="0" y="1492"/>
                  </a:moveTo>
                  <a:lnTo>
                    <a:pt x="652" y="2586"/>
                  </a:lnTo>
                  <a:lnTo>
                    <a:pt x="1954" y="2389"/>
                  </a:lnTo>
                  <a:lnTo>
                    <a:pt x="2604" y="994"/>
                  </a:lnTo>
                  <a:lnTo>
                    <a:pt x="2362" y="0"/>
                  </a:lnTo>
                  <a:lnTo>
                    <a:pt x="978" y="19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7" name="ee4p_XK_1_15912">
              <a:extLst>
                <a:ext uri="{FF2B5EF4-FFF2-40B4-BE49-F238E27FC236}">
                  <a16:creationId xmlns:a16="http://schemas.microsoft.com/office/drawing/2014/main" id="{BA333D1F-13F5-2264-A451-62D5EF2631CC}"/>
                </a:ext>
              </a:extLst>
            </p:cNvPr>
            <p:cNvSpPr>
              <a:spLocks noChangeAspect="1"/>
            </p:cNvSpPr>
            <p:nvPr>
              <p:custDataLst>
                <p:tags r:id="rId39"/>
              </p:custDataLst>
            </p:nvPr>
          </p:nvSpPr>
          <p:spPr>
            <a:xfrm>
              <a:off x="5527445" y="5274838"/>
              <a:ext cx="151077" cy="148889"/>
            </a:xfrm>
            <a:custGeom>
              <a:avLst/>
              <a:gdLst/>
              <a:ahLst/>
              <a:cxnLst/>
              <a:rect l="0" t="0" r="0" b="0"/>
              <a:pathLst>
                <a:path w="38110" h="37558">
                  <a:moveTo>
                    <a:pt x="33898" y="27100"/>
                  </a:moveTo>
                  <a:lnTo>
                    <a:pt x="33862" y="27096"/>
                  </a:lnTo>
                  <a:lnTo>
                    <a:pt x="30074" y="27836"/>
                  </a:lnTo>
                  <a:lnTo>
                    <a:pt x="28796" y="28705"/>
                  </a:lnTo>
                  <a:lnTo>
                    <a:pt x="28040" y="30223"/>
                  </a:lnTo>
                  <a:lnTo>
                    <a:pt x="27798" y="31012"/>
                  </a:lnTo>
                  <a:lnTo>
                    <a:pt x="27129" y="31035"/>
                  </a:lnTo>
                  <a:lnTo>
                    <a:pt x="26017" y="30253"/>
                  </a:lnTo>
                  <a:lnTo>
                    <a:pt x="24611" y="29029"/>
                  </a:lnTo>
                  <a:lnTo>
                    <a:pt x="22782" y="29127"/>
                  </a:lnTo>
                  <a:lnTo>
                    <a:pt x="16554" y="31792"/>
                  </a:lnTo>
                  <a:lnTo>
                    <a:pt x="15941" y="33191"/>
                  </a:lnTo>
                  <a:lnTo>
                    <a:pt x="15803" y="36218"/>
                  </a:lnTo>
                  <a:lnTo>
                    <a:pt x="15379" y="37034"/>
                  </a:lnTo>
                  <a:lnTo>
                    <a:pt x="14714" y="37557"/>
                  </a:lnTo>
                  <a:lnTo>
                    <a:pt x="12140" y="37228"/>
                  </a:lnTo>
                  <a:lnTo>
                    <a:pt x="11868" y="37030"/>
                  </a:lnTo>
                  <a:lnTo>
                    <a:pt x="12205" y="35870"/>
                  </a:lnTo>
                  <a:lnTo>
                    <a:pt x="12071" y="33331"/>
                  </a:lnTo>
                  <a:lnTo>
                    <a:pt x="10909" y="29122"/>
                  </a:lnTo>
                  <a:lnTo>
                    <a:pt x="10082" y="27742"/>
                  </a:lnTo>
                  <a:lnTo>
                    <a:pt x="8377" y="26370"/>
                  </a:lnTo>
                  <a:lnTo>
                    <a:pt x="7048" y="25469"/>
                  </a:lnTo>
                  <a:lnTo>
                    <a:pt x="4667" y="24665"/>
                  </a:lnTo>
                  <a:lnTo>
                    <a:pt x="3455" y="22350"/>
                  </a:lnTo>
                  <a:lnTo>
                    <a:pt x="1637" y="19716"/>
                  </a:lnTo>
                  <a:lnTo>
                    <a:pt x="762" y="19112"/>
                  </a:lnTo>
                  <a:lnTo>
                    <a:pt x="903" y="18851"/>
                  </a:lnTo>
                  <a:lnTo>
                    <a:pt x="1322" y="16863"/>
                  </a:lnTo>
                  <a:lnTo>
                    <a:pt x="802" y="15412"/>
                  </a:lnTo>
                  <a:lnTo>
                    <a:pt x="0" y="14178"/>
                  </a:lnTo>
                  <a:lnTo>
                    <a:pt x="549" y="13429"/>
                  </a:lnTo>
                  <a:lnTo>
                    <a:pt x="2222" y="13436"/>
                  </a:lnTo>
                  <a:lnTo>
                    <a:pt x="3606" y="13574"/>
                  </a:lnTo>
                  <a:lnTo>
                    <a:pt x="4105" y="12392"/>
                  </a:lnTo>
                  <a:lnTo>
                    <a:pt x="6962" y="11613"/>
                  </a:lnTo>
                  <a:lnTo>
                    <a:pt x="9715" y="10811"/>
                  </a:lnTo>
                  <a:lnTo>
                    <a:pt x="10113" y="10245"/>
                  </a:lnTo>
                  <a:lnTo>
                    <a:pt x="9484" y="9027"/>
                  </a:lnTo>
                  <a:lnTo>
                    <a:pt x="9854" y="8264"/>
                  </a:lnTo>
                  <a:lnTo>
                    <a:pt x="13147" y="6090"/>
                  </a:lnTo>
                  <a:lnTo>
                    <a:pt x="13689" y="5104"/>
                  </a:lnTo>
                  <a:lnTo>
                    <a:pt x="13890" y="4328"/>
                  </a:lnTo>
                  <a:lnTo>
                    <a:pt x="13447" y="3510"/>
                  </a:lnTo>
                  <a:lnTo>
                    <a:pt x="12829" y="2220"/>
                  </a:lnTo>
                  <a:lnTo>
                    <a:pt x="13127" y="1678"/>
                  </a:lnTo>
                  <a:lnTo>
                    <a:pt x="14839" y="933"/>
                  </a:lnTo>
                  <a:lnTo>
                    <a:pt x="16228" y="67"/>
                  </a:lnTo>
                  <a:lnTo>
                    <a:pt x="17051" y="0"/>
                  </a:lnTo>
                  <a:lnTo>
                    <a:pt x="17565" y="622"/>
                  </a:lnTo>
                  <a:lnTo>
                    <a:pt x="17565" y="1266"/>
                  </a:lnTo>
                  <a:lnTo>
                    <a:pt x="18020" y="2354"/>
                  </a:lnTo>
                  <a:lnTo>
                    <a:pt x="19044" y="2939"/>
                  </a:lnTo>
                  <a:lnTo>
                    <a:pt x="20746" y="3895"/>
                  </a:lnTo>
                  <a:lnTo>
                    <a:pt x="22722" y="4547"/>
                  </a:lnTo>
                  <a:lnTo>
                    <a:pt x="24270" y="5853"/>
                  </a:lnTo>
                  <a:lnTo>
                    <a:pt x="26384" y="8179"/>
                  </a:lnTo>
                  <a:lnTo>
                    <a:pt x="26703" y="9330"/>
                  </a:lnTo>
                  <a:lnTo>
                    <a:pt x="28606" y="10361"/>
                  </a:lnTo>
                  <a:lnTo>
                    <a:pt x="30372" y="11517"/>
                  </a:lnTo>
                  <a:lnTo>
                    <a:pt x="30098" y="13660"/>
                  </a:lnTo>
                  <a:lnTo>
                    <a:pt x="36110" y="15529"/>
                  </a:lnTo>
                  <a:lnTo>
                    <a:pt x="37466" y="15515"/>
                  </a:lnTo>
                  <a:lnTo>
                    <a:pt x="38109" y="15840"/>
                  </a:lnTo>
                  <a:lnTo>
                    <a:pt x="38092" y="16329"/>
                  </a:lnTo>
                  <a:lnTo>
                    <a:pt x="37617" y="17826"/>
                  </a:lnTo>
                  <a:lnTo>
                    <a:pt x="35149" y="22420"/>
                  </a:lnTo>
                  <a:lnTo>
                    <a:pt x="34946" y="23374"/>
                  </a:lnTo>
                  <a:lnTo>
                    <a:pt x="33179" y="24371"/>
                  </a:lnTo>
                  <a:lnTo>
                    <a:pt x="32935" y="24946"/>
                  </a:lnTo>
                  <a:lnTo>
                    <a:pt x="33436" y="2621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8" name="ee4p_LI_1_15912">
              <a:extLst>
                <a:ext uri="{FF2B5EF4-FFF2-40B4-BE49-F238E27FC236}">
                  <a16:creationId xmlns:a16="http://schemas.microsoft.com/office/drawing/2014/main" id="{FB74B0A1-B76A-A203-6EF7-DE7B9E9FFA04}"/>
                </a:ext>
              </a:extLst>
            </p:cNvPr>
            <p:cNvSpPr>
              <a:spLocks noChangeAspect="1"/>
            </p:cNvSpPr>
            <p:nvPr>
              <p:custDataLst>
                <p:tags r:id="rId40"/>
              </p:custDataLst>
            </p:nvPr>
          </p:nvSpPr>
          <p:spPr>
            <a:xfrm>
              <a:off x="4602657" y="4839094"/>
              <a:ext cx="11492" cy="23655"/>
            </a:xfrm>
            <a:custGeom>
              <a:avLst/>
              <a:gdLst/>
              <a:ahLst/>
              <a:cxnLst/>
              <a:rect l="0" t="0" r="0" b="0"/>
              <a:pathLst>
                <a:path w="2899" h="5967">
                  <a:moveTo>
                    <a:pt x="2229" y="5966"/>
                  </a:moveTo>
                  <a:lnTo>
                    <a:pt x="506" y="5816"/>
                  </a:lnTo>
                  <a:lnTo>
                    <a:pt x="182" y="5829"/>
                  </a:lnTo>
                  <a:lnTo>
                    <a:pt x="0" y="4844"/>
                  </a:lnTo>
                  <a:lnTo>
                    <a:pt x="106" y="2744"/>
                  </a:lnTo>
                  <a:lnTo>
                    <a:pt x="1063" y="0"/>
                  </a:lnTo>
                  <a:lnTo>
                    <a:pt x="1268" y="451"/>
                  </a:lnTo>
                  <a:lnTo>
                    <a:pt x="1387" y="1025"/>
                  </a:lnTo>
                  <a:lnTo>
                    <a:pt x="1583" y="1636"/>
                  </a:lnTo>
                  <a:lnTo>
                    <a:pt x="1687" y="2385"/>
                  </a:lnTo>
                  <a:lnTo>
                    <a:pt x="2043" y="3157"/>
                  </a:lnTo>
                  <a:lnTo>
                    <a:pt x="2691" y="3879"/>
                  </a:lnTo>
                  <a:lnTo>
                    <a:pt x="2898" y="4576"/>
                  </a:lnTo>
                  <a:lnTo>
                    <a:pt x="2570" y="545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9" name="ee4p_LT_1_15912">
              <a:extLst>
                <a:ext uri="{FF2B5EF4-FFF2-40B4-BE49-F238E27FC236}">
                  <a16:creationId xmlns:a16="http://schemas.microsoft.com/office/drawing/2014/main" id="{0EB225A2-EFC5-058C-66B8-BE4BC39D159A}"/>
                </a:ext>
              </a:extLst>
            </p:cNvPr>
            <p:cNvSpPr>
              <a:spLocks noChangeAspect="1"/>
            </p:cNvSpPr>
            <p:nvPr>
              <p:custDataLst>
                <p:tags r:id="rId41"/>
              </p:custDataLst>
            </p:nvPr>
          </p:nvSpPr>
          <p:spPr>
            <a:xfrm>
              <a:off x="5603733" y="3767884"/>
              <a:ext cx="515065" cy="307545"/>
            </a:xfrm>
            <a:custGeom>
              <a:avLst/>
              <a:gdLst>
                <a:gd name="connsiteX0" fmla="*/ 4755 w 129928"/>
                <a:gd name="connsiteY0" fmla="*/ 24770 h 77580"/>
                <a:gd name="connsiteX1" fmla="*/ 4774 w 129928"/>
                <a:gd name="connsiteY1" fmla="*/ 26268 h 77580"/>
                <a:gd name="connsiteX2" fmla="*/ 4513 w 129928"/>
                <a:gd name="connsiteY2" fmla="*/ 28758 h 77580"/>
                <a:gd name="connsiteX3" fmla="*/ 2917 w 129928"/>
                <a:gd name="connsiteY3" fmla="*/ 33001 h 77580"/>
                <a:gd name="connsiteX4" fmla="*/ 1283 w 129928"/>
                <a:gd name="connsiteY4" fmla="*/ 35210 h 77580"/>
                <a:gd name="connsiteX5" fmla="*/ 0 w 129928"/>
                <a:gd name="connsiteY5" fmla="*/ 34971 h 77580"/>
                <a:gd name="connsiteX6" fmla="*/ 2526 w 129928"/>
                <a:gd name="connsiteY6" fmla="*/ 31410 h 77580"/>
                <a:gd name="connsiteX7" fmla="*/ 3489 w 129928"/>
                <a:gd name="connsiteY7" fmla="*/ 29096 h 77580"/>
                <a:gd name="connsiteX8" fmla="*/ 4159 w 129928"/>
                <a:gd name="connsiteY8" fmla="*/ 25805 h 77580"/>
                <a:gd name="connsiteX9" fmla="*/ 87148 w 129928"/>
                <a:gd name="connsiteY9" fmla="*/ 0 h 77580"/>
                <a:gd name="connsiteX10" fmla="*/ 88519 w 129928"/>
                <a:gd name="connsiteY10" fmla="*/ 407 h 77580"/>
                <a:gd name="connsiteX11" fmla="*/ 89422 w 129928"/>
                <a:gd name="connsiteY11" fmla="*/ 2681 h 77580"/>
                <a:gd name="connsiteX12" fmla="*/ 92210 w 129928"/>
                <a:gd name="connsiteY12" fmla="*/ 6597 h 77580"/>
                <a:gd name="connsiteX13" fmla="*/ 95240 w 129928"/>
                <a:gd name="connsiteY13" fmla="*/ 7284 h 77580"/>
                <a:gd name="connsiteX14" fmla="*/ 103616 w 129928"/>
                <a:gd name="connsiteY14" fmla="*/ 8790 h 77580"/>
                <a:gd name="connsiteX15" fmla="*/ 105328 w 129928"/>
                <a:gd name="connsiteY15" fmla="*/ 9581 h 77580"/>
                <a:gd name="connsiteX16" fmla="*/ 110042 w 129928"/>
                <a:gd name="connsiteY16" fmla="*/ 13027 h 77580"/>
                <a:gd name="connsiteX17" fmla="*/ 112869 w 129928"/>
                <a:gd name="connsiteY17" fmla="*/ 14715 h 77580"/>
                <a:gd name="connsiteX18" fmla="*/ 114667 w 129928"/>
                <a:gd name="connsiteY18" fmla="*/ 16062 h 77580"/>
                <a:gd name="connsiteX19" fmla="*/ 117410 w 129928"/>
                <a:gd name="connsiteY19" fmla="*/ 18698 h 77580"/>
                <a:gd name="connsiteX20" fmla="*/ 118995 w 129928"/>
                <a:gd name="connsiteY20" fmla="*/ 20614 h 77580"/>
                <a:gd name="connsiteX21" fmla="*/ 121645 w 129928"/>
                <a:gd name="connsiteY21" fmla="*/ 22062 h 77580"/>
                <a:gd name="connsiteX22" fmla="*/ 124780 w 129928"/>
                <a:gd name="connsiteY22" fmla="*/ 23036 h 77580"/>
                <a:gd name="connsiteX23" fmla="*/ 125900 w 129928"/>
                <a:gd name="connsiteY23" fmla="*/ 23187 h 77580"/>
                <a:gd name="connsiteX24" fmla="*/ 125840 w 129928"/>
                <a:gd name="connsiteY24" fmla="*/ 24579 h 77580"/>
                <a:gd name="connsiteX25" fmla="*/ 125305 w 129928"/>
                <a:gd name="connsiteY25" fmla="*/ 26939 h 77580"/>
                <a:gd name="connsiteX26" fmla="*/ 124257 w 129928"/>
                <a:gd name="connsiteY26" fmla="*/ 29982 h 77580"/>
                <a:gd name="connsiteX27" fmla="*/ 123158 w 129928"/>
                <a:gd name="connsiteY27" fmla="*/ 32338 h 77580"/>
                <a:gd name="connsiteX28" fmla="*/ 122895 w 129928"/>
                <a:gd name="connsiteY28" fmla="*/ 33248 h 77580"/>
                <a:gd name="connsiteX29" fmla="*/ 123728 w 129928"/>
                <a:gd name="connsiteY29" fmla="*/ 34003 h 77580"/>
                <a:gd name="connsiteX30" fmla="*/ 127840 w 129928"/>
                <a:gd name="connsiteY30" fmla="*/ 34360 h 77580"/>
                <a:gd name="connsiteX31" fmla="*/ 129584 w 129928"/>
                <a:gd name="connsiteY31" fmla="*/ 34765 h 77580"/>
                <a:gd name="connsiteX32" fmla="*/ 129928 w 129928"/>
                <a:gd name="connsiteY32" fmla="*/ 35390 h 77580"/>
                <a:gd name="connsiteX33" fmla="*/ 129015 w 129928"/>
                <a:gd name="connsiteY33" fmla="*/ 36202 h 77580"/>
                <a:gd name="connsiteX34" fmla="*/ 127702 w 129928"/>
                <a:gd name="connsiteY34" fmla="*/ 36876 h 77580"/>
                <a:gd name="connsiteX35" fmla="*/ 127114 w 129928"/>
                <a:gd name="connsiteY35" fmla="*/ 37514 h 77580"/>
                <a:gd name="connsiteX36" fmla="*/ 126069 w 129928"/>
                <a:gd name="connsiteY36" fmla="*/ 39795 h 77580"/>
                <a:gd name="connsiteX37" fmla="*/ 119228 w 129928"/>
                <a:gd name="connsiteY37" fmla="*/ 39505 h 77580"/>
                <a:gd name="connsiteX38" fmla="*/ 118321 w 129928"/>
                <a:gd name="connsiteY38" fmla="*/ 39969 h 77580"/>
                <a:gd name="connsiteX39" fmla="*/ 117889 w 129928"/>
                <a:gd name="connsiteY39" fmla="*/ 41028 h 77580"/>
                <a:gd name="connsiteX40" fmla="*/ 117548 w 129928"/>
                <a:gd name="connsiteY40" fmla="*/ 42251 h 77580"/>
                <a:gd name="connsiteX41" fmla="*/ 116650 w 129928"/>
                <a:gd name="connsiteY41" fmla="*/ 43699 h 77580"/>
                <a:gd name="connsiteX42" fmla="*/ 114832 w 129928"/>
                <a:gd name="connsiteY42" fmla="*/ 44959 h 77580"/>
                <a:gd name="connsiteX43" fmla="*/ 111990 w 129928"/>
                <a:gd name="connsiteY43" fmla="*/ 45424 h 77580"/>
                <a:gd name="connsiteX44" fmla="*/ 109664 w 129928"/>
                <a:gd name="connsiteY44" fmla="*/ 46280 h 77580"/>
                <a:gd name="connsiteX45" fmla="*/ 107930 w 129928"/>
                <a:gd name="connsiteY45" fmla="*/ 48920 h 77580"/>
                <a:gd name="connsiteX46" fmla="*/ 106639 w 129928"/>
                <a:gd name="connsiteY46" fmla="*/ 52456 h 77580"/>
                <a:gd name="connsiteX47" fmla="*/ 106671 w 129928"/>
                <a:gd name="connsiteY47" fmla="*/ 54961 h 77580"/>
                <a:gd name="connsiteX48" fmla="*/ 106842 w 129928"/>
                <a:gd name="connsiteY48" fmla="*/ 56357 h 77580"/>
                <a:gd name="connsiteX49" fmla="*/ 106691 w 129928"/>
                <a:gd name="connsiteY49" fmla="*/ 57155 h 77580"/>
                <a:gd name="connsiteX50" fmla="*/ 105814 w 129928"/>
                <a:gd name="connsiteY50" fmla="*/ 58025 h 77580"/>
                <a:gd name="connsiteX51" fmla="*/ 104380 w 129928"/>
                <a:gd name="connsiteY51" fmla="*/ 60327 h 77580"/>
                <a:gd name="connsiteX52" fmla="*/ 103214 w 129928"/>
                <a:gd name="connsiteY52" fmla="*/ 62869 h 77580"/>
                <a:gd name="connsiteX53" fmla="*/ 102767 w 129928"/>
                <a:gd name="connsiteY53" fmla="*/ 64247 h 77580"/>
                <a:gd name="connsiteX54" fmla="*/ 102992 w 129928"/>
                <a:gd name="connsiteY54" fmla="*/ 64892 h 77580"/>
                <a:gd name="connsiteX55" fmla="*/ 104305 w 129928"/>
                <a:gd name="connsiteY55" fmla="*/ 64909 h 77580"/>
                <a:gd name="connsiteX56" fmla="*/ 106199 w 129928"/>
                <a:gd name="connsiteY56" fmla="*/ 65431 h 77580"/>
                <a:gd name="connsiteX57" fmla="*/ 107207 w 129928"/>
                <a:gd name="connsiteY57" fmla="*/ 66445 h 77580"/>
                <a:gd name="connsiteX58" fmla="*/ 107580 w 129928"/>
                <a:gd name="connsiteY58" fmla="*/ 67616 h 77580"/>
                <a:gd name="connsiteX59" fmla="*/ 107585 w 129928"/>
                <a:gd name="connsiteY59" fmla="*/ 68875 h 77580"/>
                <a:gd name="connsiteX60" fmla="*/ 107231 w 129928"/>
                <a:gd name="connsiteY60" fmla="*/ 69568 h 77580"/>
                <a:gd name="connsiteX61" fmla="*/ 105713 w 129928"/>
                <a:gd name="connsiteY61" fmla="*/ 70070 h 77580"/>
                <a:gd name="connsiteX62" fmla="*/ 103335 w 129928"/>
                <a:gd name="connsiteY62" fmla="*/ 70088 h 77580"/>
                <a:gd name="connsiteX63" fmla="*/ 101949 w 129928"/>
                <a:gd name="connsiteY63" fmla="*/ 69488 h 77580"/>
                <a:gd name="connsiteX64" fmla="*/ 101662 w 129928"/>
                <a:gd name="connsiteY64" fmla="*/ 69013 h 77580"/>
                <a:gd name="connsiteX65" fmla="*/ 102324 w 129928"/>
                <a:gd name="connsiteY65" fmla="*/ 67800 h 77580"/>
                <a:gd name="connsiteX66" fmla="*/ 101845 w 129928"/>
                <a:gd name="connsiteY66" fmla="*/ 66285 h 77580"/>
                <a:gd name="connsiteX67" fmla="*/ 100861 w 129928"/>
                <a:gd name="connsiteY67" fmla="*/ 65437 h 77580"/>
                <a:gd name="connsiteX68" fmla="*/ 98859 w 129928"/>
                <a:gd name="connsiteY68" fmla="*/ 66702 h 77580"/>
                <a:gd name="connsiteX69" fmla="*/ 96937 w 129928"/>
                <a:gd name="connsiteY69" fmla="*/ 66701 h 77580"/>
                <a:gd name="connsiteX70" fmla="*/ 94633 w 129928"/>
                <a:gd name="connsiteY70" fmla="*/ 67827 h 77580"/>
                <a:gd name="connsiteX71" fmla="*/ 93128 w 129928"/>
                <a:gd name="connsiteY71" fmla="*/ 69631 h 77580"/>
                <a:gd name="connsiteX72" fmla="*/ 91683 w 129928"/>
                <a:gd name="connsiteY72" fmla="*/ 70296 h 77580"/>
                <a:gd name="connsiteX73" fmla="*/ 87779 w 129928"/>
                <a:gd name="connsiteY73" fmla="*/ 69928 h 77580"/>
                <a:gd name="connsiteX74" fmla="*/ 86809 w 129928"/>
                <a:gd name="connsiteY74" fmla="*/ 70723 h 77580"/>
                <a:gd name="connsiteX75" fmla="*/ 86004 w 129928"/>
                <a:gd name="connsiteY75" fmla="*/ 74388 h 77580"/>
                <a:gd name="connsiteX76" fmla="*/ 85537 w 129928"/>
                <a:gd name="connsiteY76" fmla="*/ 75104 h 77580"/>
                <a:gd name="connsiteX77" fmla="*/ 82277 w 129928"/>
                <a:gd name="connsiteY77" fmla="*/ 74947 h 77580"/>
                <a:gd name="connsiteX78" fmla="*/ 79133 w 129928"/>
                <a:gd name="connsiteY78" fmla="*/ 76402 h 77580"/>
                <a:gd name="connsiteX79" fmla="*/ 75583 w 129928"/>
                <a:gd name="connsiteY79" fmla="*/ 77580 h 77580"/>
                <a:gd name="connsiteX80" fmla="*/ 73784 w 129928"/>
                <a:gd name="connsiteY80" fmla="*/ 76761 h 77580"/>
                <a:gd name="connsiteX81" fmla="*/ 72782 w 129928"/>
                <a:gd name="connsiteY81" fmla="*/ 75838 h 77580"/>
                <a:gd name="connsiteX82" fmla="*/ 70849 w 129928"/>
                <a:gd name="connsiteY82" fmla="*/ 76002 h 77580"/>
                <a:gd name="connsiteX83" fmla="*/ 68740 w 129928"/>
                <a:gd name="connsiteY83" fmla="*/ 76408 h 77580"/>
                <a:gd name="connsiteX84" fmla="*/ 67323 w 129928"/>
                <a:gd name="connsiteY84" fmla="*/ 76186 h 77580"/>
                <a:gd name="connsiteX85" fmla="*/ 65734 w 129928"/>
                <a:gd name="connsiteY85" fmla="*/ 76285 h 77580"/>
                <a:gd name="connsiteX86" fmla="*/ 62663 w 129928"/>
                <a:gd name="connsiteY86" fmla="*/ 76995 h 77580"/>
                <a:gd name="connsiteX87" fmla="*/ 58802 w 129928"/>
                <a:gd name="connsiteY87" fmla="*/ 76766 h 77580"/>
                <a:gd name="connsiteX88" fmla="*/ 57157 w 129928"/>
                <a:gd name="connsiteY88" fmla="*/ 76160 h 77580"/>
                <a:gd name="connsiteX89" fmla="*/ 57001 w 129928"/>
                <a:gd name="connsiteY89" fmla="*/ 75580 h 77580"/>
                <a:gd name="connsiteX90" fmla="*/ 57120 w 129928"/>
                <a:gd name="connsiteY90" fmla="*/ 74154 h 77580"/>
                <a:gd name="connsiteX91" fmla="*/ 57083 w 129928"/>
                <a:gd name="connsiteY91" fmla="*/ 71937 h 77580"/>
                <a:gd name="connsiteX92" fmla="*/ 56470 w 129928"/>
                <a:gd name="connsiteY92" fmla="*/ 69979 h 77580"/>
                <a:gd name="connsiteX93" fmla="*/ 54623 w 129928"/>
                <a:gd name="connsiteY93" fmla="*/ 68246 h 77580"/>
                <a:gd name="connsiteX94" fmla="*/ 52682 w 129928"/>
                <a:gd name="connsiteY94" fmla="*/ 67034 h 77580"/>
                <a:gd name="connsiteX95" fmla="*/ 50205 w 129928"/>
                <a:gd name="connsiteY95" fmla="*/ 65782 h 77580"/>
                <a:gd name="connsiteX96" fmla="*/ 48374 w 129928"/>
                <a:gd name="connsiteY96" fmla="*/ 65233 h 77580"/>
                <a:gd name="connsiteX97" fmla="*/ 47372 w 129928"/>
                <a:gd name="connsiteY97" fmla="*/ 65089 h 77580"/>
                <a:gd name="connsiteX98" fmla="*/ 47146 w 129928"/>
                <a:gd name="connsiteY98" fmla="*/ 64368 h 77580"/>
                <a:gd name="connsiteX99" fmla="*/ 46783 w 129928"/>
                <a:gd name="connsiteY99" fmla="*/ 63745 h 77580"/>
                <a:gd name="connsiteX100" fmla="*/ 45926 w 129928"/>
                <a:gd name="connsiteY100" fmla="*/ 63196 h 77580"/>
                <a:gd name="connsiteX101" fmla="*/ 44095 w 129928"/>
                <a:gd name="connsiteY101" fmla="*/ 62459 h 77580"/>
                <a:gd name="connsiteX102" fmla="*/ 42542 w 129928"/>
                <a:gd name="connsiteY102" fmla="*/ 62298 h 77580"/>
                <a:gd name="connsiteX103" fmla="*/ 41270 w 129928"/>
                <a:gd name="connsiteY103" fmla="*/ 63487 h 77580"/>
                <a:gd name="connsiteX104" fmla="*/ 40344 w 129928"/>
                <a:gd name="connsiteY104" fmla="*/ 61998 h 77580"/>
                <a:gd name="connsiteX105" fmla="*/ 39361 w 129928"/>
                <a:gd name="connsiteY105" fmla="*/ 59331 h 77580"/>
                <a:gd name="connsiteX106" fmla="*/ 39463 w 129928"/>
                <a:gd name="connsiteY106" fmla="*/ 57196 h 77580"/>
                <a:gd name="connsiteX107" fmla="*/ 40020 w 129928"/>
                <a:gd name="connsiteY107" fmla="*/ 55065 h 77580"/>
                <a:gd name="connsiteX108" fmla="*/ 42708 w 129928"/>
                <a:gd name="connsiteY108" fmla="*/ 48760 h 77580"/>
                <a:gd name="connsiteX109" fmla="*/ 42563 w 129928"/>
                <a:gd name="connsiteY109" fmla="*/ 47753 h 77580"/>
                <a:gd name="connsiteX110" fmla="*/ 40613 w 129928"/>
                <a:gd name="connsiteY110" fmla="*/ 45986 h 77580"/>
                <a:gd name="connsiteX111" fmla="*/ 38202 w 129928"/>
                <a:gd name="connsiteY111" fmla="*/ 44701 h 77580"/>
                <a:gd name="connsiteX112" fmla="*/ 36871 w 129928"/>
                <a:gd name="connsiteY112" fmla="*/ 41982 h 77580"/>
                <a:gd name="connsiteX113" fmla="*/ 31987 w 129928"/>
                <a:gd name="connsiteY113" fmla="*/ 41824 h 77580"/>
                <a:gd name="connsiteX114" fmla="*/ 27376 w 129928"/>
                <a:gd name="connsiteY114" fmla="*/ 41974 h 77580"/>
                <a:gd name="connsiteX115" fmla="*/ 25928 w 129928"/>
                <a:gd name="connsiteY115" fmla="*/ 41842 h 77580"/>
                <a:gd name="connsiteX116" fmla="*/ 21540 w 129928"/>
                <a:gd name="connsiteY116" fmla="*/ 40702 h 77580"/>
                <a:gd name="connsiteX117" fmla="*/ 17311 w 129928"/>
                <a:gd name="connsiteY117" fmla="*/ 38866 h 77580"/>
                <a:gd name="connsiteX118" fmla="*/ 14481 w 129928"/>
                <a:gd name="connsiteY118" fmla="*/ 37788 h 77580"/>
                <a:gd name="connsiteX119" fmla="*/ 12101 w 129928"/>
                <a:gd name="connsiteY119" fmla="*/ 36582 h 77580"/>
                <a:gd name="connsiteX120" fmla="*/ 10823 w 129928"/>
                <a:gd name="connsiteY120" fmla="*/ 35315 h 77580"/>
                <a:gd name="connsiteX121" fmla="*/ 8795 w 129928"/>
                <a:gd name="connsiteY121" fmla="*/ 35656 h 77580"/>
                <a:gd name="connsiteX122" fmla="*/ 7428 w 129928"/>
                <a:gd name="connsiteY122" fmla="*/ 35667 h 77580"/>
                <a:gd name="connsiteX123" fmla="*/ 7441 w 129928"/>
                <a:gd name="connsiteY123" fmla="*/ 35449 h 77580"/>
                <a:gd name="connsiteX124" fmla="*/ 6662 w 129928"/>
                <a:gd name="connsiteY124" fmla="*/ 33207 h 77580"/>
                <a:gd name="connsiteX125" fmla="*/ 7476 w 129928"/>
                <a:gd name="connsiteY125" fmla="*/ 29769 h 77580"/>
                <a:gd name="connsiteX126" fmla="*/ 5999 w 129928"/>
                <a:gd name="connsiteY126" fmla="*/ 24732 h 77580"/>
                <a:gd name="connsiteX127" fmla="*/ 3584 w 129928"/>
                <a:gd name="connsiteY127" fmla="*/ 18657 h 77580"/>
                <a:gd name="connsiteX128" fmla="*/ 3405 w 129928"/>
                <a:gd name="connsiteY128" fmla="*/ 12135 h 77580"/>
                <a:gd name="connsiteX129" fmla="*/ 3234 w 129928"/>
                <a:gd name="connsiteY129" fmla="*/ 10666 h 77580"/>
                <a:gd name="connsiteX130" fmla="*/ 9173 w 129928"/>
                <a:gd name="connsiteY130" fmla="*/ 6980 h 77580"/>
                <a:gd name="connsiteX131" fmla="*/ 16666 w 129928"/>
                <a:gd name="connsiteY131" fmla="*/ 3027 h 77580"/>
                <a:gd name="connsiteX132" fmla="*/ 18370 w 129928"/>
                <a:gd name="connsiteY132" fmla="*/ 2669 h 77580"/>
                <a:gd name="connsiteX133" fmla="*/ 25275 w 129928"/>
                <a:gd name="connsiteY133" fmla="*/ 326 h 77580"/>
                <a:gd name="connsiteX134" fmla="*/ 26197 w 129928"/>
                <a:gd name="connsiteY134" fmla="*/ 140 h 77580"/>
                <a:gd name="connsiteX135" fmla="*/ 32419 w 129928"/>
                <a:gd name="connsiteY135" fmla="*/ 574 h 77580"/>
                <a:gd name="connsiteX136" fmla="*/ 37306 w 129928"/>
                <a:gd name="connsiteY136" fmla="*/ 1131 h 77580"/>
                <a:gd name="connsiteX137" fmla="*/ 41425 w 129928"/>
                <a:gd name="connsiteY137" fmla="*/ 1062 h 77580"/>
                <a:gd name="connsiteX138" fmla="*/ 43688 w 129928"/>
                <a:gd name="connsiteY138" fmla="*/ 462 h 77580"/>
                <a:gd name="connsiteX139" fmla="*/ 45738 w 129928"/>
                <a:gd name="connsiteY139" fmla="*/ 964 h 77580"/>
                <a:gd name="connsiteX140" fmla="*/ 47390 w 129928"/>
                <a:gd name="connsiteY140" fmla="*/ 2729 h 77580"/>
                <a:gd name="connsiteX141" fmla="*/ 49089 w 129928"/>
                <a:gd name="connsiteY141" fmla="*/ 2522 h 77580"/>
                <a:gd name="connsiteX142" fmla="*/ 50771 w 129928"/>
                <a:gd name="connsiteY142" fmla="*/ 1380 h 77580"/>
                <a:gd name="connsiteX143" fmla="*/ 59987 w 129928"/>
                <a:gd name="connsiteY143" fmla="*/ 2423 h 77580"/>
                <a:gd name="connsiteX144" fmla="*/ 62067 w 129928"/>
                <a:gd name="connsiteY144" fmla="*/ 2398 h 77580"/>
                <a:gd name="connsiteX145" fmla="*/ 64410 w 129928"/>
                <a:gd name="connsiteY145" fmla="*/ 2567 h 77580"/>
                <a:gd name="connsiteX146" fmla="*/ 68733 w 129928"/>
                <a:gd name="connsiteY146" fmla="*/ 3630 h 77580"/>
                <a:gd name="connsiteX147" fmla="*/ 71220 w 129928"/>
                <a:gd name="connsiteY147" fmla="*/ 4600 h 77580"/>
                <a:gd name="connsiteX148" fmla="*/ 76686 w 129928"/>
                <a:gd name="connsiteY148" fmla="*/ 4014 h 77580"/>
                <a:gd name="connsiteX149" fmla="*/ 79025 w 129928"/>
                <a:gd name="connsiteY149" fmla="*/ 3980 h 77580"/>
                <a:gd name="connsiteX150" fmla="*/ 80249 w 129928"/>
                <a:gd name="connsiteY150" fmla="*/ 3598 h 77580"/>
                <a:gd name="connsiteX151" fmla="*/ 84019 w 129928"/>
                <a:gd name="connsiteY151" fmla="*/ 937 h 77580"/>
                <a:gd name="connsiteX152" fmla="*/ 85650 w 129928"/>
                <a:gd name="connsiteY152" fmla="*/ 479 h 7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29928" h="77580">
                  <a:moveTo>
                    <a:pt x="4755" y="24770"/>
                  </a:moveTo>
                  <a:lnTo>
                    <a:pt x="4774" y="26268"/>
                  </a:lnTo>
                  <a:lnTo>
                    <a:pt x="4513" y="28758"/>
                  </a:lnTo>
                  <a:lnTo>
                    <a:pt x="2917" y="33001"/>
                  </a:lnTo>
                  <a:lnTo>
                    <a:pt x="1283" y="35210"/>
                  </a:lnTo>
                  <a:lnTo>
                    <a:pt x="0" y="34971"/>
                  </a:lnTo>
                  <a:lnTo>
                    <a:pt x="2526" y="31410"/>
                  </a:lnTo>
                  <a:lnTo>
                    <a:pt x="3489" y="29096"/>
                  </a:lnTo>
                  <a:lnTo>
                    <a:pt x="4159" y="25805"/>
                  </a:lnTo>
                  <a:close/>
                  <a:moveTo>
                    <a:pt x="87148" y="0"/>
                  </a:moveTo>
                  <a:lnTo>
                    <a:pt x="88519" y="407"/>
                  </a:lnTo>
                  <a:lnTo>
                    <a:pt x="89422" y="2681"/>
                  </a:lnTo>
                  <a:lnTo>
                    <a:pt x="92210" y="6597"/>
                  </a:lnTo>
                  <a:lnTo>
                    <a:pt x="95240" y="7284"/>
                  </a:lnTo>
                  <a:lnTo>
                    <a:pt x="103616" y="8790"/>
                  </a:lnTo>
                  <a:lnTo>
                    <a:pt x="105328" y="9581"/>
                  </a:lnTo>
                  <a:lnTo>
                    <a:pt x="110042" y="13027"/>
                  </a:lnTo>
                  <a:lnTo>
                    <a:pt x="112869" y="14715"/>
                  </a:lnTo>
                  <a:lnTo>
                    <a:pt x="114667" y="16062"/>
                  </a:lnTo>
                  <a:lnTo>
                    <a:pt x="117410" y="18698"/>
                  </a:lnTo>
                  <a:lnTo>
                    <a:pt x="118995" y="20614"/>
                  </a:lnTo>
                  <a:lnTo>
                    <a:pt x="121645" y="22062"/>
                  </a:lnTo>
                  <a:lnTo>
                    <a:pt x="124780" y="23036"/>
                  </a:lnTo>
                  <a:lnTo>
                    <a:pt x="125900" y="23187"/>
                  </a:lnTo>
                  <a:lnTo>
                    <a:pt x="125840" y="24579"/>
                  </a:lnTo>
                  <a:lnTo>
                    <a:pt x="125305" y="26939"/>
                  </a:lnTo>
                  <a:lnTo>
                    <a:pt x="124257" y="29982"/>
                  </a:lnTo>
                  <a:lnTo>
                    <a:pt x="123158" y="32338"/>
                  </a:lnTo>
                  <a:lnTo>
                    <a:pt x="122895" y="33248"/>
                  </a:lnTo>
                  <a:lnTo>
                    <a:pt x="123728" y="34003"/>
                  </a:lnTo>
                  <a:lnTo>
                    <a:pt x="127840" y="34360"/>
                  </a:lnTo>
                  <a:lnTo>
                    <a:pt x="129584" y="34765"/>
                  </a:lnTo>
                  <a:lnTo>
                    <a:pt x="129928" y="35390"/>
                  </a:lnTo>
                  <a:lnTo>
                    <a:pt x="129015" y="36202"/>
                  </a:lnTo>
                  <a:lnTo>
                    <a:pt x="127702" y="36876"/>
                  </a:lnTo>
                  <a:lnTo>
                    <a:pt x="127114" y="37514"/>
                  </a:lnTo>
                  <a:lnTo>
                    <a:pt x="126069" y="39795"/>
                  </a:lnTo>
                  <a:lnTo>
                    <a:pt x="119228" y="39505"/>
                  </a:lnTo>
                  <a:lnTo>
                    <a:pt x="118321" y="39969"/>
                  </a:lnTo>
                  <a:lnTo>
                    <a:pt x="117889" y="41028"/>
                  </a:lnTo>
                  <a:lnTo>
                    <a:pt x="117548" y="42251"/>
                  </a:lnTo>
                  <a:lnTo>
                    <a:pt x="116650" y="43699"/>
                  </a:lnTo>
                  <a:lnTo>
                    <a:pt x="114832" y="44959"/>
                  </a:lnTo>
                  <a:lnTo>
                    <a:pt x="111990" y="45424"/>
                  </a:lnTo>
                  <a:lnTo>
                    <a:pt x="109664" y="46280"/>
                  </a:lnTo>
                  <a:lnTo>
                    <a:pt x="107930" y="48920"/>
                  </a:lnTo>
                  <a:lnTo>
                    <a:pt x="106639" y="52456"/>
                  </a:lnTo>
                  <a:lnTo>
                    <a:pt x="106671" y="54961"/>
                  </a:lnTo>
                  <a:lnTo>
                    <a:pt x="106842" y="56357"/>
                  </a:lnTo>
                  <a:lnTo>
                    <a:pt x="106691" y="57155"/>
                  </a:lnTo>
                  <a:lnTo>
                    <a:pt x="105814" y="58025"/>
                  </a:lnTo>
                  <a:lnTo>
                    <a:pt x="104380" y="60327"/>
                  </a:lnTo>
                  <a:lnTo>
                    <a:pt x="103214" y="62869"/>
                  </a:lnTo>
                  <a:lnTo>
                    <a:pt x="102767" y="64247"/>
                  </a:lnTo>
                  <a:lnTo>
                    <a:pt x="102992" y="64892"/>
                  </a:lnTo>
                  <a:lnTo>
                    <a:pt x="104305" y="64909"/>
                  </a:lnTo>
                  <a:lnTo>
                    <a:pt x="106199" y="65431"/>
                  </a:lnTo>
                  <a:lnTo>
                    <a:pt x="107207" y="66445"/>
                  </a:lnTo>
                  <a:lnTo>
                    <a:pt x="107580" y="67616"/>
                  </a:lnTo>
                  <a:lnTo>
                    <a:pt x="107585" y="68875"/>
                  </a:lnTo>
                  <a:lnTo>
                    <a:pt x="107231" y="69568"/>
                  </a:lnTo>
                  <a:lnTo>
                    <a:pt x="105713" y="70070"/>
                  </a:lnTo>
                  <a:lnTo>
                    <a:pt x="103335" y="70088"/>
                  </a:lnTo>
                  <a:lnTo>
                    <a:pt x="101949" y="69488"/>
                  </a:lnTo>
                  <a:lnTo>
                    <a:pt x="101662" y="69013"/>
                  </a:lnTo>
                  <a:lnTo>
                    <a:pt x="102324" y="67800"/>
                  </a:lnTo>
                  <a:lnTo>
                    <a:pt x="101845" y="66285"/>
                  </a:lnTo>
                  <a:lnTo>
                    <a:pt x="100861" y="65437"/>
                  </a:lnTo>
                  <a:lnTo>
                    <a:pt x="98859" y="66702"/>
                  </a:lnTo>
                  <a:lnTo>
                    <a:pt x="96937" y="66701"/>
                  </a:lnTo>
                  <a:lnTo>
                    <a:pt x="94633" y="67827"/>
                  </a:lnTo>
                  <a:lnTo>
                    <a:pt x="93128" y="69631"/>
                  </a:lnTo>
                  <a:lnTo>
                    <a:pt x="91683" y="70296"/>
                  </a:lnTo>
                  <a:lnTo>
                    <a:pt x="87779" y="69928"/>
                  </a:lnTo>
                  <a:lnTo>
                    <a:pt x="86809" y="70723"/>
                  </a:lnTo>
                  <a:lnTo>
                    <a:pt x="86004" y="74388"/>
                  </a:lnTo>
                  <a:lnTo>
                    <a:pt x="85537" y="75104"/>
                  </a:lnTo>
                  <a:lnTo>
                    <a:pt x="82277" y="74947"/>
                  </a:lnTo>
                  <a:lnTo>
                    <a:pt x="79133" y="76402"/>
                  </a:lnTo>
                  <a:lnTo>
                    <a:pt x="75583" y="77580"/>
                  </a:lnTo>
                  <a:lnTo>
                    <a:pt x="73784" y="76761"/>
                  </a:lnTo>
                  <a:lnTo>
                    <a:pt x="72782" y="75838"/>
                  </a:lnTo>
                  <a:lnTo>
                    <a:pt x="70849" y="76002"/>
                  </a:lnTo>
                  <a:lnTo>
                    <a:pt x="68740" y="76408"/>
                  </a:lnTo>
                  <a:lnTo>
                    <a:pt x="67323" y="76186"/>
                  </a:lnTo>
                  <a:lnTo>
                    <a:pt x="65734" y="76285"/>
                  </a:lnTo>
                  <a:lnTo>
                    <a:pt x="62663" y="76995"/>
                  </a:lnTo>
                  <a:lnTo>
                    <a:pt x="58802" y="76766"/>
                  </a:lnTo>
                  <a:lnTo>
                    <a:pt x="57157" y="76160"/>
                  </a:lnTo>
                  <a:lnTo>
                    <a:pt x="57001" y="75580"/>
                  </a:lnTo>
                  <a:lnTo>
                    <a:pt x="57120" y="74154"/>
                  </a:lnTo>
                  <a:lnTo>
                    <a:pt x="57083" y="71937"/>
                  </a:lnTo>
                  <a:lnTo>
                    <a:pt x="56470" y="69979"/>
                  </a:lnTo>
                  <a:lnTo>
                    <a:pt x="54623" y="68246"/>
                  </a:lnTo>
                  <a:lnTo>
                    <a:pt x="52682" y="67034"/>
                  </a:lnTo>
                  <a:lnTo>
                    <a:pt x="50205" y="65782"/>
                  </a:lnTo>
                  <a:lnTo>
                    <a:pt x="48374" y="65233"/>
                  </a:lnTo>
                  <a:lnTo>
                    <a:pt x="47372" y="65089"/>
                  </a:lnTo>
                  <a:lnTo>
                    <a:pt x="47146" y="64368"/>
                  </a:lnTo>
                  <a:lnTo>
                    <a:pt x="46783" y="63745"/>
                  </a:lnTo>
                  <a:lnTo>
                    <a:pt x="45926" y="63196"/>
                  </a:lnTo>
                  <a:lnTo>
                    <a:pt x="44095" y="62459"/>
                  </a:lnTo>
                  <a:lnTo>
                    <a:pt x="42542" y="62298"/>
                  </a:lnTo>
                  <a:lnTo>
                    <a:pt x="41270" y="63487"/>
                  </a:lnTo>
                  <a:lnTo>
                    <a:pt x="40344" y="61998"/>
                  </a:lnTo>
                  <a:lnTo>
                    <a:pt x="39361" y="59331"/>
                  </a:lnTo>
                  <a:lnTo>
                    <a:pt x="39463" y="57196"/>
                  </a:lnTo>
                  <a:lnTo>
                    <a:pt x="40020" y="55065"/>
                  </a:lnTo>
                  <a:lnTo>
                    <a:pt x="42708" y="48760"/>
                  </a:lnTo>
                  <a:lnTo>
                    <a:pt x="42563" y="47753"/>
                  </a:lnTo>
                  <a:lnTo>
                    <a:pt x="40613" y="45986"/>
                  </a:lnTo>
                  <a:lnTo>
                    <a:pt x="38202" y="44701"/>
                  </a:lnTo>
                  <a:lnTo>
                    <a:pt x="36871" y="41982"/>
                  </a:lnTo>
                  <a:lnTo>
                    <a:pt x="31987" y="41824"/>
                  </a:lnTo>
                  <a:lnTo>
                    <a:pt x="27376" y="41974"/>
                  </a:lnTo>
                  <a:lnTo>
                    <a:pt x="25928" y="41842"/>
                  </a:lnTo>
                  <a:lnTo>
                    <a:pt x="21540" y="40702"/>
                  </a:lnTo>
                  <a:lnTo>
                    <a:pt x="17311" y="38866"/>
                  </a:lnTo>
                  <a:lnTo>
                    <a:pt x="14481" y="37788"/>
                  </a:lnTo>
                  <a:lnTo>
                    <a:pt x="12101" y="36582"/>
                  </a:lnTo>
                  <a:lnTo>
                    <a:pt x="10823" y="35315"/>
                  </a:lnTo>
                  <a:lnTo>
                    <a:pt x="8795" y="35656"/>
                  </a:lnTo>
                  <a:lnTo>
                    <a:pt x="7428" y="35667"/>
                  </a:lnTo>
                  <a:lnTo>
                    <a:pt x="7441" y="35449"/>
                  </a:lnTo>
                  <a:lnTo>
                    <a:pt x="6662" y="33207"/>
                  </a:lnTo>
                  <a:lnTo>
                    <a:pt x="7476" y="29769"/>
                  </a:lnTo>
                  <a:lnTo>
                    <a:pt x="5999" y="24732"/>
                  </a:lnTo>
                  <a:lnTo>
                    <a:pt x="3584" y="18657"/>
                  </a:lnTo>
                  <a:lnTo>
                    <a:pt x="3405" y="12135"/>
                  </a:lnTo>
                  <a:lnTo>
                    <a:pt x="3234" y="10666"/>
                  </a:lnTo>
                  <a:lnTo>
                    <a:pt x="9173" y="6980"/>
                  </a:lnTo>
                  <a:lnTo>
                    <a:pt x="16666" y="3027"/>
                  </a:lnTo>
                  <a:lnTo>
                    <a:pt x="18370" y="2669"/>
                  </a:lnTo>
                  <a:lnTo>
                    <a:pt x="25275" y="326"/>
                  </a:lnTo>
                  <a:lnTo>
                    <a:pt x="26197" y="140"/>
                  </a:lnTo>
                  <a:lnTo>
                    <a:pt x="32419" y="574"/>
                  </a:lnTo>
                  <a:lnTo>
                    <a:pt x="37306" y="1131"/>
                  </a:lnTo>
                  <a:lnTo>
                    <a:pt x="41425" y="1062"/>
                  </a:lnTo>
                  <a:lnTo>
                    <a:pt x="43688" y="462"/>
                  </a:lnTo>
                  <a:lnTo>
                    <a:pt x="45738" y="964"/>
                  </a:lnTo>
                  <a:lnTo>
                    <a:pt x="47390" y="2729"/>
                  </a:lnTo>
                  <a:lnTo>
                    <a:pt x="49089" y="2522"/>
                  </a:lnTo>
                  <a:lnTo>
                    <a:pt x="50771" y="1380"/>
                  </a:lnTo>
                  <a:lnTo>
                    <a:pt x="59987" y="2423"/>
                  </a:lnTo>
                  <a:lnTo>
                    <a:pt x="62067" y="2398"/>
                  </a:lnTo>
                  <a:lnTo>
                    <a:pt x="64410" y="2567"/>
                  </a:lnTo>
                  <a:lnTo>
                    <a:pt x="68733" y="3630"/>
                  </a:lnTo>
                  <a:lnTo>
                    <a:pt x="71220" y="4600"/>
                  </a:lnTo>
                  <a:lnTo>
                    <a:pt x="76686" y="4014"/>
                  </a:lnTo>
                  <a:lnTo>
                    <a:pt x="79025" y="3980"/>
                  </a:lnTo>
                  <a:lnTo>
                    <a:pt x="80249" y="3598"/>
                  </a:lnTo>
                  <a:lnTo>
                    <a:pt x="84019" y="937"/>
                  </a:lnTo>
                  <a:lnTo>
                    <a:pt x="85650" y="47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0" name="ee4p_LU_1_15912">
              <a:extLst>
                <a:ext uri="{FF2B5EF4-FFF2-40B4-BE49-F238E27FC236}">
                  <a16:creationId xmlns:a16="http://schemas.microsoft.com/office/drawing/2014/main" id="{D37DCFD4-ED63-7E0C-4FCB-735998D828C7}"/>
                </a:ext>
              </a:extLst>
            </p:cNvPr>
            <p:cNvSpPr>
              <a:spLocks noChangeAspect="1"/>
            </p:cNvSpPr>
            <p:nvPr>
              <p:custDataLst>
                <p:tags r:id="rId42"/>
              </p:custDataLst>
            </p:nvPr>
          </p:nvSpPr>
          <p:spPr>
            <a:xfrm>
              <a:off x="4273551" y="4512457"/>
              <a:ext cx="67392" cy="82404"/>
            </a:xfrm>
            <a:custGeom>
              <a:avLst/>
              <a:gdLst/>
              <a:ahLst/>
              <a:cxnLst/>
              <a:rect l="0" t="0" r="0" b="0"/>
              <a:pathLst>
                <a:path w="17000" h="20787">
                  <a:moveTo>
                    <a:pt x="8657" y="1335"/>
                  </a:moveTo>
                  <a:lnTo>
                    <a:pt x="8476" y="2109"/>
                  </a:lnTo>
                  <a:lnTo>
                    <a:pt x="8508" y="3838"/>
                  </a:lnTo>
                  <a:lnTo>
                    <a:pt x="9136" y="5572"/>
                  </a:lnTo>
                  <a:lnTo>
                    <a:pt x="10611" y="7279"/>
                  </a:lnTo>
                  <a:lnTo>
                    <a:pt x="11743" y="8517"/>
                  </a:lnTo>
                  <a:lnTo>
                    <a:pt x="13259" y="9505"/>
                  </a:lnTo>
                  <a:lnTo>
                    <a:pt x="15830" y="10443"/>
                  </a:lnTo>
                  <a:lnTo>
                    <a:pt x="16856" y="10640"/>
                  </a:lnTo>
                  <a:lnTo>
                    <a:pt x="16999" y="11909"/>
                  </a:lnTo>
                  <a:lnTo>
                    <a:pt x="16800" y="13250"/>
                  </a:lnTo>
                  <a:lnTo>
                    <a:pt x="15912" y="13991"/>
                  </a:lnTo>
                  <a:lnTo>
                    <a:pt x="15074" y="15057"/>
                  </a:lnTo>
                  <a:lnTo>
                    <a:pt x="14446" y="16361"/>
                  </a:lnTo>
                  <a:lnTo>
                    <a:pt x="13785" y="18857"/>
                  </a:lnTo>
                  <a:lnTo>
                    <a:pt x="13695" y="20577"/>
                  </a:lnTo>
                  <a:lnTo>
                    <a:pt x="12213" y="19865"/>
                  </a:lnTo>
                  <a:lnTo>
                    <a:pt x="11436" y="19383"/>
                  </a:lnTo>
                  <a:lnTo>
                    <a:pt x="10084" y="19252"/>
                  </a:lnTo>
                  <a:lnTo>
                    <a:pt x="8732" y="19645"/>
                  </a:lnTo>
                  <a:lnTo>
                    <a:pt x="7720" y="20522"/>
                  </a:lnTo>
                  <a:lnTo>
                    <a:pt x="6333" y="20786"/>
                  </a:lnTo>
                  <a:lnTo>
                    <a:pt x="5185" y="20522"/>
                  </a:lnTo>
                  <a:lnTo>
                    <a:pt x="4509" y="19865"/>
                  </a:lnTo>
                  <a:lnTo>
                    <a:pt x="3900" y="19515"/>
                  </a:lnTo>
                  <a:lnTo>
                    <a:pt x="2177" y="19075"/>
                  </a:lnTo>
                  <a:lnTo>
                    <a:pt x="1431" y="18122"/>
                  </a:lnTo>
                  <a:lnTo>
                    <a:pt x="2000" y="17676"/>
                  </a:lnTo>
                  <a:lnTo>
                    <a:pt x="2489" y="16972"/>
                  </a:lnTo>
                  <a:lnTo>
                    <a:pt x="2908" y="15980"/>
                  </a:lnTo>
                  <a:lnTo>
                    <a:pt x="3436" y="15063"/>
                  </a:lnTo>
                  <a:lnTo>
                    <a:pt x="1740" y="12549"/>
                  </a:lnTo>
                  <a:lnTo>
                    <a:pt x="1393" y="11780"/>
                  </a:lnTo>
                  <a:lnTo>
                    <a:pt x="0" y="10358"/>
                  </a:lnTo>
                  <a:lnTo>
                    <a:pt x="17" y="9636"/>
                  </a:lnTo>
                  <a:lnTo>
                    <a:pt x="350" y="8949"/>
                  </a:lnTo>
                  <a:lnTo>
                    <a:pt x="226" y="8417"/>
                  </a:lnTo>
                  <a:lnTo>
                    <a:pt x="421" y="7149"/>
                  </a:lnTo>
                  <a:lnTo>
                    <a:pt x="1395" y="5949"/>
                  </a:lnTo>
                  <a:lnTo>
                    <a:pt x="2043" y="4464"/>
                  </a:lnTo>
                  <a:lnTo>
                    <a:pt x="3137" y="2439"/>
                  </a:lnTo>
                  <a:lnTo>
                    <a:pt x="5556" y="0"/>
                  </a:lnTo>
                  <a:lnTo>
                    <a:pt x="7292" y="372"/>
                  </a:lnTo>
                  <a:lnTo>
                    <a:pt x="8050" y="364"/>
                  </a:lnTo>
                  <a:lnTo>
                    <a:pt x="8514" y="125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1" name="ee4p_LV_1_15912">
              <a:extLst>
                <a:ext uri="{FF2B5EF4-FFF2-40B4-BE49-F238E27FC236}">
                  <a16:creationId xmlns:a16="http://schemas.microsoft.com/office/drawing/2014/main" id="{376673BD-6265-AD99-78AB-CB5CD6D432BD}"/>
                </a:ext>
              </a:extLst>
            </p:cNvPr>
            <p:cNvSpPr>
              <a:spLocks noChangeAspect="1"/>
            </p:cNvSpPr>
            <p:nvPr>
              <p:custDataLst>
                <p:tags r:id="rId43"/>
              </p:custDataLst>
            </p:nvPr>
          </p:nvSpPr>
          <p:spPr>
            <a:xfrm>
              <a:off x="5613829" y="3560166"/>
              <a:ext cx="630007" cy="299640"/>
            </a:xfrm>
            <a:custGeom>
              <a:avLst/>
              <a:gdLst/>
              <a:ahLst/>
              <a:cxnLst/>
              <a:rect l="0" t="0" r="0" b="0"/>
              <a:pathLst>
                <a:path w="158923" h="75586">
                  <a:moveTo>
                    <a:pt x="140124" y="17113"/>
                  </a:moveTo>
                  <a:lnTo>
                    <a:pt x="142728" y="17243"/>
                  </a:lnTo>
                  <a:lnTo>
                    <a:pt x="143644" y="17749"/>
                  </a:lnTo>
                  <a:lnTo>
                    <a:pt x="144253" y="20242"/>
                  </a:lnTo>
                  <a:lnTo>
                    <a:pt x="147218" y="22202"/>
                  </a:lnTo>
                  <a:lnTo>
                    <a:pt x="149963" y="23827"/>
                  </a:lnTo>
                  <a:lnTo>
                    <a:pt x="150664" y="24577"/>
                  </a:lnTo>
                  <a:lnTo>
                    <a:pt x="150878" y="26024"/>
                  </a:lnTo>
                  <a:lnTo>
                    <a:pt x="150701" y="27712"/>
                  </a:lnTo>
                  <a:lnTo>
                    <a:pt x="150353" y="28586"/>
                  </a:lnTo>
                  <a:lnTo>
                    <a:pt x="149209" y="29593"/>
                  </a:lnTo>
                  <a:lnTo>
                    <a:pt x="148205" y="32139"/>
                  </a:lnTo>
                  <a:lnTo>
                    <a:pt x="148067" y="34560"/>
                  </a:lnTo>
                  <a:lnTo>
                    <a:pt x="146482" y="38739"/>
                  </a:lnTo>
                  <a:lnTo>
                    <a:pt x="146840" y="38816"/>
                  </a:lnTo>
                  <a:lnTo>
                    <a:pt x="150166" y="38063"/>
                  </a:lnTo>
                  <a:lnTo>
                    <a:pt x="151107" y="38495"/>
                  </a:lnTo>
                  <a:lnTo>
                    <a:pt x="151835" y="39417"/>
                  </a:lnTo>
                  <a:lnTo>
                    <a:pt x="152068" y="42035"/>
                  </a:lnTo>
                  <a:lnTo>
                    <a:pt x="153158" y="43211"/>
                  </a:lnTo>
                  <a:lnTo>
                    <a:pt x="154268" y="45048"/>
                  </a:lnTo>
                  <a:lnTo>
                    <a:pt x="154620" y="46477"/>
                  </a:lnTo>
                  <a:lnTo>
                    <a:pt x="156734" y="48178"/>
                  </a:lnTo>
                  <a:lnTo>
                    <a:pt x="156905" y="49277"/>
                  </a:lnTo>
                  <a:lnTo>
                    <a:pt x="158196" y="53160"/>
                  </a:lnTo>
                  <a:lnTo>
                    <a:pt x="158693" y="55393"/>
                  </a:lnTo>
                  <a:lnTo>
                    <a:pt x="158922" y="57119"/>
                  </a:lnTo>
                  <a:lnTo>
                    <a:pt x="158287" y="59309"/>
                  </a:lnTo>
                  <a:lnTo>
                    <a:pt x="157726" y="60790"/>
                  </a:lnTo>
                  <a:lnTo>
                    <a:pt x="157061" y="60700"/>
                  </a:lnTo>
                  <a:lnTo>
                    <a:pt x="155162" y="61090"/>
                  </a:lnTo>
                  <a:lnTo>
                    <a:pt x="152161" y="62874"/>
                  </a:lnTo>
                  <a:lnTo>
                    <a:pt x="147693" y="67069"/>
                  </a:lnTo>
                  <a:lnTo>
                    <a:pt x="146544" y="67998"/>
                  </a:lnTo>
                  <a:lnTo>
                    <a:pt x="145376" y="71187"/>
                  </a:lnTo>
                  <a:lnTo>
                    <a:pt x="145095" y="71510"/>
                  </a:lnTo>
                  <a:lnTo>
                    <a:pt x="142496" y="71363"/>
                  </a:lnTo>
                  <a:lnTo>
                    <a:pt x="141787" y="71287"/>
                  </a:lnTo>
                  <a:lnTo>
                    <a:pt x="139179" y="71351"/>
                  </a:lnTo>
                  <a:lnTo>
                    <a:pt x="133504" y="70522"/>
                  </a:lnTo>
                  <a:lnTo>
                    <a:pt x="131303" y="71070"/>
                  </a:lnTo>
                  <a:lnTo>
                    <a:pt x="128416" y="74291"/>
                  </a:lnTo>
                  <a:lnTo>
                    <a:pt x="127298" y="74764"/>
                  </a:lnTo>
                  <a:lnTo>
                    <a:pt x="123944" y="75210"/>
                  </a:lnTo>
                  <a:lnTo>
                    <a:pt x="123354" y="75585"/>
                  </a:lnTo>
                  <a:lnTo>
                    <a:pt x="122234" y="75434"/>
                  </a:lnTo>
                  <a:lnTo>
                    <a:pt x="119099" y="74460"/>
                  </a:lnTo>
                  <a:lnTo>
                    <a:pt x="116449" y="73012"/>
                  </a:lnTo>
                  <a:lnTo>
                    <a:pt x="114864" y="71096"/>
                  </a:lnTo>
                  <a:lnTo>
                    <a:pt x="112121" y="68460"/>
                  </a:lnTo>
                  <a:lnTo>
                    <a:pt x="110323" y="67113"/>
                  </a:lnTo>
                  <a:lnTo>
                    <a:pt x="107496" y="65425"/>
                  </a:lnTo>
                  <a:lnTo>
                    <a:pt x="102782" y="61979"/>
                  </a:lnTo>
                  <a:lnTo>
                    <a:pt x="101070" y="61188"/>
                  </a:lnTo>
                  <a:lnTo>
                    <a:pt x="92694" y="59682"/>
                  </a:lnTo>
                  <a:lnTo>
                    <a:pt x="89664" y="58995"/>
                  </a:lnTo>
                  <a:lnTo>
                    <a:pt x="86876" y="55079"/>
                  </a:lnTo>
                  <a:lnTo>
                    <a:pt x="85973" y="52805"/>
                  </a:lnTo>
                  <a:lnTo>
                    <a:pt x="84602" y="52398"/>
                  </a:lnTo>
                  <a:lnTo>
                    <a:pt x="83104" y="52877"/>
                  </a:lnTo>
                  <a:lnTo>
                    <a:pt x="81473" y="53335"/>
                  </a:lnTo>
                  <a:lnTo>
                    <a:pt x="77703" y="55996"/>
                  </a:lnTo>
                  <a:lnTo>
                    <a:pt x="76479" y="56378"/>
                  </a:lnTo>
                  <a:lnTo>
                    <a:pt x="74140" y="56412"/>
                  </a:lnTo>
                  <a:lnTo>
                    <a:pt x="68674" y="56998"/>
                  </a:lnTo>
                  <a:lnTo>
                    <a:pt x="66187" y="56028"/>
                  </a:lnTo>
                  <a:lnTo>
                    <a:pt x="61864" y="54965"/>
                  </a:lnTo>
                  <a:lnTo>
                    <a:pt x="59521" y="54796"/>
                  </a:lnTo>
                  <a:lnTo>
                    <a:pt x="57441" y="54821"/>
                  </a:lnTo>
                  <a:lnTo>
                    <a:pt x="48225" y="53778"/>
                  </a:lnTo>
                  <a:lnTo>
                    <a:pt x="46543" y="54920"/>
                  </a:lnTo>
                  <a:lnTo>
                    <a:pt x="44844" y="55127"/>
                  </a:lnTo>
                  <a:lnTo>
                    <a:pt x="43192" y="53362"/>
                  </a:lnTo>
                  <a:lnTo>
                    <a:pt x="41142" y="52860"/>
                  </a:lnTo>
                  <a:lnTo>
                    <a:pt x="38879" y="53460"/>
                  </a:lnTo>
                  <a:lnTo>
                    <a:pt x="34760" y="53529"/>
                  </a:lnTo>
                  <a:lnTo>
                    <a:pt x="29873" y="52972"/>
                  </a:lnTo>
                  <a:lnTo>
                    <a:pt x="23651" y="52538"/>
                  </a:lnTo>
                  <a:lnTo>
                    <a:pt x="22729" y="52724"/>
                  </a:lnTo>
                  <a:lnTo>
                    <a:pt x="15824" y="55067"/>
                  </a:lnTo>
                  <a:lnTo>
                    <a:pt x="14120" y="55425"/>
                  </a:lnTo>
                  <a:lnTo>
                    <a:pt x="6627" y="59378"/>
                  </a:lnTo>
                  <a:lnTo>
                    <a:pt x="688" y="63064"/>
                  </a:lnTo>
                  <a:lnTo>
                    <a:pt x="0" y="57165"/>
                  </a:lnTo>
                  <a:lnTo>
                    <a:pt x="365" y="45323"/>
                  </a:lnTo>
                  <a:lnTo>
                    <a:pt x="1246" y="39431"/>
                  </a:lnTo>
                  <a:lnTo>
                    <a:pt x="5361" y="35991"/>
                  </a:lnTo>
                  <a:lnTo>
                    <a:pt x="7426" y="33308"/>
                  </a:lnTo>
                  <a:lnTo>
                    <a:pt x="8627" y="29723"/>
                  </a:lnTo>
                  <a:lnTo>
                    <a:pt x="8989" y="26401"/>
                  </a:lnTo>
                  <a:lnTo>
                    <a:pt x="9823" y="23652"/>
                  </a:lnTo>
                  <a:lnTo>
                    <a:pt x="15783" y="15747"/>
                  </a:lnTo>
                  <a:lnTo>
                    <a:pt x="20507" y="14891"/>
                  </a:lnTo>
                  <a:lnTo>
                    <a:pt x="26899" y="12692"/>
                  </a:lnTo>
                  <a:lnTo>
                    <a:pt x="34044" y="10858"/>
                  </a:lnTo>
                  <a:lnTo>
                    <a:pt x="35425" y="13191"/>
                  </a:lnTo>
                  <a:lnTo>
                    <a:pt x="36124" y="14970"/>
                  </a:lnTo>
                  <a:lnTo>
                    <a:pt x="44729" y="21440"/>
                  </a:lnTo>
                  <a:lnTo>
                    <a:pt x="46919" y="23609"/>
                  </a:lnTo>
                  <a:lnTo>
                    <a:pt x="50247" y="31029"/>
                  </a:lnTo>
                  <a:lnTo>
                    <a:pt x="58217" y="34782"/>
                  </a:lnTo>
                  <a:lnTo>
                    <a:pt x="64483" y="33598"/>
                  </a:lnTo>
                  <a:lnTo>
                    <a:pt x="67206" y="31776"/>
                  </a:lnTo>
                  <a:lnTo>
                    <a:pt x="72225" y="28414"/>
                  </a:lnTo>
                  <a:lnTo>
                    <a:pt x="74466" y="25950"/>
                  </a:lnTo>
                  <a:lnTo>
                    <a:pt x="74922" y="23572"/>
                  </a:lnTo>
                  <a:lnTo>
                    <a:pt x="74032" y="13378"/>
                  </a:lnTo>
                  <a:lnTo>
                    <a:pt x="72674" y="8945"/>
                  </a:lnTo>
                  <a:lnTo>
                    <a:pt x="73138" y="6179"/>
                  </a:lnTo>
                  <a:lnTo>
                    <a:pt x="74021" y="6322"/>
                  </a:lnTo>
                  <a:lnTo>
                    <a:pt x="76153" y="4987"/>
                  </a:lnTo>
                  <a:lnTo>
                    <a:pt x="83160" y="2507"/>
                  </a:lnTo>
                  <a:lnTo>
                    <a:pt x="84559" y="2396"/>
                  </a:lnTo>
                  <a:lnTo>
                    <a:pt x="86157" y="1887"/>
                  </a:lnTo>
                  <a:lnTo>
                    <a:pt x="90573" y="0"/>
                  </a:lnTo>
                  <a:lnTo>
                    <a:pt x="91992" y="1004"/>
                  </a:lnTo>
                  <a:lnTo>
                    <a:pt x="93175" y="2144"/>
                  </a:lnTo>
                  <a:lnTo>
                    <a:pt x="93829" y="2158"/>
                  </a:lnTo>
                  <a:lnTo>
                    <a:pt x="94147" y="1734"/>
                  </a:lnTo>
                  <a:lnTo>
                    <a:pt x="94058" y="1001"/>
                  </a:lnTo>
                  <a:lnTo>
                    <a:pt x="94367" y="479"/>
                  </a:lnTo>
                  <a:lnTo>
                    <a:pt x="95637" y="769"/>
                  </a:lnTo>
                  <a:lnTo>
                    <a:pt x="100750" y="3869"/>
                  </a:lnTo>
                  <a:lnTo>
                    <a:pt x="102715" y="4593"/>
                  </a:lnTo>
                  <a:lnTo>
                    <a:pt x="104058" y="4796"/>
                  </a:lnTo>
                  <a:lnTo>
                    <a:pt x="105669" y="6245"/>
                  </a:lnTo>
                  <a:lnTo>
                    <a:pt x="110033" y="7217"/>
                  </a:lnTo>
                  <a:lnTo>
                    <a:pt x="110567" y="7966"/>
                  </a:lnTo>
                  <a:lnTo>
                    <a:pt x="110901" y="8900"/>
                  </a:lnTo>
                  <a:lnTo>
                    <a:pt x="114985" y="12822"/>
                  </a:lnTo>
                  <a:lnTo>
                    <a:pt x="116820" y="14788"/>
                  </a:lnTo>
                  <a:lnTo>
                    <a:pt x="120448" y="16592"/>
                  </a:lnTo>
                  <a:lnTo>
                    <a:pt x="122007" y="17021"/>
                  </a:lnTo>
                  <a:lnTo>
                    <a:pt x="128356" y="15182"/>
                  </a:lnTo>
                  <a:lnTo>
                    <a:pt x="130127" y="14542"/>
                  </a:lnTo>
                  <a:lnTo>
                    <a:pt x="131590" y="14532"/>
                  </a:lnTo>
                  <a:lnTo>
                    <a:pt x="133081" y="15500"/>
                  </a:lnTo>
                  <a:lnTo>
                    <a:pt x="136479" y="16788"/>
                  </a:lnTo>
                  <a:lnTo>
                    <a:pt x="139563" y="1719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2" name="ee4p_MC_1_15912">
              <a:extLst>
                <a:ext uri="{FF2B5EF4-FFF2-40B4-BE49-F238E27FC236}">
                  <a16:creationId xmlns:a16="http://schemas.microsoft.com/office/drawing/2014/main" id="{6DB25A19-D516-F383-0506-BF50C756DC98}"/>
                </a:ext>
              </a:extLst>
            </p:cNvPr>
            <p:cNvSpPr>
              <a:spLocks noChangeAspect="1"/>
            </p:cNvSpPr>
            <p:nvPr>
              <p:custDataLst>
                <p:tags r:id="rId44"/>
              </p:custDataLst>
            </p:nvPr>
          </p:nvSpPr>
          <p:spPr>
            <a:xfrm>
              <a:off x="4418424" y="5220409"/>
              <a:ext cx="5348" cy="4194"/>
            </a:xfrm>
            <a:custGeom>
              <a:avLst/>
              <a:gdLst/>
              <a:ahLst/>
              <a:cxnLst/>
              <a:rect l="0" t="0" r="0" b="0"/>
              <a:pathLst>
                <a:path w="1349" h="1058">
                  <a:moveTo>
                    <a:pt x="1348" y="552"/>
                  </a:moveTo>
                  <a:lnTo>
                    <a:pt x="0" y="1057"/>
                  </a:lnTo>
                  <a:lnTo>
                    <a:pt x="52" y="477"/>
                  </a:lnTo>
                  <a:lnTo>
                    <a:pt x="383" y="150"/>
                  </a:lnTo>
                  <a:lnTo>
                    <a:pt x="812" y="0"/>
                  </a:lnTo>
                  <a:lnTo>
                    <a:pt x="1309" y="25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3" name="ee4p_MD_1_15912">
              <a:extLst>
                <a:ext uri="{FF2B5EF4-FFF2-40B4-BE49-F238E27FC236}">
                  <a16:creationId xmlns:a16="http://schemas.microsoft.com/office/drawing/2014/main" id="{E39C8E43-F461-4229-B88D-D5FA318AE572}"/>
                </a:ext>
              </a:extLst>
            </p:cNvPr>
            <p:cNvSpPr>
              <a:spLocks noChangeAspect="1"/>
            </p:cNvSpPr>
            <p:nvPr>
              <p:custDataLst>
                <p:tags r:id="rId45"/>
              </p:custDataLst>
            </p:nvPr>
          </p:nvSpPr>
          <p:spPr>
            <a:xfrm>
              <a:off x="6105061" y="4704274"/>
              <a:ext cx="307866" cy="334862"/>
            </a:xfrm>
            <a:custGeom>
              <a:avLst/>
              <a:gdLst/>
              <a:ahLst/>
              <a:cxnLst/>
              <a:rect l="0" t="0" r="0" b="0"/>
              <a:pathLst>
                <a:path w="77661" h="84471">
                  <a:moveTo>
                    <a:pt x="35237" y="84470"/>
                  </a:moveTo>
                  <a:lnTo>
                    <a:pt x="34131" y="82731"/>
                  </a:lnTo>
                  <a:lnTo>
                    <a:pt x="33013" y="81209"/>
                  </a:lnTo>
                  <a:lnTo>
                    <a:pt x="32190" y="80389"/>
                  </a:lnTo>
                  <a:lnTo>
                    <a:pt x="32536" y="80010"/>
                  </a:lnTo>
                  <a:lnTo>
                    <a:pt x="33432" y="79583"/>
                  </a:lnTo>
                  <a:lnTo>
                    <a:pt x="34071" y="79065"/>
                  </a:lnTo>
                  <a:lnTo>
                    <a:pt x="33993" y="77249"/>
                  </a:lnTo>
                  <a:lnTo>
                    <a:pt x="33522" y="75161"/>
                  </a:lnTo>
                  <a:lnTo>
                    <a:pt x="33093" y="74151"/>
                  </a:lnTo>
                  <a:lnTo>
                    <a:pt x="33050" y="72565"/>
                  </a:lnTo>
                  <a:lnTo>
                    <a:pt x="32743" y="70094"/>
                  </a:lnTo>
                  <a:lnTo>
                    <a:pt x="33172" y="65505"/>
                  </a:lnTo>
                  <a:lnTo>
                    <a:pt x="34952" y="59722"/>
                  </a:lnTo>
                  <a:lnTo>
                    <a:pt x="35941" y="56846"/>
                  </a:lnTo>
                  <a:lnTo>
                    <a:pt x="35461" y="55270"/>
                  </a:lnTo>
                  <a:lnTo>
                    <a:pt x="35833" y="51581"/>
                  </a:lnTo>
                  <a:lnTo>
                    <a:pt x="35064" y="49757"/>
                  </a:lnTo>
                  <a:lnTo>
                    <a:pt x="33855" y="47372"/>
                  </a:lnTo>
                  <a:lnTo>
                    <a:pt x="32125" y="42179"/>
                  </a:lnTo>
                  <a:lnTo>
                    <a:pt x="29968" y="40370"/>
                  </a:lnTo>
                  <a:lnTo>
                    <a:pt x="27305" y="38379"/>
                  </a:lnTo>
                  <a:lnTo>
                    <a:pt x="26167" y="36875"/>
                  </a:lnTo>
                  <a:lnTo>
                    <a:pt x="25407" y="35217"/>
                  </a:lnTo>
                  <a:lnTo>
                    <a:pt x="23820" y="33570"/>
                  </a:lnTo>
                  <a:lnTo>
                    <a:pt x="22004" y="32055"/>
                  </a:lnTo>
                  <a:lnTo>
                    <a:pt x="19832" y="28268"/>
                  </a:lnTo>
                  <a:lnTo>
                    <a:pt x="18705" y="26555"/>
                  </a:lnTo>
                  <a:lnTo>
                    <a:pt x="18359" y="26093"/>
                  </a:lnTo>
                  <a:lnTo>
                    <a:pt x="15876" y="23660"/>
                  </a:lnTo>
                  <a:lnTo>
                    <a:pt x="14572" y="21460"/>
                  </a:lnTo>
                  <a:lnTo>
                    <a:pt x="13913" y="19652"/>
                  </a:lnTo>
                  <a:lnTo>
                    <a:pt x="13531" y="17976"/>
                  </a:lnTo>
                  <a:lnTo>
                    <a:pt x="11788" y="14664"/>
                  </a:lnTo>
                  <a:lnTo>
                    <a:pt x="10203" y="12170"/>
                  </a:lnTo>
                  <a:lnTo>
                    <a:pt x="8696" y="10395"/>
                  </a:lnTo>
                  <a:lnTo>
                    <a:pt x="8001" y="9137"/>
                  </a:lnTo>
                  <a:lnTo>
                    <a:pt x="6237" y="7551"/>
                  </a:lnTo>
                  <a:lnTo>
                    <a:pt x="3723" y="6287"/>
                  </a:lnTo>
                  <a:lnTo>
                    <a:pt x="2097" y="6070"/>
                  </a:lnTo>
                  <a:lnTo>
                    <a:pt x="0" y="6172"/>
                  </a:lnTo>
                  <a:lnTo>
                    <a:pt x="475" y="5202"/>
                  </a:lnTo>
                  <a:lnTo>
                    <a:pt x="5044" y="2568"/>
                  </a:lnTo>
                  <a:lnTo>
                    <a:pt x="6228" y="2999"/>
                  </a:lnTo>
                  <a:lnTo>
                    <a:pt x="8614" y="3103"/>
                  </a:lnTo>
                  <a:lnTo>
                    <a:pt x="13479" y="3013"/>
                  </a:lnTo>
                  <a:lnTo>
                    <a:pt x="15876" y="1277"/>
                  </a:lnTo>
                  <a:lnTo>
                    <a:pt x="17355" y="1761"/>
                  </a:lnTo>
                  <a:lnTo>
                    <a:pt x="18562" y="983"/>
                  </a:lnTo>
                  <a:lnTo>
                    <a:pt x="20571" y="0"/>
                  </a:lnTo>
                  <a:lnTo>
                    <a:pt x="20858" y="208"/>
                  </a:lnTo>
                  <a:lnTo>
                    <a:pt x="21112" y="364"/>
                  </a:lnTo>
                  <a:lnTo>
                    <a:pt x="24224" y="800"/>
                  </a:lnTo>
                  <a:lnTo>
                    <a:pt x="26559" y="1743"/>
                  </a:lnTo>
                  <a:lnTo>
                    <a:pt x="28120" y="3189"/>
                  </a:lnTo>
                  <a:lnTo>
                    <a:pt x="29728" y="4087"/>
                  </a:lnTo>
                  <a:lnTo>
                    <a:pt x="31389" y="4434"/>
                  </a:lnTo>
                  <a:lnTo>
                    <a:pt x="32309" y="5155"/>
                  </a:lnTo>
                  <a:lnTo>
                    <a:pt x="32495" y="6253"/>
                  </a:lnTo>
                  <a:lnTo>
                    <a:pt x="34049" y="6791"/>
                  </a:lnTo>
                  <a:lnTo>
                    <a:pt x="36973" y="6775"/>
                  </a:lnTo>
                  <a:lnTo>
                    <a:pt x="38215" y="7497"/>
                  </a:lnTo>
                  <a:lnTo>
                    <a:pt x="37768" y="8956"/>
                  </a:lnTo>
                  <a:lnTo>
                    <a:pt x="38068" y="9437"/>
                  </a:lnTo>
                  <a:lnTo>
                    <a:pt x="39107" y="8937"/>
                  </a:lnTo>
                  <a:lnTo>
                    <a:pt x="39893" y="9368"/>
                  </a:lnTo>
                  <a:lnTo>
                    <a:pt x="40312" y="10447"/>
                  </a:lnTo>
                  <a:lnTo>
                    <a:pt x="40778" y="10960"/>
                  </a:lnTo>
                  <a:lnTo>
                    <a:pt x="42268" y="9271"/>
                  </a:lnTo>
                  <a:lnTo>
                    <a:pt x="43842" y="9438"/>
                  </a:lnTo>
                  <a:lnTo>
                    <a:pt x="47649" y="10139"/>
                  </a:lnTo>
                  <a:lnTo>
                    <a:pt x="49683" y="13638"/>
                  </a:lnTo>
                  <a:lnTo>
                    <a:pt x="50951" y="14894"/>
                  </a:lnTo>
                  <a:lnTo>
                    <a:pt x="52060" y="15405"/>
                  </a:lnTo>
                  <a:lnTo>
                    <a:pt x="53467" y="14860"/>
                  </a:lnTo>
                  <a:lnTo>
                    <a:pt x="54706" y="14208"/>
                  </a:lnTo>
                  <a:lnTo>
                    <a:pt x="55423" y="14515"/>
                  </a:lnTo>
                  <a:lnTo>
                    <a:pt x="56958" y="16830"/>
                  </a:lnTo>
                  <a:lnTo>
                    <a:pt x="57319" y="19856"/>
                  </a:lnTo>
                  <a:lnTo>
                    <a:pt x="57310" y="21079"/>
                  </a:lnTo>
                  <a:lnTo>
                    <a:pt x="56764" y="23130"/>
                  </a:lnTo>
                  <a:lnTo>
                    <a:pt x="55987" y="25314"/>
                  </a:lnTo>
                  <a:lnTo>
                    <a:pt x="55369" y="26732"/>
                  </a:lnTo>
                  <a:lnTo>
                    <a:pt x="55632" y="27873"/>
                  </a:lnTo>
                  <a:lnTo>
                    <a:pt x="56183" y="28828"/>
                  </a:lnTo>
                  <a:lnTo>
                    <a:pt x="57086" y="29142"/>
                  </a:lnTo>
                  <a:lnTo>
                    <a:pt x="60031" y="31069"/>
                  </a:lnTo>
                  <a:lnTo>
                    <a:pt x="61128" y="32405"/>
                  </a:lnTo>
                  <a:lnTo>
                    <a:pt x="62726" y="33396"/>
                  </a:lnTo>
                  <a:lnTo>
                    <a:pt x="63942" y="33450"/>
                  </a:lnTo>
                  <a:lnTo>
                    <a:pt x="64572" y="34002"/>
                  </a:lnTo>
                  <a:lnTo>
                    <a:pt x="64797" y="34679"/>
                  </a:lnTo>
                  <a:lnTo>
                    <a:pt x="64631" y="36393"/>
                  </a:lnTo>
                  <a:lnTo>
                    <a:pt x="63948" y="38001"/>
                  </a:lnTo>
                  <a:lnTo>
                    <a:pt x="64039" y="39032"/>
                  </a:lnTo>
                  <a:lnTo>
                    <a:pt x="65110" y="40250"/>
                  </a:lnTo>
                  <a:lnTo>
                    <a:pt x="65224" y="41668"/>
                  </a:lnTo>
                  <a:lnTo>
                    <a:pt x="65298" y="42580"/>
                  </a:lnTo>
                  <a:lnTo>
                    <a:pt x="65868" y="43283"/>
                  </a:lnTo>
                  <a:lnTo>
                    <a:pt x="68565" y="44842"/>
                  </a:lnTo>
                  <a:lnTo>
                    <a:pt x="72061" y="46347"/>
                  </a:lnTo>
                  <a:lnTo>
                    <a:pt x="72951" y="47642"/>
                  </a:lnTo>
                  <a:lnTo>
                    <a:pt x="73491" y="49274"/>
                  </a:lnTo>
                  <a:lnTo>
                    <a:pt x="73320" y="52021"/>
                  </a:lnTo>
                  <a:lnTo>
                    <a:pt x="73089" y="54415"/>
                  </a:lnTo>
                  <a:lnTo>
                    <a:pt x="77660" y="57628"/>
                  </a:lnTo>
                  <a:lnTo>
                    <a:pt x="77140" y="58225"/>
                  </a:lnTo>
                  <a:lnTo>
                    <a:pt x="76436" y="58883"/>
                  </a:lnTo>
                  <a:lnTo>
                    <a:pt x="72065" y="59372"/>
                  </a:lnTo>
                  <a:lnTo>
                    <a:pt x="71178" y="59640"/>
                  </a:lnTo>
                  <a:lnTo>
                    <a:pt x="69278" y="57220"/>
                  </a:lnTo>
                  <a:lnTo>
                    <a:pt x="68280" y="56917"/>
                  </a:lnTo>
                  <a:lnTo>
                    <a:pt x="67345" y="57804"/>
                  </a:lnTo>
                  <a:lnTo>
                    <a:pt x="66248" y="58301"/>
                  </a:lnTo>
                  <a:lnTo>
                    <a:pt x="64924" y="58053"/>
                  </a:lnTo>
                  <a:lnTo>
                    <a:pt x="63507" y="57307"/>
                  </a:lnTo>
                  <a:lnTo>
                    <a:pt x="62795" y="56777"/>
                  </a:lnTo>
                  <a:lnTo>
                    <a:pt x="62221" y="56716"/>
                  </a:lnTo>
                  <a:lnTo>
                    <a:pt x="61337" y="57245"/>
                  </a:lnTo>
                  <a:lnTo>
                    <a:pt x="60158" y="57018"/>
                  </a:lnTo>
                  <a:lnTo>
                    <a:pt x="59392" y="56421"/>
                  </a:lnTo>
                  <a:lnTo>
                    <a:pt x="58280" y="58473"/>
                  </a:lnTo>
                  <a:lnTo>
                    <a:pt x="57600" y="58907"/>
                  </a:lnTo>
                  <a:lnTo>
                    <a:pt x="57174" y="58841"/>
                  </a:lnTo>
                  <a:lnTo>
                    <a:pt x="57090" y="55356"/>
                  </a:lnTo>
                  <a:lnTo>
                    <a:pt x="56768" y="54828"/>
                  </a:lnTo>
                  <a:lnTo>
                    <a:pt x="55885" y="54747"/>
                  </a:lnTo>
                  <a:lnTo>
                    <a:pt x="53754" y="55576"/>
                  </a:lnTo>
                  <a:lnTo>
                    <a:pt x="51730" y="56645"/>
                  </a:lnTo>
                  <a:lnTo>
                    <a:pt x="51046" y="57599"/>
                  </a:lnTo>
                  <a:lnTo>
                    <a:pt x="51115" y="59315"/>
                  </a:lnTo>
                  <a:lnTo>
                    <a:pt x="51406" y="61361"/>
                  </a:lnTo>
                  <a:lnTo>
                    <a:pt x="52788" y="64460"/>
                  </a:lnTo>
                  <a:lnTo>
                    <a:pt x="52028" y="65810"/>
                  </a:lnTo>
                  <a:lnTo>
                    <a:pt x="51495" y="67958"/>
                  </a:lnTo>
                  <a:lnTo>
                    <a:pt x="49323" y="69927"/>
                  </a:lnTo>
                  <a:lnTo>
                    <a:pt x="46874" y="71072"/>
                  </a:lnTo>
                  <a:lnTo>
                    <a:pt x="46664" y="73421"/>
                  </a:lnTo>
                  <a:lnTo>
                    <a:pt x="45300" y="75024"/>
                  </a:lnTo>
                  <a:lnTo>
                    <a:pt x="42972" y="76624"/>
                  </a:lnTo>
                  <a:lnTo>
                    <a:pt x="41408" y="78551"/>
                  </a:lnTo>
                  <a:lnTo>
                    <a:pt x="41804" y="79870"/>
                  </a:lnTo>
                  <a:lnTo>
                    <a:pt x="41899" y="81119"/>
                  </a:lnTo>
                  <a:lnTo>
                    <a:pt x="41633" y="81967"/>
                  </a:lnTo>
                  <a:lnTo>
                    <a:pt x="41573" y="82622"/>
                  </a:lnTo>
                  <a:lnTo>
                    <a:pt x="40962" y="82912"/>
                  </a:lnTo>
                  <a:lnTo>
                    <a:pt x="37401" y="83148"/>
                  </a:lnTo>
                  <a:lnTo>
                    <a:pt x="36394" y="83552"/>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4" name="ee4p_MK_1_15912">
              <a:extLst>
                <a:ext uri="{FF2B5EF4-FFF2-40B4-BE49-F238E27FC236}">
                  <a16:creationId xmlns:a16="http://schemas.microsoft.com/office/drawing/2014/main" id="{2440FD01-CA77-C850-B20A-D67A995DB5E7}"/>
                </a:ext>
              </a:extLst>
            </p:cNvPr>
            <p:cNvSpPr>
              <a:spLocks noChangeAspect="1"/>
            </p:cNvSpPr>
            <p:nvPr>
              <p:custDataLst>
                <p:tags r:id="rId46"/>
              </p:custDataLst>
            </p:nvPr>
          </p:nvSpPr>
          <p:spPr>
            <a:xfrm>
              <a:off x="5564189" y="5370590"/>
              <a:ext cx="224146" cy="158161"/>
            </a:xfrm>
            <a:custGeom>
              <a:avLst/>
              <a:gdLst/>
              <a:ahLst/>
              <a:cxnLst/>
              <a:rect l="0" t="0" r="0" b="0"/>
              <a:pathLst>
                <a:path w="56542" h="39897">
                  <a:moveTo>
                    <a:pt x="41911" y="1177"/>
                  </a:moveTo>
                  <a:lnTo>
                    <a:pt x="45321" y="5138"/>
                  </a:lnTo>
                  <a:lnTo>
                    <a:pt x="47188" y="6740"/>
                  </a:lnTo>
                  <a:lnTo>
                    <a:pt x="49391" y="7954"/>
                  </a:lnTo>
                  <a:lnTo>
                    <a:pt x="51907" y="8842"/>
                  </a:lnTo>
                  <a:lnTo>
                    <a:pt x="52807" y="9694"/>
                  </a:lnTo>
                  <a:lnTo>
                    <a:pt x="54407" y="13896"/>
                  </a:lnTo>
                  <a:lnTo>
                    <a:pt x="55176" y="15489"/>
                  </a:lnTo>
                  <a:lnTo>
                    <a:pt x="56238" y="15963"/>
                  </a:lnTo>
                  <a:lnTo>
                    <a:pt x="56495" y="16423"/>
                  </a:lnTo>
                  <a:lnTo>
                    <a:pt x="56541" y="17029"/>
                  </a:lnTo>
                  <a:lnTo>
                    <a:pt x="55342" y="19975"/>
                  </a:lnTo>
                  <a:lnTo>
                    <a:pt x="54861" y="26568"/>
                  </a:lnTo>
                  <a:lnTo>
                    <a:pt x="54559" y="27091"/>
                  </a:lnTo>
                  <a:lnTo>
                    <a:pt x="53304" y="27062"/>
                  </a:lnTo>
                  <a:lnTo>
                    <a:pt x="51637" y="27204"/>
                  </a:lnTo>
                  <a:lnTo>
                    <a:pt x="51000" y="27712"/>
                  </a:lnTo>
                  <a:lnTo>
                    <a:pt x="50331" y="31250"/>
                  </a:lnTo>
                  <a:lnTo>
                    <a:pt x="47650" y="32260"/>
                  </a:lnTo>
                  <a:lnTo>
                    <a:pt x="45217" y="32831"/>
                  </a:lnTo>
                  <a:lnTo>
                    <a:pt x="43165" y="32703"/>
                  </a:lnTo>
                  <a:lnTo>
                    <a:pt x="39559" y="31865"/>
                  </a:lnTo>
                  <a:lnTo>
                    <a:pt x="38382" y="31774"/>
                  </a:lnTo>
                  <a:lnTo>
                    <a:pt x="37374" y="32252"/>
                  </a:lnTo>
                  <a:lnTo>
                    <a:pt x="34157" y="32503"/>
                  </a:lnTo>
                  <a:lnTo>
                    <a:pt x="32744" y="33123"/>
                  </a:lnTo>
                  <a:lnTo>
                    <a:pt x="29428" y="37254"/>
                  </a:lnTo>
                  <a:lnTo>
                    <a:pt x="26068" y="38676"/>
                  </a:lnTo>
                  <a:lnTo>
                    <a:pt x="24923" y="39396"/>
                  </a:lnTo>
                  <a:lnTo>
                    <a:pt x="22356" y="38485"/>
                  </a:lnTo>
                  <a:lnTo>
                    <a:pt x="21127" y="38391"/>
                  </a:lnTo>
                  <a:lnTo>
                    <a:pt x="19350" y="39443"/>
                  </a:lnTo>
                  <a:lnTo>
                    <a:pt x="15454" y="39549"/>
                  </a:lnTo>
                  <a:lnTo>
                    <a:pt x="14403" y="39732"/>
                  </a:lnTo>
                  <a:lnTo>
                    <a:pt x="11401" y="39896"/>
                  </a:lnTo>
                  <a:lnTo>
                    <a:pt x="11276" y="39328"/>
                  </a:lnTo>
                  <a:lnTo>
                    <a:pt x="10721" y="38498"/>
                  </a:lnTo>
                  <a:lnTo>
                    <a:pt x="9321" y="38109"/>
                  </a:lnTo>
                  <a:lnTo>
                    <a:pt x="6460" y="38441"/>
                  </a:lnTo>
                  <a:lnTo>
                    <a:pt x="5763" y="37834"/>
                  </a:lnTo>
                  <a:lnTo>
                    <a:pt x="4586" y="34328"/>
                  </a:lnTo>
                  <a:lnTo>
                    <a:pt x="3666" y="33765"/>
                  </a:lnTo>
                  <a:lnTo>
                    <a:pt x="2636" y="32586"/>
                  </a:lnTo>
                  <a:lnTo>
                    <a:pt x="891" y="28770"/>
                  </a:lnTo>
                  <a:lnTo>
                    <a:pt x="848" y="27096"/>
                  </a:lnTo>
                  <a:lnTo>
                    <a:pt x="967" y="25636"/>
                  </a:lnTo>
                  <a:lnTo>
                    <a:pt x="0" y="22205"/>
                  </a:lnTo>
                  <a:lnTo>
                    <a:pt x="596" y="21337"/>
                  </a:lnTo>
                  <a:lnTo>
                    <a:pt x="1494" y="20791"/>
                  </a:lnTo>
                  <a:lnTo>
                    <a:pt x="1503" y="19408"/>
                  </a:lnTo>
                  <a:lnTo>
                    <a:pt x="1250" y="17306"/>
                  </a:lnTo>
                  <a:lnTo>
                    <a:pt x="2310" y="13176"/>
                  </a:lnTo>
                  <a:lnTo>
                    <a:pt x="2599" y="12876"/>
                  </a:lnTo>
                  <a:lnTo>
                    <a:pt x="2871" y="13074"/>
                  </a:lnTo>
                  <a:lnTo>
                    <a:pt x="5445" y="13403"/>
                  </a:lnTo>
                  <a:lnTo>
                    <a:pt x="6110" y="12880"/>
                  </a:lnTo>
                  <a:lnTo>
                    <a:pt x="6534" y="12064"/>
                  </a:lnTo>
                  <a:lnTo>
                    <a:pt x="6672" y="9037"/>
                  </a:lnTo>
                  <a:lnTo>
                    <a:pt x="7285" y="7638"/>
                  </a:lnTo>
                  <a:lnTo>
                    <a:pt x="13513" y="4973"/>
                  </a:lnTo>
                  <a:lnTo>
                    <a:pt x="15342" y="4875"/>
                  </a:lnTo>
                  <a:lnTo>
                    <a:pt x="16748" y="6099"/>
                  </a:lnTo>
                  <a:lnTo>
                    <a:pt x="17860" y="6881"/>
                  </a:lnTo>
                  <a:lnTo>
                    <a:pt x="18529" y="6858"/>
                  </a:lnTo>
                  <a:lnTo>
                    <a:pt x="18771" y="6069"/>
                  </a:lnTo>
                  <a:lnTo>
                    <a:pt x="19527" y="4551"/>
                  </a:lnTo>
                  <a:lnTo>
                    <a:pt x="20805" y="3682"/>
                  </a:lnTo>
                  <a:lnTo>
                    <a:pt x="24593" y="2942"/>
                  </a:lnTo>
                  <a:lnTo>
                    <a:pt x="24629" y="2946"/>
                  </a:lnTo>
                  <a:lnTo>
                    <a:pt x="25862" y="3089"/>
                  </a:lnTo>
                  <a:lnTo>
                    <a:pt x="28538" y="2408"/>
                  </a:lnTo>
                  <a:lnTo>
                    <a:pt x="30205" y="1466"/>
                  </a:lnTo>
                  <a:lnTo>
                    <a:pt x="31053" y="1325"/>
                  </a:lnTo>
                  <a:lnTo>
                    <a:pt x="32183" y="961"/>
                  </a:lnTo>
                  <a:lnTo>
                    <a:pt x="33807" y="1015"/>
                  </a:lnTo>
                  <a:lnTo>
                    <a:pt x="35454" y="1425"/>
                  </a:lnTo>
                  <a:lnTo>
                    <a:pt x="37547" y="883"/>
                  </a:lnTo>
                  <a:lnTo>
                    <a:pt x="39605" y="0"/>
                  </a:lnTo>
                  <a:lnTo>
                    <a:pt x="40430" y="221"/>
                  </a:lnTo>
                  <a:lnTo>
                    <a:pt x="41321" y="97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5" name="ee4p_MT_1_15912">
              <a:extLst>
                <a:ext uri="{FF2B5EF4-FFF2-40B4-BE49-F238E27FC236}">
                  <a16:creationId xmlns:a16="http://schemas.microsoft.com/office/drawing/2014/main" id="{83A98C7A-852E-72D5-01D4-39B1EF28C988}"/>
                </a:ext>
              </a:extLst>
            </p:cNvPr>
            <p:cNvSpPr>
              <a:spLocks noChangeAspect="1"/>
            </p:cNvSpPr>
            <p:nvPr>
              <p:custDataLst>
                <p:tags r:id="rId47"/>
              </p:custDataLst>
            </p:nvPr>
          </p:nvSpPr>
          <p:spPr>
            <a:xfrm>
              <a:off x="5029708" y="6025695"/>
              <a:ext cx="18846" cy="15817"/>
            </a:xfrm>
            <a:custGeom>
              <a:avLst/>
              <a:gdLst/>
              <a:ahLst/>
              <a:cxnLst/>
              <a:rect l="0" t="0" r="0" b="0"/>
              <a:pathLst>
                <a:path w="4754" h="3990">
                  <a:moveTo>
                    <a:pt x="4753" y="3169"/>
                  </a:moveTo>
                  <a:lnTo>
                    <a:pt x="4012" y="3989"/>
                  </a:lnTo>
                  <a:lnTo>
                    <a:pt x="1883" y="3952"/>
                  </a:lnTo>
                  <a:lnTo>
                    <a:pt x="24" y="2677"/>
                  </a:lnTo>
                  <a:lnTo>
                    <a:pt x="0" y="0"/>
                  </a:lnTo>
                  <a:lnTo>
                    <a:pt x="2146" y="530"/>
                  </a:lnTo>
                  <a:lnTo>
                    <a:pt x="4107" y="232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6" name="ee4p_MT_2_15912">
              <a:extLst>
                <a:ext uri="{FF2B5EF4-FFF2-40B4-BE49-F238E27FC236}">
                  <a16:creationId xmlns:a16="http://schemas.microsoft.com/office/drawing/2014/main" id="{1BCEA3E2-1463-9272-DEB2-9FC04098B7BE}"/>
                </a:ext>
              </a:extLst>
            </p:cNvPr>
            <p:cNvSpPr>
              <a:spLocks noChangeAspect="1"/>
            </p:cNvSpPr>
            <p:nvPr>
              <p:custDataLst>
                <p:tags r:id="rId48"/>
              </p:custDataLst>
            </p:nvPr>
          </p:nvSpPr>
          <p:spPr>
            <a:xfrm>
              <a:off x="5014727" y="6015955"/>
              <a:ext cx="12321" cy="6371"/>
            </a:xfrm>
            <a:custGeom>
              <a:avLst/>
              <a:gdLst/>
              <a:ahLst/>
              <a:cxnLst/>
              <a:rect l="0" t="0" r="0" b="0"/>
              <a:pathLst>
                <a:path w="3108" h="1607">
                  <a:moveTo>
                    <a:pt x="2943" y="1216"/>
                  </a:moveTo>
                  <a:lnTo>
                    <a:pt x="1619" y="1606"/>
                  </a:lnTo>
                  <a:lnTo>
                    <a:pt x="307" y="847"/>
                  </a:lnTo>
                  <a:lnTo>
                    <a:pt x="0" y="388"/>
                  </a:lnTo>
                  <a:lnTo>
                    <a:pt x="1833" y="0"/>
                  </a:lnTo>
                  <a:lnTo>
                    <a:pt x="2727" y="340"/>
                  </a:lnTo>
                  <a:lnTo>
                    <a:pt x="3107" y="99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7" name="ee4p_ME_1_15912">
              <a:extLst>
                <a:ext uri="{FF2B5EF4-FFF2-40B4-BE49-F238E27FC236}">
                  <a16:creationId xmlns:a16="http://schemas.microsoft.com/office/drawing/2014/main" id="{71374A92-D176-6D52-E665-5D4F7F35326D}"/>
                </a:ext>
              </a:extLst>
            </p:cNvPr>
            <p:cNvSpPr>
              <a:spLocks noChangeAspect="1"/>
            </p:cNvSpPr>
            <p:nvPr>
              <p:custDataLst>
                <p:tags r:id="rId49"/>
              </p:custDataLst>
            </p:nvPr>
          </p:nvSpPr>
          <p:spPr>
            <a:xfrm>
              <a:off x="5387793" y="5244845"/>
              <a:ext cx="167548" cy="177276"/>
            </a:xfrm>
            <a:custGeom>
              <a:avLst/>
              <a:gdLst/>
              <a:ahLst/>
              <a:cxnLst/>
              <a:rect l="0" t="0" r="0" b="0"/>
              <a:pathLst>
                <a:path w="42265" h="44719">
                  <a:moveTo>
                    <a:pt x="16761" y="243"/>
                  </a:moveTo>
                  <a:lnTo>
                    <a:pt x="16701" y="573"/>
                  </a:lnTo>
                  <a:lnTo>
                    <a:pt x="16809" y="1544"/>
                  </a:lnTo>
                  <a:lnTo>
                    <a:pt x="17301" y="2488"/>
                  </a:lnTo>
                  <a:lnTo>
                    <a:pt x="19059" y="3456"/>
                  </a:lnTo>
                  <a:lnTo>
                    <a:pt x="21633" y="5370"/>
                  </a:lnTo>
                  <a:lnTo>
                    <a:pt x="24661" y="8878"/>
                  </a:lnTo>
                  <a:lnTo>
                    <a:pt x="26051" y="9920"/>
                  </a:lnTo>
                  <a:lnTo>
                    <a:pt x="27301" y="10174"/>
                  </a:lnTo>
                  <a:lnTo>
                    <a:pt x="29737" y="11629"/>
                  </a:lnTo>
                  <a:lnTo>
                    <a:pt x="31436" y="11984"/>
                  </a:lnTo>
                  <a:lnTo>
                    <a:pt x="33339" y="12383"/>
                  </a:lnTo>
                  <a:lnTo>
                    <a:pt x="38288" y="15416"/>
                  </a:lnTo>
                  <a:lnTo>
                    <a:pt x="40512" y="16301"/>
                  </a:lnTo>
                  <a:lnTo>
                    <a:pt x="42093" y="17441"/>
                  </a:lnTo>
                  <a:lnTo>
                    <a:pt x="42264" y="18514"/>
                  </a:lnTo>
                  <a:lnTo>
                    <a:pt x="42190" y="19179"/>
                  </a:lnTo>
                  <a:lnTo>
                    <a:pt x="39333" y="19958"/>
                  </a:lnTo>
                  <a:lnTo>
                    <a:pt x="38834" y="21140"/>
                  </a:lnTo>
                  <a:lnTo>
                    <a:pt x="37450" y="21002"/>
                  </a:lnTo>
                  <a:lnTo>
                    <a:pt x="35777" y="20995"/>
                  </a:lnTo>
                  <a:lnTo>
                    <a:pt x="35228" y="21744"/>
                  </a:lnTo>
                  <a:lnTo>
                    <a:pt x="36030" y="22978"/>
                  </a:lnTo>
                  <a:lnTo>
                    <a:pt x="36550" y="24429"/>
                  </a:lnTo>
                  <a:lnTo>
                    <a:pt x="36131" y="26417"/>
                  </a:lnTo>
                  <a:lnTo>
                    <a:pt x="35990" y="26678"/>
                  </a:lnTo>
                  <a:lnTo>
                    <a:pt x="35587" y="26608"/>
                  </a:lnTo>
                  <a:lnTo>
                    <a:pt x="33229" y="27761"/>
                  </a:lnTo>
                  <a:lnTo>
                    <a:pt x="31475" y="28304"/>
                  </a:lnTo>
                  <a:lnTo>
                    <a:pt x="29895" y="28575"/>
                  </a:lnTo>
                  <a:lnTo>
                    <a:pt x="29147" y="28021"/>
                  </a:lnTo>
                  <a:lnTo>
                    <a:pt x="28778" y="27269"/>
                  </a:lnTo>
                  <a:lnTo>
                    <a:pt x="28843" y="25086"/>
                  </a:lnTo>
                  <a:lnTo>
                    <a:pt x="28558" y="24349"/>
                  </a:lnTo>
                  <a:lnTo>
                    <a:pt x="28018" y="23991"/>
                  </a:lnTo>
                  <a:lnTo>
                    <a:pt x="26936" y="24508"/>
                  </a:lnTo>
                  <a:lnTo>
                    <a:pt x="25675" y="26194"/>
                  </a:lnTo>
                  <a:lnTo>
                    <a:pt x="24505" y="28154"/>
                  </a:lnTo>
                  <a:lnTo>
                    <a:pt x="22749" y="30196"/>
                  </a:lnTo>
                  <a:lnTo>
                    <a:pt x="21300" y="32153"/>
                  </a:lnTo>
                  <a:lnTo>
                    <a:pt x="19739" y="34619"/>
                  </a:lnTo>
                  <a:lnTo>
                    <a:pt x="18670" y="36660"/>
                  </a:lnTo>
                  <a:lnTo>
                    <a:pt x="19780" y="37810"/>
                  </a:lnTo>
                  <a:lnTo>
                    <a:pt x="20456" y="39409"/>
                  </a:lnTo>
                  <a:lnTo>
                    <a:pt x="20251" y="40606"/>
                  </a:lnTo>
                  <a:lnTo>
                    <a:pt x="20450" y="41304"/>
                  </a:lnTo>
                  <a:lnTo>
                    <a:pt x="20104" y="43398"/>
                  </a:lnTo>
                  <a:lnTo>
                    <a:pt x="20035" y="44718"/>
                  </a:lnTo>
                  <a:lnTo>
                    <a:pt x="16586" y="42608"/>
                  </a:lnTo>
                  <a:lnTo>
                    <a:pt x="15168" y="39638"/>
                  </a:lnTo>
                  <a:lnTo>
                    <a:pt x="10125" y="34614"/>
                  </a:lnTo>
                  <a:lnTo>
                    <a:pt x="4347" y="31190"/>
                  </a:lnTo>
                  <a:lnTo>
                    <a:pt x="4040" y="30648"/>
                  </a:lnTo>
                  <a:lnTo>
                    <a:pt x="4358" y="29989"/>
                  </a:lnTo>
                  <a:lnTo>
                    <a:pt x="4634" y="29467"/>
                  </a:lnTo>
                  <a:lnTo>
                    <a:pt x="3434" y="29427"/>
                  </a:lnTo>
                  <a:lnTo>
                    <a:pt x="2591" y="29845"/>
                  </a:lnTo>
                  <a:lnTo>
                    <a:pt x="1794" y="29728"/>
                  </a:lnTo>
                  <a:lnTo>
                    <a:pt x="892" y="28443"/>
                  </a:lnTo>
                  <a:lnTo>
                    <a:pt x="39" y="27327"/>
                  </a:lnTo>
                  <a:lnTo>
                    <a:pt x="0" y="26346"/>
                  </a:lnTo>
                  <a:lnTo>
                    <a:pt x="389" y="26218"/>
                  </a:lnTo>
                  <a:lnTo>
                    <a:pt x="967" y="25826"/>
                  </a:lnTo>
                  <a:lnTo>
                    <a:pt x="2181" y="24734"/>
                  </a:lnTo>
                  <a:lnTo>
                    <a:pt x="2423" y="24160"/>
                  </a:lnTo>
                  <a:lnTo>
                    <a:pt x="2365" y="23290"/>
                  </a:lnTo>
                  <a:lnTo>
                    <a:pt x="657" y="20535"/>
                  </a:lnTo>
                  <a:lnTo>
                    <a:pt x="415" y="18747"/>
                  </a:lnTo>
                  <a:lnTo>
                    <a:pt x="166" y="15417"/>
                  </a:lnTo>
                  <a:lnTo>
                    <a:pt x="527" y="14628"/>
                  </a:lnTo>
                  <a:lnTo>
                    <a:pt x="1153" y="14246"/>
                  </a:lnTo>
                  <a:lnTo>
                    <a:pt x="4142" y="13830"/>
                  </a:lnTo>
                  <a:lnTo>
                    <a:pt x="4103" y="11231"/>
                  </a:lnTo>
                  <a:lnTo>
                    <a:pt x="4282" y="10451"/>
                  </a:lnTo>
                  <a:lnTo>
                    <a:pt x="4876" y="9369"/>
                  </a:lnTo>
                  <a:lnTo>
                    <a:pt x="5261" y="8380"/>
                  </a:lnTo>
                  <a:lnTo>
                    <a:pt x="6919" y="6963"/>
                  </a:lnTo>
                  <a:lnTo>
                    <a:pt x="9171" y="5275"/>
                  </a:lnTo>
                  <a:lnTo>
                    <a:pt x="10156" y="5225"/>
                  </a:lnTo>
                  <a:lnTo>
                    <a:pt x="11019" y="5460"/>
                  </a:lnTo>
                  <a:lnTo>
                    <a:pt x="11993" y="6913"/>
                  </a:lnTo>
                  <a:lnTo>
                    <a:pt x="13053" y="6724"/>
                  </a:lnTo>
                  <a:lnTo>
                    <a:pt x="13276" y="4980"/>
                  </a:lnTo>
                  <a:lnTo>
                    <a:pt x="11885" y="2691"/>
                  </a:lnTo>
                  <a:lnTo>
                    <a:pt x="11143" y="1228"/>
                  </a:lnTo>
                  <a:lnTo>
                    <a:pt x="11374" y="422"/>
                  </a:lnTo>
                  <a:lnTo>
                    <a:pt x="11894" y="0"/>
                  </a:lnTo>
                  <a:lnTo>
                    <a:pt x="13090" y="264"/>
                  </a:lnTo>
                  <a:lnTo>
                    <a:pt x="14235" y="663"/>
                  </a:lnTo>
                  <a:lnTo>
                    <a:pt x="14958" y="393"/>
                  </a:lnTo>
                  <a:lnTo>
                    <a:pt x="16098" y="18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8" name="ee4p_NL_1_15912">
              <a:extLst>
                <a:ext uri="{FF2B5EF4-FFF2-40B4-BE49-F238E27FC236}">
                  <a16:creationId xmlns:a16="http://schemas.microsoft.com/office/drawing/2014/main" id="{27A9F8BD-60AD-5646-A771-F6649FCF8BAD}"/>
                </a:ext>
              </a:extLst>
            </p:cNvPr>
            <p:cNvSpPr>
              <a:spLocks noChangeAspect="1"/>
            </p:cNvSpPr>
            <p:nvPr>
              <p:custDataLst>
                <p:tags r:id="rId50"/>
              </p:custDataLst>
            </p:nvPr>
          </p:nvSpPr>
          <p:spPr>
            <a:xfrm>
              <a:off x="4065373" y="4107483"/>
              <a:ext cx="337233" cy="337863"/>
            </a:xfrm>
            <a:custGeom>
              <a:avLst/>
              <a:gdLst>
                <a:gd name="connsiteX0" fmla="*/ 5293 w 85069"/>
                <a:gd name="connsiteY0" fmla="*/ 66254 h 85228"/>
                <a:gd name="connsiteX1" fmla="*/ 8102 w 85069"/>
                <a:gd name="connsiteY1" fmla="*/ 67143 h 85228"/>
                <a:gd name="connsiteX2" fmla="*/ 11792 w 85069"/>
                <a:gd name="connsiteY2" fmla="*/ 67572 h 85228"/>
                <a:gd name="connsiteX3" fmla="*/ 14614 w 85069"/>
                <a:gd name="connsiteY3" fmla="*/ 66356 h 85228"/>
                <a:gd name="connsiteX4" fmla="*/ 16836 w 85069"/>
                <a:gd name="connsiteY4" fmla="*/ 67392 h 85228"/>
                <a:gd name="connsiteX5" fmla="*/ 19372 w 85069"/>
                <a:gd name="connsiteY5" fmla="*/ 66634 h 85228"/>
                <a:gd name="connsiteX6" fmla="*/ 19046 w 85069"/>
                <a:gd name="connsiteY6" fmla="*/ 67741 h 85228"/>
                <a:gd name="connsiteX7" fmla="*/ 18186 w 85069"/>
                <a:gd name="connsiteY7" fmla="*/ 68963 h 85228"/>
                <a:gd name="connsiteX8" fmla="*/ 15256 w 85069"/>
                <a:gd name="connsiteY8" fmla="*/ 70722 h 85228"/>
                <a:gd name="connsiteX9" fmla="*/ 12205 w 85069"/>
                <a:gd name="connsiteY9" fmla="*/ 71876 h 85228"/>
                <a:gd name="connsiteX10" fmla="*/ 10628 w 85069"/>
                <a:gd name="connsiteY10" fmla="*/ 71732 h 85228"/>
                <a:gd name="connsiteX11" fmla="*/ 9548 w 85069"/>
                <a:gd name="connsiteY11" fmla="*/ 71128 h 85228"/>
                <a:gd name="connsiteX12" fmla="*/ 8968 w 85069"/>
                <a:gd name="connsiteY12" fmla="*/ 70494 h 85228"/>
                <a:gd name="connsiteX13" fmla="*/ 7335 w 85069"/>
                <a:gd name="connsiteY13" fmla="*/ 69883 h 85228"/>
                <a:gd name="connsiteX14" fmla="*/ 5089 w 85069"/>
                <a:gd name="connsiteY14" fmla="*/ 69576 h 85228"/>
                <a:gd name="connsiteX15" fmla="*/ 3692 w 85069"/>
                <a:gd name="connsiteY15" fmla="*/ 70237 h 85228"/>
                <a:gd name="connsiteX16" fmla="*/ 2695 w 85069"/>
                <a:gd name="connsiteY16" fmla="*/ 70863 h 85228"/>
                <a:gd name="connsiteX17" fmla="*/ 1822 w 85069"/>
                <a:gd name="connsiteY17" fmla="*/ 70760 h 85228"/>
                <a:gd name="connsiteX18" fmla="*/ 1166 w 85069"/>
                <a:gd name="connsiteY18" fmla="*/ 70237 h 85228"/>
                <a:gd name="connsiteX19" fmla="*/ 663 w 85069"/>
                <a:gd name="connsiteY19" fmla="*/ 69431 h 85228"/>
                <a:gd name="connsiteX20" fmla="*/ 0 w 85069"/>
                <a:gd name="connsiteY20" fmla="*/ 66892 h 85228"/>
                <a:gd name="connsiteX21" fmla="*/ 1673 w 85069"/>
                <a:gd name="connsiteY21" fmla="*/ 66428 h 85228"/>
                <a:gd name="connsiteX22" fmla="*/ 9706 w 85069"/>
                <a:gd name="connsiteY22" fmla="*/ 56047 h 85228"/>
                <a:gd name="connsiteX23" fmla="*/ 13246 w 85069"/>
                <a:gd name="connsiteY23" fmla="*/ 56253 h 85228"/>
                <a:gd name="connsiteX24" fmla="*/ 15405 w 85069"/>
                <a:gd name="connsiteY24" fmla="*/ 57860 h 85228"/>
                <a:gd name="connsiteX25" fmla="*/ 15865 w 85069"/>
                <a:gd name="connsiteY25" fmla="*/ 58373 h 85228"/>
                <a:gd name="connsiteX26" fmla="*/ 16031 w 85069"/>
                <a:gd name="connsiteY26" fmla="*/ 58924 h 85228"/>
                <a:gd name="connsiteX27" fmla="*/ 13287 w 85069"/>
                <a:gd name="connsiteY27" fmla="*/ 59563 h 85228"/>
                <a:gd name="connsiteX28" fmla="*/ 10369 w 85069"/>
                <a:gd name="connsiteY28" fmla="*/ 57592 h 85228"/>
                <a:gd name="connsiteX29" fmla="*/ 8441 w 85069"/>
                <a:gd name="connsiteY29" fmla="*/ 58057 h 85228"/>
                <a:gd name="connsiteX30" fmla="*/ 7715 w 85069"/>
                <a:gd name="connsiteY30" fmla="*/ 57123 h 85228"/>
                <a:gd name="connsiteX31" fmla="*/ 7704 w 85069"/>
                <a:gd name="connsiteY31" fmla="*/ 56540 h 85228"/>
                <a:gd name="connsiteX32" fmla="*/ 33971 w 85069"/>
                <a:gd name="connsiteY32" fmla="*/ 13310 h 85228"/>
                <a:gd name="connsiteX33" fmla="*/ 33965 w 85069"/>
                <a:gd name="connsiteY33" fmla="*/ 16687 h 85228"/>
                <a:gd name="connsiteX34" fmla="*/ 31775 w 85069"/>
                <a:gd name="connsiteY34" fmla="*/ 18811 h 85228"/>
                <a:gd name="connsiteX35" fmla="*/ 30441 w 85069"/>
                <a:gd name="connsiteY35" fmla="*/ 18218 h 85228"/>
                <a:gd name="connsiteX36" fmla="*/ 30052 w 85069"/>
                <a:gd name="connsiteY36" fmla="*/ 17726 h 85228"/>
                <a:gd name="connsiteX37" fmla="*/ 30730 w 85069"/>
                <a:gd name="connsiteY37" fmla="*/ 16070 h 85228"/>
                <a:gd name="connsiteX38" fmla="*/ 37081 w 85069"/>
                <a:gd name="connsiteY38" fmla="*/ 9498 h 85228"/>
                <a:gd name="connsiteX39" fmla="*/ 38884 w 85069"/>
                <a:gd name="connsiteY39" fmla="*/ 9564 h 85228"/>
                <a:gd name="connsiteX40" fmla="*/ 34796 w 85069"/>
                <a:gd name="connsiteY40" fmla="*/ 11771 h 85228"/>
                <a:gd name="connsiteX41" fmla="*/ 34446 w 85069"/>
                <a:gd name="connsiteY41" fmla="*/ 11420 h 85228"/>
                <a:gd name="connsiteX42" fmla="*/ 76643 w 85069"/>
                <a:gd name="connsiteY42" fmla="*/ 5558 h 85228"/>
                <a:gd name="connsiteX43" fmla="*/ 78770 w 85069"/>
                <a:gd name="connsiteY43" fmla="*/ 7538 h 85228"/>
                <a:gd name="connsiteX44" fmla="*/ 80003 w 85069"/>
                <a:gd name="connsiteY44" fmla="*/ 8984 h 85228"/>
                <a:gd name="connsiteX45" fmla="*/ 81989 w 85069"/>
                <a:gd name="connsiteY45" fmla="*/ 9787 h 85228"/>
                <a:gd name="connsiteX46" fmla="*/ 85069 w 85069"/>
                <a:gd name="connsiteY46" fmla="*/ 10338 h 85228"/>
                <a:gd name="connsiteX47" fmla="*/ 84885 w 85069"/>
                <a:gd name="connsiteY47" fmla="*/ 13193 h 85228"/>
                <a:gd name="connsiteX48" fmla="*/ 84907 w 85069"/>
                <a:gd name="connsiteY48" fmla="*/ 18820 h 85228"/>
                <a:gd name="connsiteX49" fmla="*/ 84676 w 85069"/>
                <a:gd name="connsiteY49" fmla="*/ 19817 h 85228"/>
                <a:gd name="connsiteX50" fmla="*/ 83296 w 85069"/>
                <a:gd name="connsiteY50" fmla="*/ 22186 h 85228"/>
                <a:gd name="connsiteX51" fmla="*/ 81832 w 85069"/>
                <a:gd name="connsiteY51" fmla="*/ 26435 h 85228"/>
                <a:gd name="connsiteX52" fmla="*/ 81437 w 85069"/>
                <a:gd name="connsiteY52" fmla="*/ 29222 h 85228"/>
                <a:gd name="connsiteX53" fmla="*/ 80998 w 85069"/>
                <a:gd name="connsiteY53" fmla="*/ 29753 h 85228"/>
                <a:gd name="connsiteX54" fmla="*/ 75144 w 85069"/>
                <a:gd name="connsiteY54" fmla="*/ 29737 h 85228"/>
                <a:gd name="connsiteX55" fmla="*/ 74311 w 85069"/>
                <a:gd name="connsiteY55" fmla="*/ 30220 h 85228"/>
                <a:gd name="connsiteX56" fmla="*/ 74192 w 85069"/>
                <a:gd name="connsiteY56" fmla="*/ 30822 h 85228"/>
                <a:gd name="connsiteX57" fmla="*/ 74488 w 85069"/>
                <a:gd name="connsiteY57" fmla="*/ 31539 h 85228"/>
                <a:gd name="connsiteX58" fmla="*/ 74347 w 85069"/>
                <a:gd name="connsiteY58" fmla="*/ 32252 h 85228"/>
                <a:gd name="connsiteX59" fmla="*/ 73888 w 85069"/>
                <a:gd name="connsiteY59" fmla="*/ 32832 h 85228"/>
                <a:gd name="connsiteX60" fmla="*/ 74138 w 85069"/>
                <a:gd name="connsiteY60" fmla="*/ 33753 h 85228"/>
                <a:gd name="connsiteX61" fmla="*/ 75153 w 85069"/>
                <a:gd name="connsiteY61" fmla="*/ 34800 h 85228"/>
                <a:gd name="connsiteX62" fmla="*/ 77003 w 85069"/>
                <a:gd name="connsiteY62" fmla="*/ 35447 h 85228"/>
                <a:gd name="connsiteX63" fmla="*/ 78984 w 85069"/>
                <a:gd name="connsiteY63" fmla="*/ 35506 h 85228"/>
                <a:gd name="connsiteX64" fmla="*/ 80003 w 85069"/>
                <a:gd name="connsiteY64" fmla="*/ 35393 h 85228"/>
                <a:gd name="connsiteX65" fmla="*/ 80748 w 85069"/>
                <a:gd name="connsiteY65" fmla="*/ 36139 h 85228"/>
                <a:gd name="connsiteX66" fmla="*/ 81484 w 85069"/>
                <a:gd name="connsiteY66" fmla="*/ 37291 h 85228"/>
                <a:gd name="connsiteX67" fmla="*/ 81428 w 85069"/>
                <a:gd name="connsiteY67" fmla="*/ 38738 h 85228"/>
                <a:gd name="connsiteX68" fmla="*/ 81141 w 85069"/>
                <a:gd name="connsiteY68" fmla="*/ 40682 h 85228"/>
                <a:gd name="connsiteX69" fmla="*/ 80203 w 85069"/>
                <a:gd name="connsiteY69" fmla="*/ 42476 h 85228"/>
                <a:gd name="connsiteX70" fmla="*/ 77502 w 85069"/>
                <a:gd name="connsiteY70" fmla="*/ 44542 h 85228"/>
                <a:gd name="connsiteX71" fmla="*/ 76293 w 85069"/>
                <a:gd name="connsiteY71" fmla="*/ 45270 h 85228"/>
                <a:gd name="connsiteX72" fmla="*/ 75157 w 85069"/>
                <a:gd name="connsiteY72" fmla="*/ 45641 h 85228"/>
                <a:gd name="connsiteX73" fmla="*/ 74615 w 85069"/>
                <a:gd name="connsiteY73" fmla="*/ 46187 h 85228"/>
                <a:gd name="connsiteX74" fmla="*/ 74360 w 85069"/>
                <a:gd name="connsiteY74" fmla="*/ 46878 h 85228"/>
                <a:gd name="connsiteX75" fmla="*/ 74419 w 85069"/>
                <a:gd name="connsiteY75" fmla="*/ 47491 h 85228"/>
                <a:gd name="connsiteX76" fmla="*/ 76338 w 85069"/>
                <a:gd name="connsiteY76" fmla="*/ 49147 h 85228"/>
                <a:gd name="connsiteX77" fmla="*/ 76293 w 85069"/>
                <a:gd name="connsiteY77" fmla="*/ 49525 h 85228"/>
                <a:gd name="connsiteX78" fmla="*/ 75736 w 85069"/>
                <a:gd name="connsiteY78" fmla="*/ 50385 h 85228"/>
                <a:gd name="connsiteX79" fmla="*/ 74997 w 85069"/>
                <a:gd name="connsiteY79" fmla="*/ 51194 h 85228"/>
                <a:gd name="connsiteX80" fmla="*/ 70039 w 85069"/>
                <a:gd name="connsiteY80" fmla="*/ 52876 h 85228"/>
                <a:gd name="connsiteX81" fmla="*/ 67992 w 85069"/>
                <a:gd name="connsiteY81" fmla="*/ 52744 h 85228"/>
                <a:gd name="connsiteX82" fmla="*/ 66824 w 85069"/>
                <a:gd name="connsiteY82" fmla="*/ 53581 h 85228"/>
                <a:gd name="connsiteX83" fmla="*/ 66459 w 85069"/>
                <a:gd name="connsiteY83" fmla="*/ 53740 h 85228"/>
                <a:gd name="connsiteX84" fmla="*/ 65164 w 85069"/>
                <a:gd name="connsiteY84" fmla="*/ 52971 h 85228"/>
                <a:gd name="connsiteX85" fmla="*/ 62276 w 85069"/>
                <a:gd name="connsiteY85" fmla="*/ 52084 h 85228"/>
                <a:gd name="connsiteX86" fmla="*/ 61186 w 85069"/>
                <a:gd name="connsiteY86" fmla="*/ 52390 h 85228"/>
                <a:gd name="connsiteX87" fmla="*/ 60581 w 85069"/>
                <a:gd name="connsiteY87" fmla="*/ 52876 h 85228"/>
                <a:gd name="connsiteX88" fmla="*/ 58763 w 85069"/>
                <a:gd name="connsiteY88" fmla="*/ 53465 h 85228"/>
                <a:gd name="connsiteX89" fmla="*/ 57461 w 85069"/>
                <a:gd name="connsiteY89" fmla="*/ 54388 h 85228"/>
                <a:gd name="connsiteX90" fmla="*/ 57457 w 85069"/>
                <a:gd name="connsiteY90" fmla="*/ 55576 h 85228"/>
                <a:gd name="connsiteX91" fmla="*/ 59761 w 85069"/>
                <a:gd name="connsiteY91" fmla="*/ 58645 h 85228"/>
                <a:gd name="connsiteX92" fmla="*/ 60571 w 85069"/>
                <a:gd name="connsiteY92" fmla="*/ 59247 h 85228"/>
                <a:gd name="connsiteX93" fmla="*/ 60609 w 85069"/>
                <a:gd name="connsiteY93" fmla="*/ 60391 h 85228"/>
                <a:gd name="connsiteX94" fmla="*/ 61726 w 85069"/>
                <a:gd name="connsiteY94" fmla="*/ 61827 h 85228"/>
                <a:gd name="connsiteX95" fmla="*/ 62868 w 85069"/>
                <a:gd name="connsiteY95" fmla="*/ 63626 h 85228"/>
                <a:gd name="connsiteX96" fmla="*/ 62991 w 85069"/>
                <a:gd name="connsiteY96" fmla="*/ 64769 h 85228"/>
                <a:gd name="connsiteX97" fmla="*/ 62860 w 85069"/>
                <a:gd name="connsiteY97" fmla="*/ 65926 h 85228"/>
                <a:gd name="connsiteX98" fmla="*/ 62270 w 85069"/>
                <a:gd name="connsiteY98" fmla="*/ 67562 h 85228"/>
                <a:gd name="connsiteX99" fmla="*/ 60273 w 85069"/>
                <a:gd name="connsiteY99" fmla="*/ 71394 h 85228"/>
                <a:gd name="connsiteX100" fmla="*/ 60249 w 85069"/>
                <a:gd name="connsiteY100" fmla="*/ 72129 h 85228"/>
                <a:gd name="connsiteX101" fmla="*/ 60417 w 85069"/>
                <a:gd name="connsiteY101" fmla="*/ 72687 h 85228"/>
                <a:gd name="connsiteX102" fmla="*/ 61102 w 85069"/>
                <a:gd name="connsiteY102" fmla="*/ 72841 h 85228"/>
                <a:gd name="connsiteX103" fmla="*/ 61622 w 85069"/>
                <a:gd name="connsiteY103" fmla="*/ 73130 h 85228"/>
                <a:gd name="connsiteX104" fmla="*/ 61469 w 85069"/>
                <a:gd name="connsiteY104" fmla="*/ 73640 h 85228"/>
                <a:gd name="connsiteX105" fmla="*/ 57733 w 85069"/>
                <a:gd name="connsiteY105" fmla="*/ 76293 h 85228"/>
                <a:gd name="connsiteX106" fmla="*/ 57251 w 85069"/>
                <a:gd name="connsiteY106" fmla="*/ 76757 h 85228"/>
                <a:gd name="connsiteX107" fmla="*/ 55684 w 85069"/>
                <a:gd name="connsiteY107" fmla="*/ 76626 h 85228"/>
                <a:gd name="connsiteX108" fmla="*/ 55444 w 85069"/>
                <a:gd name="connsiteY108" fmla="*/ 77069 h 85228"/>
                <a:gd name="connsiteX109" fmla="*/ 55658 w 85069"/>
                <a:gd name="connsiteY109" fmla="*/ 77784 h 85228"/>
                <a:gd name="connsiteX110" fmla="*/ 56267 w 85069"/>
                <a:gd name="connsiteY110" fmla="*/ 78410 h 85228"/>
                <a:gd name="connsiteX111" fmla="*/ 57601 w 85069"/>
                <a:gd name="connsiteY111" fmla="*/ 78740 h 85228"/>
                <a:gd name="connsiteX112" fmla="*/ 58746 w 85069"/>
                <a:gd name="connsiteY112" fmla="*/ 79411 h 85228"/>
                <a:gd name="connsiteX113" fmla="*/ 59666 w 85069"/>
                <a:gd name="connsiteY113" fmla="*/ 80726 h 85228"/>
                <a:gd name="connsiteX114" fmla="*/ 58461 w 85069"/>
                <a:gd name="connsiteY114" fmla="*/ 85228 h 85228"/>
                <a:gd name="connsiteX115" fmla="*/ 54114 w 85069"/>
                <a:gd name="connsiteY115" fmla="*/ 85109 h 85228"/>
                <a:gd name="connsiteX116" fmla="*/ 53002 w 85069"/>
                <a:gd name="connsiteY116" fmla="*/ 84963 h 85228"/>
                <a:gd name="connsiteX117" fmla="*/ 51821 w 85069"/>
                <a:gd name="connsiteY117" fmla="*/ 84523 h 85228"/>
                <a:gd name="connsiteX118" fmla="*/ 51818 w 85069"/>
                <a:gd name="connsiteY118" fmla="*/ 84520 h 85228"/>
                <a:gd name="connsiteX119" fmla="*/ 51278 w 85069"/>
                <a:gd name="connsiteY119" fmla="*/ 83611 h 85228"/>
                <a:gd name="connsiteX120" fmla="*/ 50622 w 85069"/>
                <a:gd name="connsiteY120" fmla="*/ 82514 h 85228"/>
                <a:gd name="connsiteX121" fmla="*/ 50801 w 85069"/>
                <a:gd name="connsiteY121" fmla="*/ 81842 h 85228"/>
                <a:gd name="connsiteX122" fmla="*/ 52771 w 85069"/>
                <a:gd name="connsiteY122" fmla="*/ 79931 h 85228"/>
                <a:gd name="connsiteX123" fmla="*/ 53067 w 85069"/>
                <a:gd name="connsiteY123" fmla="*/ 79403 h 85228"/>
                <a:gd name="connsiteX124" fmla="*/ 52864 w 85069"/>
                <a:gd name="connsiteY124" fmla="*/ 79120 h 85228"/>
                <a:gd name="connsiteX125" fmla="*/ 53062 w 85069"/>
                <a:gd name="connsiteY125" fmla="*/ 78278 h 85228"/>
                <a:gd name="connsiteX126" fmla="*/ 54576 w 85069"/>
                <a:gd name="connsiteY126" fmla="*/ 75424 h 85228"/>
                <a:gd name="connsiteX127" fmla="*/ 54772 w 85069"/>
                <a:gd name="connsiteY127" fmla="*/ 74277 h 85228"/>
                <a:gd name="connsiteX128" fmla="*/ 54095 w 85069"/>
                <a:gd name="connsiteY128" fmla="*/ 73474 h 85228"/>
                <a:gd name="connsiteX129" fmla="*/ 53118 w 85069"/>
                <a:gd name="connsiteY129" fmla="*/ 72994 h 85228"/>
                <a:gd name="connsiteX130" fmla="*/ 49944 w 85069"/>
                <a:gd name="connsiteY130" fmla="*/ 72146 h 85228"/>
                <a:gd name="connsiteX131" fmla="*/ 48433 w 85069"/>
                <a:gd name="connsiteY131" fmla="*/ 70949 h 85228"/>
                <a:gd name="connsiteX132" fmla="*/ 47733 w 85069"/>
                <a:gd name="connsiteY132" fmla="*/ 69903 h 85228"/>
                <a:gd name="connsiteX133" fmla="*/ 47027 w 85069"/>
                <a:gd name="connsiteY133" fmla="*/ 69609 h 85228"/>
                <a:gd name="connsiteX134" fmla="*/ 45986 w 85069"/>
                <a:gd name="connsiteY134" fmla="*/ 69962 h 85228"/>
                <a:gd name="connsiteX135" fmla="*/ 43356 w 85069"/>
                <a:gd name="connsiteY135" fmla="*/ 70351 h 85228"/>
                <a:gd name="connsiteX136" fmla="*/ 41218 w 85069"/>
                <a:gd name="connsiteY136" fmla="*/ 69787 h 85228"/>
                <a:gd name="connsiteX137" fmla="*/ 38692 w 85069"/>
                <a:gd name="connsiteY137" fmla="*/ 67807 h 85228"/>
                <a:gd name="connsiteX138" fmla="*/ 38106 w 85069"/>
                <a:gd name="connsiteY138" fmla="*/ 66036 h 85228"/>
                <a:gd name="connsiteX139" fmla="*/ 37798 w 85069"/>
                <a:gd name="connsiteY139" fmla="*/ 64677 h 85228"/>
                <a:gd name="connsiteX140" fmla="*/ 37167 w 85069"/>
                <a:gd name="connsiteY140" fmla="*/ 64208 h 85228"/>
                <a:gd name="connsiteX141" fmla="*/ 36319 w 85069"/>
                <a:gd name="connsiteY141" fmla="*/ 64905 h 85228"/>
                <a:gd name="connsiteX142" fmla="*/ 35243 w 85069"/>
                <a:gd name="connsiteY142" fmla="*/ 66009 h 85228"/>
                <a:gd name="connsiteX143" fmla="*/ 33123 w 85069"/>
                <a:gd name="connsiteY143" fmla="*/ 66141 h 85228"/>
                <a:gd name="connsiteX144" fmla="*/ 32518 w 85069"/>
                <a:gd name="connsiteY144" fmla="*/ 65883 h 85228"/>
                <a:gd name="connsiteX145" fmla="*/ 32414 w 85069"/>
                <a:gd name="connsiteY145" fmla="*/ 65274 h 85228"/>
                <a:gd name="connsiteX146" fmla="*/ 32293 w 85069"/>
                <a:gd name="connsiteY146" fmla="*/ 64689 h 85228"/>
                <a:gd name="connsiteX147" fmla="*/ 31710 w 85069"/>
                <a:gd name="connsiteY147" fmla="*/ 63964 h 85228"/>
                <a:gd name="connsiteX148" fmla="*/ 31080 w 85069"/>
                <a:gd name="connsiteY148" fmla="*/ 63561 h 85228"/>
                <a:gd name="connsiteX149" fmla="*/ 28389 w 85069"/>
                <a:gd name="connsiteY149" fmla="*/ 65599 h 85228"/>
                <a:gd name="connsiteX150" fmla="*/ 27389 w 85069"/>
                <a:gd name="connsiteY150" fmla="*/ 65594 h 85228"/>
                <a:gd name="connsiteX151" fmla="*/ 26126 w 85069"/>
                <a:gd name="connsiteY151" fmla="*/ 64811 h 85228"/>
                <a:gd name="connsiteX152" fmla="*/ 25502 w 85069"/>
                <a:gd name="connsiteY152" fmla="*/ 64043 h 85228"/>
                <a:gd name="connsiteX153" fmla="*/ 24120 w 85069"/>
                <a:gd name="connsiteY153" fmla="*/ 64481 h 85228"/>
                <a:gd name="connsiteX154" fmla="*/ 22878 w 85069"/>
                <a:gd name="connsiteY154" fmla="*/ 65427 h 85228"/>
                <a:gd name="connsiteX155" fmla="*/ 23304 w 85069"/>
                <a:gd name="connsiteY155" fmla="*/ 67203 h 85228"/>
                <a:gd name="connsiteX156" fmla="*/ 22634 w 85069"/>
                <a:gd name="connsiteY156" fmla="*/ 67528 h 85228"/>
                <a:gd name="connsiteX157" fmla="*/ 21104 w 85069"/>
                <a:gd name="connsiteY157" fmla="*/ 67366 h 85228"/>
                <a:gd name="connsiteX158" fmla="*/ 19372 w 85069"/>
                <a:gd name="connsiteY158" fmla="*/ 66634 h 85228"/>
                <a:gd name="connsiteX159" fmla="*/ 17441 w 85069"/>
                <a:gd name="connsiteY159" fmla="*/ 66193 h 85228"/>
                <a:gd name="connsiteX160" fmla="*/ 14515 w 85069"/>
                <a:gd name="connsiteY160" fmla="*/ 64968 h 85228"/>
                <a:gd name="connsiteX161" fmla="*/ 10432 w 85069"/>
                <a:gd name="connsiteY161" fmla="*/ 65962 h 85228"/>
                <a:gd name="connsiteX162" fmla="*/ 7594 w 85069"/>
                <a:gd name="connsiteY162" fmla="*/ 64772 h 85228"/>
                <a:gd name="connsiteX163" fmla="*/ 5236 w 85069"/>
                <a:gd name="connsiteY163" fmla="*/ 64654 h 85228"/>
                <a:gd name="connsiteX164" fmla="*/ 3768 w 85069"/>
                <a:gd name="connsiteY164" fmla="*/ 63706 h 85228"/>
                <a:gd name="connsiteX165" fmla="*/ 2185 w 85069"/>
                <a:gd name="connsiteY165" fmla="*/ 62102 h 85228"/>
                <a:gd name="connsiteX166" fmla="*/ 3306 w 85069"/>
                <a:gd name="connsiteY166" fmla="*/ 61046 h 85228"/>
                <a:gd name="connsiteX167" fmla="*/ 4390 w 85069"/>
                <a:gd name="connsiteY167" fmla="*/ 60680 h 85228"/>
                <a:gd name="connsiteX168" fmla="*/ 8709 w 85069"/>
                <a:gd name="connsiteY168" fmla="*/ 60476 h 85228"/>
                <a:gd name="connsiteX169" fmla="*/ 11850 w 85069"/>
                <a:gd name="connsiteY169" fmla="*/ 61118 h 85228"/>
                <a:gd name="connsiteX170" fmla="*/ 17495 w 85069"/>
                <a:gd name="connsiteY170" fmla="*/ 64600 h 85228"/>
                <a:gd name="connsiteX171" fmla="*/ 18920 w 85069"/>
                <a:gd name="connsiteY171" fmla="*/ 64573 h 85228"/>
                <a:gd name="connsiteX172" fmla="*/ 20432 w 85069"/>
                <a:gd name="connsiteY172" fmla="*/ 64134 h 85228"/>
                <a:gd name="connsiteX173" fmla="*/ 19663 w 85069"/>
                <a:gd name="connsiteY173" fmla="*/ 63185 h 85228"/>
                <a:gd name="connsiteX174" fmla="*/ 18251 w 85069"/>
                <a:gd name="connsiteY174" fmla="*/ 62733 h 85228"/>
                <a:gd name="connsiteX175" fmla="*/ 16150 w 85069"/>
                <a:gd name="connsiteY175" fmla="*/ 61797 h 85228"/>
                <a:gd name="connsiteX176" fmla="*/ 14476 w 85069"/>
                <a:gd name="connsiteY176" fmla="*/ 60482 h 85228"/>
                <a:gd name="connsiteX177" fmla="*/ 18408 w 85069"/>
                <a:gd name="connsiteY177" fmla="*/ 60056 h 85228"/>
                <a:gd name="connsiteX178" fmla="*/ 17864 w 85069"/>
                <a:gd name="connsiteY178" fmla="*/ 59375 h 85228"/>
                <a:gd name="connsiteX179" fmla="*/ 17346 w 85069"/>
                <a:gd name="connsiteY179" fmla="*/ 58213 h 85228"/>
                <a:gd name="connsiteX180" fmla="*/ 13196 w 85069"/>
                <a:gd name="connsiteY180" fmla="*/ 54156 h 85228"/>
                <a:gd name="connsiteX181" fmla="*/ 13904 w 85069"/>
                <a:gd name="connsiteY181" fmla="*/ 53057 h 85228"/>
                <a:gd name="connsiteX182" fmla="*/ 14947 w 85069"/>
                <a:gd name="connsiteY182" fmla="*/ 50697 h 85228"/>
                <a:gd name="connsiteX183" fmla="*/ 16247 w 85069"/>
                <a:gd name="connsiteY183" fmla="*/ 48735 h 85228"/>
                <a:gd name="connsiteX184" fmla="*/ 17283 w 85069"/>
                <a:gd name="connsiteY184" fmla="*/ 48209 h 85228"/>
                <a:gd name="connsiteX185" fmla="*/ 18987 w 85069"/>
                <a:gd name="connsiteY185" fmla="*/ 46816 h 85228"/>
                <a:gd name="connsiteX186" fmla="*/ 22691 w 85069"/>
                <a:gd name="connsiteY186" fmla="*/ 42733 h 85228"/>
                <a:gd name="connsiteX187" fmla="*/ 25046 w 85069"/>
                <a:gd name="connsiteY187" fmla="*/ 39401 h 85228"/>
                <a:gd name="connsiteX188" fmla="*/ 26800 w 85069"/>
                <a:gd name="connsiteY188" fmla="*/ 35438 h 85228"/>
                <a:gd name="connsiteX189" fmla="*/ 29369 w 85069"/>
                <a:gd name="connsiteY189" fmla="*/ 24495 h 85228"/>
                <a:gd name="connsiteX190" fmla="*/ 30130 w 85069"/>
                <a:gd name="connsiteY190" fmla="*/ 22631 h 85228"/>
                <a:gd name="connsiteX191" fmla="*/ 31369 w 85069"/>
                <a:gd name="connsiteY191" fmla="*/ 20562 h 85228"/>
                <a:gd name="connsiteX192" fmla="*/ 32924 w 85069"/>
                <a:gd name="connsiteY192" fmla="*/ 20952 h 85228"/>
                <a:gd name="connsiteX193" fmla="*/ 34006 w 85069"/>
                <a:gd name="connsiteY193" fmla="*/ 21548 h 85228"/>
                <a:gd name="connsiteX194" fmla="*/ 37837 w 85069"/>
                <a:gd name="connsiteY194" fmla="*/ 19984 h 85228"/>
                <a:gd name="connsiteX195" fmla="*/ 44408 w 85069"/>
                <a:gd name="connsiteY195" fmla="*/ 15914 h 85228"/>
                <a:gd name="connsiteX196" fmla="*/ 46344 w 85069"/>
                <a:gd name="connsiteY196" fmla="*/ 12387 h 85228"/>
                <a:gd name="connsiteX197" fmla="*/ 48247 w 85069"/>
                <a:gd name="connsiteY197" fmla="*/ 10746 h 85228"/>
                <a:gd name="connsiteX198" fmla="*/ 55798 w 85069"/>
                <a:gd name="connsiteY198" fmla="*/ 7544 h 85228"/>
                <a:gd name="connsiteX199" fmla="*/ 59970 w 85069"/>
                <a:gd name="connsiteY199" fmla="*/ 6584 h 85228"/>
                <a:gd name="connsiteX200" fmla="*/ 66405 w 85069"/>
                <a:gd name="connsiteY200" fmla="*/ 6337 h 85228"/>
                <a:gd name="connsiteX201" fmla="*/ 71056 w 85069"/>
                <a:gd name="connsiteY201" fmla="*/ 5765 h 85228"/>
                <a:gd name="connsiteX202" fmla="*/ 48808 w 85069"/>
                <a:gd name="connsiteY202" fmla="*/ 5486 h 85228"/>
                <a:gd name="connsiteX203" fmla="*/ 49365 w 85069"/>
                <a:gd name="connsiteY203" fmla="*/ 5650 h 85228"/>
                <a:gd name="connsiteX204" fmla="*/ 43686 w 85069"/>
                <a:gd name="connsiteY204" fmla="*/ 7226 h 85228"/>
                <a:gd name="connsiteX205" fmla="*/ 41626 w 85069"/>
                <a:gd name="connsiteY205" fmla="*/ 7466 h 85228"/>
                <a:gd name="connsiteX206" fmla="*/ 40689 w 85069"/>
                <a:gd name="connsiteY206" fmla="*/ 7044 h 85228"/>
                <a:gd name="connsiteX207" fmla="*/ 45662 w 85069"/>
                <a:gd name="connsiteY207" fmla="*/ 5850 h 85228"/>
                <a:gd name="connsiteX208" fmla="*/ 55859 w 85069"/>
                <a:gd name="connsiteY208" fmla="*/ 4536 h 85228"/>
                <a:gd name="connsiteX209" fmla="*/ 57008 w 85069"/>
                <a:gd name="connsiteY209" fmla="*/ 4840 h 85228"/>
                <a:gd name="connsiteX210" fmla="*/ 57031 w 85069"/>
                <a:gd name="connsiteY210" fmla="*/ 5026 h 85228"/>
                <a:gd name="connsiteX211" fmla="*/ 52669 w 85069"/>
                <a:gd name="connsiteY211" fmla="*/ 5514 h 85228"/>
                <a:gd name="connsiteX212" fmla="*/ 51194 w 85069"/>
                <a:gd name="connsiteY212" fmla="*/ 5145 h 85228"/>
                <a:gd name="connsiteX213" fmla="*/ 50951 w 85069"/>
                <a:gd name="connsiteY213" fmla="*/ 4795 h 85228"/>
                <a:gd name="connsiteX214" fmla="*/ 52140 w 85069"/>
                <a:gd name="connsiteY214" fmla="*/ 4587 h 85228"/>
                <a:gd name="connsiteX215" fmla="*/ 65028 w 85069"/>
                <a:gd name="connsiteY215" fmla="*/ 3334 h 85228"/>
                <a:gd name="connsiteX216" fmla="*/ 65967 w 85069"/>
                <a:gd name="connsiteY216" fmla="*/ 3462 h 85228"/>
                <a:gd name="connsiteX217" fmla="*/ 62868 w 85069"/>
                <a:gd name="connsiteY217" fmla="*/ 4484 h 85228"/>
                <a:gd name="connsiteX218" fmla="*/ 62117 w 85069"/>
                <a:gd name="connsiteY218" fmla="*/ 4270 h 85228"/>
                <a:gd name="connsiteX219" fmla="*/ 62302 w 85069"/>
                <a:gd name="connsiteY219" fmla="*/ 3974 h 85228"/>
                <a:gd name="connsiteX220" fmla="*/ 75280 w 85069"/>
                <a:gd name="connsiteY220" fmla="*/ 0 h 85228"/>
                <a:gd name="connsiteX221" fmla="*/ 76304 w 85069"/>
                <a:gd name="connsiteY221" fmla="*/ 0 h 85228"/>
                <a:gd name="connsiteX222" fmla="*/ 74842 w 85069"/>
                <a:gd name="connsiteY222" fmla="*/ 1297 h 85228"/>
                <a:gd name="connsiteX223" fmla="*/ 72793 w 85069"/>
                <a:gd name="connsiteY223" fmla="*/ 1397 h 85228"/>
                <a:gd name="connsiteX224" fmla="*/ 73378 w 85069"/>
                <a:gd name="connsiteY224" fmla="*/ 599 h 8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85069" h="85228">
                  <a:moveTo>
                    <a:pt x="5293" y="66254"/>
                  </a:moveTo>
                  <a:lnTo>
                    <a:pt x="8102" y="67143"/>
                  </a:lnTo>
                  <a:lnTo>
                    <a:pt x="11792" y="67572"/>
                  </a:lnTo>
                  <a:lnTo>
                    <a:pt x="14614" y="66356"/>
                  </a:lnTo>
                  <a:lnTo>
                    <a:pt x="16836" y="67392"/>
                  </a:lnTo>
                  <a:lnTo>
                    <a:pt x="19372" y="66634"/>
                  </a:lnTo>
                  <a:lnTo>
                    <a:pt x="19046" y="67741"/>
                  </a:lnTo>
                  <a:lnTo>
                    <a:pt x="18186" y="68963"/>
                  </a:lnTo>
                  <a:lnTo>
                    <a:pt x="15256" y="70722"/>
                  </a:lnTo>
                  <a:lnTo>
                    <a:pt x="12205" y="71876"/>
                  </a:lnTo>
                  <a:lnTo>
                    <a:pt x="10628" y="71732"/>
                  </a:lnTo>
                  <a:lnTo>
                    <a:pt x="9548" y="71128"/>
                  </a:lnTo>
                  <a:lnTo>
                    <a:pt x="8968" y="70494"/>
                  </a:lnTo>
                  <a:lnTo>
                    <a:pt x="7335" y="69883"/>
                  </a:lnTo>
                  <a:lnTo>
                    <a:pt x="5089" y="69576"/>
                  </a:lnTo>
                  <a:lnTo>
                    <a:pt x="3692" y="70237"/>
                  </a:lnTo>
                  <a:lnTo>
                    <a:pt x="2695" y="70863"/>
                  </a:lnTo>
                  <a:lnTo>
                    <a:pt x="1822" y="70760"/>
                  </a:lnTo>
                  <a:lnTo>
                    <a:pt x="1166" y="70237"/>
                  </a:lnTo>
                  <a:lnTo>
                    <a:pt x="663" y="69431"/>
                  </a:lnTo>
                  <a:lnTo>
                    <a:pt x="0" y="66892"/>
                  </a:lnTo>
                  <a:lnTo>
                    <a:pt x="1673" y="66428"/>
                  </a:lnTo>
                  <a:close/>
                  <a:moveTo>
                    <a:pt x="9706" y="56047"/>
                  </a:moveTo>
                  <a:lnTo>
                    <a:pt x="13246" y="56253"/>
                  </a:lnTo>
                  <a:lnTo>
                    <a:pt x="15405" y="57860"/>
                  </a:lnTo>
                  <a:lnTo>
                    <a:pt x="15865" y="58373"/>
                  </a:lnTo>
                  <a:lnTo>
                    <a:pt x="16031" y="58924"/>
                  </a:lnTo>
                  <a:lnTo>
                    <a:pt x="13287" y="59563"/>
                  </a:lnTo>
                  <a:lnTo>
                    <a:pt x="10369" y="57592"/>
                  </a:lnTo>
                  <a:lnTo>
                    <a:pt x="8441" y="58057"/>
                  </a:lnTo>
                  <a:lnTo>
                    <a:pt x="7715" y="57123"/>
                  </a:lnTo>
                  <a:lnTo>
                    <a:pt x="7704" y="56540"/>
                  </a:lnTo>
                  <a:close/>
                  <a:moveTo>
                    <a:pt x="33971" y="13310"/>
                  </a:moveTo>
                  <a:lnTo>
                    <a:pt x="33965" y="16687"/>
                  </a:lnTo>
                  <a:lnTo>
                    <a:pt x="31775" y="18811"/>
                  </a:lnTo>
                  <a:lnTo>
                    <a:pt x="30441" y="18218"/>
                  </a:lnTo>
                  <a:lnTo>
                    <a:pt x="30052" y="17726"/>
                  </a:lnTo>
                  <a:lnTo>
                    <a:pt x="30730" y="16070"/>
                  </a:lnTo>
                  <a:close/>
                  <a:moveTo>
                    <a:pt x="37081" y="9498"/>
                  </a:moveTo>
                  <a:lnTo>
                    <a:pt x="38884" y="9564"/>
                  </a:lnTo>
                  <a:lnTo>
                    <a:pt x="34796" y="11771"/>
                  </a:lnTo>
                  <a:lnTo>
                    <a:pt x="34446" y="11420"/>
                  </a:lnTo>
                  <a:close/>
                  <a:moveTo>
                    <a:pt x="76643" y="5558"/>
                  </a:moveTo>
                  <a:lnTo>
                    <a:pt x="78770" y="7538"/>
                  </a:lnTo>
                  <a:lnTo>
                    <a:pt x="80003" y="8984"/>
                  </a:lnTo>
                  <a:lnTo>
                    <a:pt x="81989" y="9787"/>
                  </a:lnTo>
                  <a:lnTo>
                    <a:pt x="85069" y="10338"/>
                  </a:lnTo>
                  <a:lnTo>
                    <a:pt x="84885" y="13193"/>
                  </a:lnTo>
                  <a:lnTo>
                    <a:pt x="84907" y="18820"/>
                  </a:lnTo>
                  <a:lnTo>
                    <a:pt x="84676" y="19817"/>
                  </a:lnTo>
                  <a:lnTo>
                    <a:pt x="83296" y="22186"/>
                  </a:lnTo>
                  <a:lnTo>
                    <a:pt x="81832" y="26435"/>
                  </a:lnTo>
                  <a:lnTo>
                    <a:pt x="81437" y="29222"/>
                  </a:lnTo>
                  <a:lnTo>
                    <a:pt x="80998" y="29753"/>
                  </a:lnTo>
                  <a:lnTo>
                    <a:pt x="75144" y="29737"/>
                  </a:lnTo>
                  <a:lnTo>
                    <a:pt x="74311" y="30220"/>
                  </a:lnTo>
                  <a:lnTo>
                    <a:pt x="74192" y="30822"/>
                  </a:lnTo>
                  <a:lnTo>
                    <a:pt x="74488" y="31539"/>
                  </a:lnTo>
                  <a:lnTo>
                    <a:pt x="74347" y="32252"/>
                  </a:lnTo>
                  <a:lnTo>
                    <a:pt x="73888" y="32832"/>
                  </a:lnTo>
                  <a:lnTo>
                    <a:pt x="74138" y="33753"/>
                  </a:lnTo>
                  <a:lnTo>
                    <a:pt x="75153" y="34800"/>
                  </a:lnTo>
                  <a:lnTo>
                    <a:pt x="77003" y="35447"/>
                  </a:lnTo>
                  <a:lnTo>
                    <a:pt x="78984" y="35506"/>
                  </a:lnTo>
                  <a:lnTo>
                    <a:pt x="80003" y="35393"/>
                  </a:lnTo>
                  <a:lnTo>
                    <a:pt x="80748" y="36139"/>
                  </a:lnTo>
                  <a:lnTo>
                    <a:pt x="81484" y="37291"/>
                  </a:lnTo>
                  <a:lnTo>
                    <a:pt x="81428" y="38738"/>
                  </a:lnTo>
                  <a:lnTo>
                    <a:pt x="81141" y="40682"/>
                  </a:lnTo>
                  <a:lnTo>
                    <a:pt x="80203" y="42476"/>
                  </a:lnTo>
                  <a:lnTo>
                    <a:pt x="77502" y="44542"/>
                  </a:lnTo>
                  <a:lnTo>
                    <a:pt x="76293" y="45270"/>
                  </a:lnTo>
                  <a:lnTo>
                    <a:pt x="75157" y="45641"/>
                  </a:lnTo>
                  <a:lnTo>
                    <a:pt x="74615" y="46187"/>
                  </a:lnTo>
                  <a:lnTo>
                    <a:pt x="74360" y="46878"/>
                  </a:lnTo>
                  <a:lnTo>
                    <a:pt x="74419" y="47491"/>
                  </a:lnTo>
                  <a:lnTo>
                    <a:pt x="76338" y="49147"/>
                  </a:lnTo>
                  <a:lnTo>
                    <a:pt x="76293" y="49525"/>
                  </a:lnTo>
                  <a:lnTo>
                    <a:pt x="75736" y="50385"/>
                  </a:lnTo>
                  <a:lnTo>
                    <a:pt x="74997" y="51194"/>
                  </a:lnTo>
                  <a:lnTo>
                    <a:pt x="70039" y="52876"/>
                  </a:lnTo>
                  <a:lnTo>
                    <a:pt x="67992" y="52744"/>
                  </a:lnTo>
                  <a:lnTo>
                    <a:pt x="66824" y="53581"/>
                  </a:lnTo>
                  <a:lnTo>
                    <a:pt x="66459" y="53740"/>
                  </a:lnTo>
                  <a:lnTo>
                    <a:pt x="65164" y="52971"/>
                  </a:lnTo>
                  <a:lnTo>
                    <a:pt x="62276" y="52084"/>
                  </a:lnTo>
                  <a:lnTo>
                    <a:pt x="61186" y="52390"/>
                  </a:lnTo>
                  <a:lnTo>
                    <a:pt x="60581" y="52876"/>
                  </a:lnTo>
                  <a:lnTo>
                    <a:pt x="58763" y="53465"/>
                  </a:lnTo>
                  <a:lnTo>
                    <a:pt x="57461" y="54388"/>
                  </a:lnTo>
                  <a:lnTo>
                    <a:pt x="57457" y="55576"/>
                  </a:lnTo>
                  <a:lnTo>
                    <a:pt x="59761" y="58645"/>
                  </a:lnTo>
                  <a:lnTo>
                    <a:pt x="60571" y="59247"/>
                  </a:lnTo>
                  <a:lnTo>
                    <a:pt x="60609" y="60391"/>
                  </a:lnTo>
                  <a:lnTo>
                    <a:pt x="61726" y="61827"/>
                  </a:lnTo>
                  <a:lnTo>
                    <a:pt x="62868" y="63626"/>
                  </a:lnTo>
                  <a:lnTo>
                    <a:pt x="62991" y="64769"/>
                  </a:lnTo>
                  <a:lnTo>
                    <a:pt x="62860" y="65926"/>
                  </a:lnTo>
                  <a:lnTo>
                    <a:pt x="62270" y="67562"/>
                  </a:lnTo>
                  <a:lnTo>
                    <a:pt x="60273" y="71394"/>
                  </a:lnTo>
                  <a:lnTo>
                    <a:pt x="60249" y="72129"/>
                  </a:lnTo>
                  <a:lnTo>
                    <a:pt x="60417" y="72687"/>
                  </a:lnTo>
                  <a:lnTo>
                    <a:pt x="61102" y="72841"/>
                  </a:lnTo>
                  <a:lnTo>
                    <a:pt x="61622" y="73130"/>
                  </a:lnTo>
                  <a:lnTo>
                    <a:pt x="61469" y="73640"/>
                  </a:lnTo>
                  <a:lnTo>
                    <a:pt x="57733" y="76293"/>
                  </a:lnTo>
                  <a:lnTo>
                    <a:pt x="57251" y="76757"/>
                  </a:lnTo>
                  <a:lnTo>
                    <a:pt x="55684" y="76626"/>
                  </a:lnTo>
                  <a:lnTo>
                    <a:pt x="55444" y="77069"/>
                  </a:lnTo>
                  <a:lnTo>
                    <a:pt x="55658" y="77784"/>
                  </a:lnTo>
                  <a:lnTo>
                    <a:pt x="56267" y="78410"/>
                  </a:lnTo>
                  <a:lnTo>
                    <a:pt x="57601" y="78740"/>
                  </a:lnTo>
                  <a:lnTo>
                    <a:pt x="58746" y="79411"/>
                  </a:lnTo>
                  <a:lnTo>
                    <a:pt x="59666" y="80726"/>
                  </a:lnTo>
                  <a:lnTo>
                    <a:pt x="58461" y="85228"/>
                  </a:lnTo>
                  <a:lnTo>
                    <a:pt x="54114" y="85109"/>
                  </a:lnTo>
                  <a:lnTo>
                    <a:pt x="53002" y="84963"/>
                  </a:lnTo>
                  <a:lnTo>
                    <a:pt x="51821" y="84523"/>
                  </a:lnTo>
                  <a:lnTo>
                    <a:pt x="51818" y="84520"/>
                  </a:lnTo>
                  <a:lnTo>
                    <a:pt x="51278" y="83611"/>
                  </a:lnTo>
                  <a:lnTo>
                    <a:pt x="50622" y="82514"/>
                  </a:lnTo>
                  <a:lnTo>
                    <a:pt x="50801" y="81842"/>
                  </a:lnTo>
                  <a:lnTo>
                    <a:pt x="52771" y="79931"/>
                  </a:lnTo>
                  <a:lnTo>
                    <a:pt x="53067" y="79403"/>
                  </a:lnTo>
                  <a:lnTo>
                    <a:pt x="52864" y="79120"/>
                  </a:lnTo>
                  <a:lnTo>
                    <a:pt x="53062" y="78278"/>
                  </a:lnTo>
                  <a:lnTo>
                    <a:pt x="54576" y="75424"/>
                  </a:lnTo>
                  <a:lnTo>
                    <a:pt x="54772" y="74277"/>
                  </a:lnTo>
                  <a:lnTo>
                    <a:pt x="54095" y="73474"/>
                  </a:lnTo>
                  <a:lnTo>
                    <a:pt x="53118" y="72994"/>
                  </a:lnTo>
                  <a:lnTo>
                    <a:pt x="49944" y="72146"/>
                  </a:lnTo>
                  <a:lnTo>
                    <a:pt x="48433" y="70949"/>
                  </a:lnTo>
                  <a:lnTo>
                    <a:pt x="47733" y="69903"/>
                  </a:lnTo>
                  <a:lnTo>
                    <a:pt x="47027" y="69609"/>
                  </a:lnTo>
                  <a:lnTo>
                    <a:pt x="45986" y="69962"/>
                  </a:lnTo>
                  <a:lnTo>
                    <a:pt x="43356" y="70351"/>
                  </a:lnTo>
                  <a:lnTo>
                    <a:pt x="41218" y="69787"/>
                  </a:lnTo>
                  <a:lnTo>
                    <a:pt x="38692" y="67807"/>
                  </a:lnTo>
                  <a:lnTo>
                    <a:pt x="38106" y="66036"/>
                  </a:lnTo>
                  <a:lnTo>
                    <a:pt x="37798" y="64677"/>
                  </a:lnTo>
                  <a:lnTo>
                    <a:pt x="37167" y="64208"/>
                  </a:lnTo>
                  <a:lnTo>
                    <a:pt x="36319" y="64905"/>
                  </a:lnTo>
                  <a:lnTo>
                    <a:pt x="35243" y="66009"/>
                  </a:lnTo>
                  <a:lnTo>
                    <a:pt x="33123" y="66141"/>
                  </a:lnTo>
                  <a:lnTo>
                    <a:pt x="32518" y="65883"/>
                  </a:lnTo>
                  <a:lnTo>
                    <a:pt x="32414" y="65274"/>
                  </a:lnTo>
                  <a:lnTo>
                    <a:pt x="32293" y="64689"/>
                  </a:lnTo>
                  <a:lnTo>
                    <a:pt x="31710" y="63964"/>
                  </a:lnTo>
                  <a:lnTo>
                    <a:pt x="31080" y="63561"/>
                  </a:lnTo>
                  <a:lnTo>
                    <a:pt x="28389" y="65599"/>
                  </a:lnTo>
                  <a:lnTo>
                    <a:pt x="27389" y="65594"/>
                  </a:lnTo>
                  <a:lnTo>
                    <a:pt x="26126" y="64811"/>
                  </a:lnTo>
                  <a:lnTo>
                    <a:pt x="25502" y="64043"/>
                  </a:lnTo>
                  <a:lnTo>
                    <a:pt x="24120" y="64481"/>
                  </a:lnTo>
                  <a:lnTo>
                    <a:pt x="22878" y="65427"/>
                  </a:lnTo>
                  <a:lnTo>
                    <a:pt x="23304" y="67203"/>
                  </a:lnTo>
                  <a:lnTo>
                    <a:pt x="22634" y="67528"/>
                  </a:lnTo>
                  <a:lnTo>
                    <a:pt x="21104" y="67366"/>
                  </a:lnTo>
                  <a:lnTo>
                    <a:pt x="19372" y="66634"/>
                  </a:lnTo>
                  <a:lnTo>
                    <a:pt x="17441" y="66193"/>
                  </a:lnTo>
                  <a:lnTo>
                    <a:pt x="14515" y="64968"/>
                  </a:lnTo>
                  <a:lnTo>
                    <a:pt x="10432" y="65962"/>
                  </a:lnTo>
                  <a:lnTo>
                    <a:pt x="7594" y="64772"/>
                  </a:lnTo>
                  <a:lnTo>
                    <a:pt x="5236" y="64654"/>
                  </a:lnTo>
                  <a:lnTo>
                    <a:pt x="3768" y="63706"/>
                  </a:lnTo>
                  <a:lnTo>
                    <a:pt x="2185" y="62102"/>
                  </a:lnTo>
                  <a:lnTo>
                    <a:pt x="3306" y="61046"/>
                  </a:lnTo>
                  <a:lnTo>
                    <a:pt x="4390" y="60680"/>
                  </a:lnTo>
                  <a:lnTo>
                    <a:pt x="8709" y="60476"/>
                  </a:lnTo>
                  <a:lnTo>
                    <a:pt x="11850" y="61118"/>
                  </a:lnTo>
                  <a:lnTo>
                    <a:pt x="17495" y="64600"/>
                  </a:lnTo>
                  <a:lnTo>
                    <a:pt x="18920" y="64573"/>
                  </a:lnTo>
                  <a:lnTo>
                    <a:pt x="20432" y="64134"/>
                  </a:lnTo>
                  <a:lnTo>
                    <a:pt x="19663" y="63185"/>
                  </a:lnTo>
                  <a:lnTo>
                    <a:pt x="18251" y="62733"/>
                  </a:lnTo>
                  <a:lnTo>
                    <a:pt x="16150" y="61797"/>
                  </a:lnTo>
                  <a:lnTo>
                    <a:pt x="14476" y="60482"/>
                  </a:lnTo>
                  <a:lnTo>
                    <a:pt x="18408" y="60056"/>
                  </a:lnTo>
                  <a:lnTo>
                    <a:pt x="17864" y="59375"/>
                  </a:lnTo>
                  <a:lnTo>
                    <a:pt x="17346" y="58213"/>
                  </a:lnTo>
                  <a:lnTo>
                    <a:pt x="13196" y="54156"/>
                  </a:lnTo>
                  <a:lnTo>
                    <a:pt x="13904" y="53057"/>
                  </a:lnTo>
                  <a:lnTo>
                    <a:pt x="14947" y="50697"/>
                  </a:lnTo>
                  <a:lnTo>
                    <a:pt x="16247" y="48735"/>
                  </a:lnTo>
                  <a:lnTo>
                    <a:pt x="17283" y="48209"/>
                  </a:lnTo>
                  <a:lnTo>
                    <a:pt x="18987" y="46816"/>
                  </a:lnTo>
                  <a:lnTo>
                    <a:pt x="22691" y="42733"/>
                  </a:lnTo>
                  <a:lnTo>
                    <a:pt x="25046" y="39401"/>
                  </a:lnTo>
                  <a:lnTo>
                    <a:pt x="26800" y="35438"/>
                  </a:lnTo>
                  <a:lnTo>
                    <a:pt x="29369" y="24495"/>
                  </a:lnTo>
                  <a:lnTo>
                    <a:pt x="30130" y="22631"/>
                  </a:lnTo>
                  <a:lnTo>
                    <a:pt x="31369" y="20562"/>
                  </a:lnTo>
                  <a:lnTo>
                    <a:pt x="32924" y="20952"/>
                  </a:lnTo>
                  <a:lnTo>
                    <a:pt x="34006" y="21548"/>
                  </a:lnTo>
                  <a:lnTo>
                    <a:pt x="37837" y="19984"/>
                  </a:lnTo>
                  <a:lnTo>
                    <a:pt x="44408" y="15914"/>
                  </a:lnTo>
                  <a:lnTo>
                    <a:pt x="46344" y="12387"/>
                  </a:lnTo>
                  <a:lnTo>
                    <a:pt x="48247" y="10746"/>
                  </a:lnTo>
                  <a:lnTo>
                    <a:pt x="55798" y="7544"/>
                  </a:lnTo>
                  <a:lnTo>
                    <a:pt x="59970" y="6584"/>
                  </a:lnTo>
                  <a:lnTo>
                    <a:pt x="66405" y="6337"/>
                  </a:lnTo>
                  <a:lnTo>
                    <a:pt x="71056" y="5765"/>
                  </a:lnTo>
                  <a:close/>
                  <a:moveTo>
                    <a:pt x="48808" y="5486"/>
                  </a:moveTo>
                  <a:lnTo>
                    <a:pt x="49365" y="5650"/>
                  </a:lnTo>
                  <a:lnTo>
                    <a:pt x="43686" y="7226"/>
                  </a:lnTo>
                  <a:lnTo>
                    <a:pt x="41626" y="7466"/>
                  </a:lnTo>
                  <a:lnTo>
                    <a:pt x="40689" y="7044"/>
                  </a:lnTo>
                  <a:lnTo>
                    <a:pt x="45662" y="5850"/>
                  </a:lnTo>
                  <a:close/>
                  <a:moveTo>
                    <a:pt x="55859" y="4536"/>
                  </a:moveTo>
                  <a:lnTo>
                    <a:pt x="57008" y="4840"/>
                  </a:lnTo>
                  <a:lnTo>
                    <a:pt x="57031" y="5026"/>
                  </a:lnTo>
                  <a:lnTo>
                    <a:pt x="52669" y="5514"/>
                  </a:lnTo>
                  <a:lnTo>
                    <a:pt x="51194" y="5145"/>
                  </a:lnTo>
                  <a:lnTo>
                    <a:pt x="50951" y="4795"/>
                  </a:lnTo>
                  <a:lnTo>
                    <a:pt x="52140" y="4587"/>
                  </a:lnTo>
                  <a:close/>
                  <a:moveTo>
                    <a:pt x="65028" y="3334"/>
                  </a:moveTo>
                  <a:lnTo>
                    <a:pt x="65967" y="3462"/>
                  </a:lnTo>
                  <a:lnTo>
                    <a:pt x="62868" y="4484"/>
                  </a:lnTo>
                  <a:lnTo>
                    <a:pt x="62117" y="4270"/>
                  </a:lnTo>
                  <a:lnTo>
                    <a:pt x="62302" y="3974"/>
                  </a:lnTo>
                  <a:close/>
                  <a:moveTo>
                    <a:pt x="75280" y="0"/>
                  </a:moveTo>
                  <a:lnTo>
                    <a:pt x="76304" y="0"/>
                  </a:lnTo>
                  <a:lnTo>
                    <a:pt x="74842" y="1297"/>
                  </a:lnTo>
                  <a:lnTo>
                    <a:pt x="72793" y="1397"/>
                  </a:lnTo>
                  <a:lnTo>
                    <a:pt x="73378" y="59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9" name="ee4p_NO_1_15912">
              <a:extLst>
                <a:ext uri="{FF2B5EF4-FFF2-40B4-BE49-F238E27FC236}">
                  <a16:creationId xmlns:a16="http://schemas.microsoft.com/office/drawing/2014/main" id="{D6F7CAAB-E4ED-7FDD-CBE2-22DF064FB6BB}"/>
                </a:ext>
              </a:extLst>
            </p:cNvPr>
            <p:cNvSpPr>
              <a:spLocks noChangeAspect="1"/>
            </p:cNvSpPr>
            <p:nvPr>
              <p:custDataLst>
                <p:tags r:id="rId51"/>
              </p:custDataLst>
            </p:nvPr>
          </p:nvSpPr>
          <p:spPr>
            <a:xfrm>
              <a:off x="4192379" y="1700213"/>
              <a:ext cx="2293260" cy="1865356"/>
            </a:xfrm>
            <a:custGeom>
              <a:avLst/>
              <a:gdLst>
                <a:gd name="connsiteX0" fmla="*/ 4236 w 578488"/>
                <a:gd name="connsiteY0" fmla="*/ 391131 h 470547"/>
                <a:gd name="connsiteX1" fmla="*/ 5553 w 578488"/>
                <a:gd name="connsiteY1" fmla="*/ 393229 h 470547"/>
                <a:gd name="connsiteX2" fmla="*/ 6342 w 578488"/>
                <a:gd name="connsiteY2" fmla="*/ 395934 h 470547"/>
                <a:gd name="connsiteX3" fmla="*/ 6413 w 578488"/>
                <a:gd name="connsiteY3" fmla="*/ 399875 h 470547"/>
                <a:gd name="connsiteX4" fmla="*/ 4376 w 578488"/>
                <a:gd name="connsiteY4" fmla="*/ 399577 h 470547"/>
                <a:gd name="connsiteX5" fmla="*/ 3461 w 578488"/>
                <a:gd name="connsiteY5" fmla="*/ 398066 h 470547"/>
                <a:gd name="connsiteX6" fmla="*/ 3196 w 578488"/>
                <a:gd name="connsiteY6" fmla="*/ 397101 h 470547"/>
                <a:gd name="connsiteX7" fmla="*/ 3355 w 578488"/>
                <a:gd name="connsiteY7" fmla="*/ 394818 h 470547"/>
                <a:gd name="connsiteX8" fmla="*/ 2897 w 578488"/>
                <a:gd name="connsiteY8" fmla="*/ 392461 h 470547"/>
                <a:gd name="connsiteX9" fmla="*/ 3498 w 578488"/>
                <a:gd name="connsiteY9" fmla="*/ 391290 h 470547"/>
                <a:gd name="connsiteX10" fmla="*/ 2573 w 578488"/>
                <a:gd name="connsiteY10" fmla="*/ 366113 h 470547"/>
                <a:gd name="connsiteX11" fmla="*/ 3852 w 578488"/>
                <a:gd name="connsiteY11" fmla="*/ 367834 h 470547"/>
                <a:gd name="connsiteX12" fmla="*/ 3530 w 578488"/>
                <a:gd name="connsiteY12" fmla="*/ 369975 h 470547"/>
                <a:gd name="connsiteX13" fmla="*/ 1572 w 578488"/>
                <a:gd name="connsiteY13" fmla="*/ 370400 h 470547"/>
                <a:gd name="connsiteX14" fmla="*/ 0 w 578488"/>
                <a:gd name="connsiteY14" fmla="*/ 370038 h 470547"/>
                <a:gd name="connsiteX15" fmla="*/ 561 w 578488"/>
                <a:gd name="connsiteY15" fmla="*/ 366825 h 470547"/>
                <a:gd name="connsiteX16" fmla="*/ 1384 w 578488"/>
                <a:gd name="connsiteY16" fmla="*/ 366299 h 470547"/>
                <a:gd name="connsiteX17" fmla="*/ 72406 w 578488"/>
                <a:gd name="connsiteY17" fmla="*/ 288176 h 470547"/>
                <a:gd name="connsiteX18" fmla="*/ 73790 w 578488"/>
                <a:gd name="connsiteY18" fmla="*/ 289555 h 470547"/>
                <a:gd name="connsiteX19" fmla="*/ 73896 w 578488"/>
                <a:gd name="connsiteY19" fmla="*/ 291823 h 470547"/>
                <a:gd name="connsiteX20" fmla="*/ 73052 w 578488"/>
                <a:gd name="connsiteY20" fmla="*/ 292828 h 470547"/>
                <a:gd name="connsiteX21" fmla="*/ 70884 w 578488"/>
                <a:gd name="connsiteY21" fmla="*/ 292852 h 470547"/>
                <a:gd name="connsiteX22" fmla="*/ 68309 w 578488"/>
                <a:gd name="connsiteY22" fmla="*/ 292314 h 470547"/>
                <a:gd name="connsiteX23" fmla="*/ 66697 w 578488"/>
                <a:gd name="connsiteY23" fmla="*/ 291172 h 470547"/>
                <a:gd name="connsiteX24" fmla="*/ 66446 w 578488"/>
                <a:gd name="connsiteY24" fmla="*/ 290164 h 470547"/>
                <a:gd name="connsiteX25" fmla="*/ 69417 w 578488"/>
                <a:gd name="connsiteY25" fmla="*/ 288910 h 470547"/>
                <a:gd name="connsiteX26" fmla="*/ 87688 w 578488"/>
                <a:gd name="connsiteY26" fmla="*/ 276468 h 470547"/>
                <a:gd name="connsiteX27" fmla="*/ 88672 w 578488"/>
                <a:gd name="connsiteY27" fmla="*/ 277636 h 470547"/>
                <a:gd name="connsiteX28" fmla="*/ 88798 w 578488"/>
                <a:gd name="connsiteY28" fmla="*/ 279233 h 470547"/>
                <a:gd name="connsiteX29" fmla="*/ 88172 w 578488"/>
                <a:gd name="connsiteY29" fmla="*/ 280023 h 470547"/>
                <a:gd name="connsiteX30" fmla="*/ 81190 w 578488"/>
                <a:gd name="connsiteY30" fmla="*/ 281299 h 470547"/>
                <a:gd name="connsiteX31" fmla="*/ 78655 w 578488"/>
                <a:gd name="connsiteY31" fmla="*/ 281381 h 470547"/>
                <a:gd name="connsiteX32" fmla="*/ 77129 w 578488"/>
                <a:gd name="connsiteY32" fmla="*/ 280596 h 470547"/>
                <a:gd name="connsiteX33" fmla="*/ 80758 w 578488"/>
                <a:gd name="connsiteY33" fmla="*/ 279027 h 470547"/>
                <a:gd name="connsiteX34" fmla="*/ 86455 w 578488"/>
                <a:gd name="connsiteY34" fmla="*/ 277535 h 470547"/>
                <a:gd name="connsiteX35" fmla="*/ 86997 w 578488"/>
                <a:gd name="connsiteY35" fmla="*/ 276585 h 470547"/>
                <a:gd name="connsiteX36" fmla="*/ 137580 w 578488"/>
                <a:gd name="connsiteY36" fmla="*/ 234750 h 470547"/>
                <a:gd name="connsiteX37" fmla="*/ 140049 w 578488"/>
                <a:gd name="connsiteY37" fmla="*/ 234842 h 470547"/>
                <a:gd name="connsiteX38" fmla="*/ 142560 w 578488"/>
                <a:gd name="connsiteY38" fmla="*/ 237291 h 470547"/>
                <a:gd name="connsiteX39" fmla="*/ 142234 w 578488"/>
                <a:gd name="connsiteY39" fmla="*/ 238798 h 470547"/>
                <a:gd name="connsiteX40" fmla="*/ 141074 w 578488"/>
                <a:gd name="connsiteY40" fmla="*/ 239795 h 470547"/>
                <a:gd name="connsiteX41" fmla="*/ 138498 w 578488"/>
                <a:gd name="connsiteY41" fmla="*/ 238994 h 470547"/>
                <a:gd name="connsiteX42" fmla="*/ 133413 w 578488"/>
                <a:gd name="connsiteY42" fmla="*/ 239613 h 470547"/>
                <a:gd name="connsiteX43" fmla="*/ 131364 w 578488"/>
                <a:gd name="connsiteY43" fmla="*/ 238638 h 470547"/>
                <a:gd name="connsiteX44" fmla="*/ 132992 w 578488"/>
                <a:gd name="connsiteY44" fmla="*/ 236741 h 470547"/>
                <a:gd name="connsiteX45" fmla="*/ 156473 w 578488"/>
                <a:gd name="connsiteY45" fmla="*/ 208471 h 470547"/>
                <a:gd name="connsiteX46" fmla="*/ 158617 w 578488"/>
                <a:gd name="connsiteY46" fmla="*/ 208629 h 470547"/>
                <a:gd name="connsiteX47" fmla="*/ 159300 w 578488"/>
                <a:gd name="connsiteY47" fmla="*/ 209433 h 470547"/>
                <a:gd name="connsiteX48" fmla="*/ 158520 w 578488"/>
                <a:gd name="connsiteY48" fmla="*/ 211357 h 470547"/>
                <a:gd name="connsiteX49" fmla="*/ 157058 w 578488"/>
                <a:gd name="connsiteY49" fmla="*/ 212476 h 470547"/>
                <a:gd name="connsiteX50" fmla="*/ 154327 w 578488"/>
                <a:gd name="connsiteY50" fmla="*/ 212155 h 470547"/>
                <a:gd name="connsiteX51" fmla="*/ 154035 w 578488"/>
                <a:gd name="connsiteY51" fmla="*/ 211196 h 470547"/>
                <a:gd name="connsiteX52" fmla="*/ 154815 w 578488"/>
                <a:gd name="connsiteY52" fmla="*/ 209272 h 470547"/>
                <a:gd name="connsiteX53" fmla="*/ 175748 w 578488"/>
                <a:gd name="connsiteY53" fmla="*/ 197328 h 470547"/>
                <a:gd name="connsiteX54" fmla="*/ 176449 w 578488"/>
                <a:gd name="connsiteY54" fmla="*/ 198048 h 470547"/>
                <a:gd name="connsiteX55" fmla="*/ 175119 w 578488"/>
                <a:gd name="connsiteY55" fmla="*/ 199065 h 470547"/>
                <a:gd name="connsiteX56" fmla="*/ 170496 w 578488"/>
                <a:gd name="connsiteY56" fmla="*/ 201327 h 470547"/>
                <a:gd name="connsiteX57" fmla="*/ 168725 w 578488"/>
                <a:gd name="connsiteY57" fmla="*/ 201432 h 470547"/>
                <a:gd name="connsiteX58" fmla="*/ 168740 w 578488"/>
                <a:gd name="connsiteY58" fmla="*/ 199939 h 470547"/>
                <a:gd name="connsiteX59" fmla="*/ 169755 w 578488"/>
                <a:gd name="connsiteY59" fmla="*/ 198582 h 470547"/>
                <a:gd name="connsiteX60" fmla="*/ 171364 w 578488"/>
                <a:gd name="connsiteY60" fmla="*/ 197674 h 470547"/>
                <a:gd name="connsiteX61" fmla="*/ 173433 w 578488"/>
                <a:gd name="connsiteY61" fmla="*/ 197432 h 470547"/>
                <a:gd name="connsiteX62" fmla="*/ 170891 w 578488"/>
                <a:gd name="connsiteY62" fmla="*/ 190029 h 470547"/>
                <a:gd name="connsiteX63" fmla="*/ 172956 w 578488"/>
                <a:gd name="connsiteY63" fmla="*/ 191226 h 470547"/>
                <a:gd name="connsiteX64" fmla="*/ 172996 w 578488"/>
                <a:gd name="connsiteY64" fmla="*/ 193260 h 470547"/>
                <a:gd name="connsiteX65" fmla="*/ 171973 w 578488"/>
                <a:gd name="connsiteY65" fmla="*/ 195112 h 470547"/>
                <a:gd name="connsiteX66" fmla="*/ 168514 w 578488"/>
                <a:gd name="connsiteY66" fmla="*/ 196161 h 470547"/>
                <a:gd name="connsiteX67" fmla="*/ 166467 w 578488"/>
                <a:gd name="connsiteY67" fmla="*/ 196404 h 470547"/>
                <a:gd name="connsiteX68" fmla="*/ 166808 w 578488"/>
                <a:gd name="connsiteY68" fmla="*/ 194788 h 470547"/>
                <a:gd name="connsiteX69" fmla="*/ 168464 w 578488"/>
                <a:gd name="connsiteY69" fmla="*/ 193253 h 470547"/>
                <a:gd name="connsiteX70" fmla="*/ 169099 w 578488"/>
                <a:gd name="connsiteY70" fmla="*/ 192202 h 470547"/>
                <a:gd name="connsiteX71" fmla="*/ 169429 w 578488"/>
                <a:gd name="connsiteY71" fmla="*/ 190966 h 470547"/>
                <a:gd name="connsiteX72" fmla="*/ 182845 w 578488"/>
                <a:gd name="connsiteY72" fmla="*/ 120497 h 470547"/>
                <a:gd name="connsiteX73" fmla="*/ 184057 w 578488"/>
                <a:gd name="connsiteY73" fmla="*/ 121330 h 470547"/>
                <a:gd name="connsiteX74" fmla="*/ 183502 w 578488"/>
                <a:gd name="connsiteY74" fmla="*/ 123106 h 470547"/>
                <a:gd name="connsiteX75" fmla="*/ 183513 w 578488"/>
                <a:gd name="connsiteY75" fmla="*/ 124862 h 470547"/>
                <a:gd name="connsiteX76" fmla="*/ 182990 w 578488"/>
                <a:gd name="connsiteY76" fmla="*/ 125692 h 470547"/>
                <a:gd name="connsiteX77" fmla="*/ 180716 w 578488"/>
                <a:gd name="connsiteY77" fmla="*/ 127984 h 470547"/>
                <a:gd name="connsiteX78" fmla="*/ 177449 w 578488"/>
                <a:gd name="connsiteY78" fmla="*/ 129987 h 470547"/>
                <a:gd name="connsiteX79" fmla="*/ 178641 w 578488"/>
                <a:gd name="connsiteY79" fmla="*/ 126329 h 470547"/>
                <a:gd name="connsiteX80" fmla="*/ 180405 w 578488"/>
                <a:gd name="connsiteY80" fmla="*/ 122620 h 470547"/>
                <a:gd name="connsiteX81" fmla="*/ 198678 w 578488"/>
                <a:gd name="connsiteY81" fmla="*/ 112691 h 470547"/>
                <a:gd name="connsiteX82" fmla="*/ 200641 w 578488"/>
                <a:gd name="connsiteY82" fmla="*/ 113103 h 470547"/>
                <a:gd name="connsiteX83" fmla="*/ 201956 w 578488"/>
                <a:gd name="connsiteY83" fmla="*/ 113756 h 470547"/>
                <a:gd name="connsiteX84" fmla="*/ 205392 w 578488"/>
                <a:gd name="connsiteY84" fmla="*/ 113566 h 470547"/>
                <a:gd name="connsiteX85" fmla="*/ 206080 w 578488"/>
                <a:gd name="connsiteY85" fmla="*/ 113810 h 470547"/>
                <a:gd name="connsiteX86" fmla="*/ 205592 w 578488"/>
                <a:gd name="connsiteY86" fmla="*/ 114887 h 470547"/>
                <a:gd name="connsiteX87" fmla="*/ 204100 w 578488"/>
                <a:gd name="connsiteY87" fmla="*/ 116071 h 470547"/>
                <a:gd name="connsiteX88" fmla="*/ 200969 w 578488"/>
                <a:gd name="connsiteY88" fmla="*/ 116797 h 470547"/>
                <a:gd name="connsiteX89" fmla="*/ 199561 w 578488"/>
                <a:gd name="connsiteY89" fmla="*/ 118603 h 470547"/>
                <a:gd name="connsiteX90" fmla="*/ 198553 w 578488"/>
                <a:gd name="connsiteY90" fmla="*/ 119216 h 470547"/>
                <a:gd name="connsiteX91" fmla="*/ 195849 w 578488"/>
                <a:gd name="connsiteY91" fmla="*/ 119224 h 470547"/>
                <a:gd name="connsiteX92" fmla="*/ 194254 w 578488"/>
                <a:gd name="connsiteY92" fmla="*/ 119640 h 470547"/>
                <a:gd name="connsiteX93" fmla="*/ 192291 w 578488"/>
                <a:gd name="connsiteY93" fmla="*/ 121245 h 470547"/>
                <a:gd name="connsiteX94" fmla="*/ 190721 w 578488"/>
                <a:gd name="connsiteY94" fmla="*/ 120062 h 470547"/>
                <a:gd name="connsiteX95" fmla="*/ 190283 w 578488"/>
                <a:gd name="connsiteY95" fmla="*/ 120902 h 470547"/>
                <a:gd name="connsiteX96" fmla="*/ 189997 w 578488"/>
                <a:gd name="connsiteY96" fmla="*/ 122401 h 470547"/>
                <a:gd name="connsiteX97" fmla="*/ 189125 w 578488"/>
                <a:gd name="connsiteY97" fmla="*/ 122841 h 470547"/>
                <a:gd name="connsiteX98" fmla="*/ 186413 w 578488"/>
                <a:gd name="connsiteY98" fmla="*/ 123384 h 470547"/>
                <a:gd name="connsiteX99" fmla="*/ 185752 w 578488"/>
                <a:gd name="connsiteY99" fmla="*/ 119891 h 470547"/>
                <a:gd name="connsiteX100" fmla="*/ 187000 w 578488"/>
                <a:gd name="connsiteY100" fmla="*/ 118622 h 470547"/>
                <a:gd name="connsiteX101" fmla="*/ 187978 w 578488"/>
                <a:gd name="connsiteY101" fmla="*/ 117104 h 470547"/>
                <a:gd name="connsiteX102" fmla="*/ 189477 w 578488"/>
                <a:gd name="connsiteY102" fmla="*/ 116872 h 470547"/>
                <a:gd name="connsiteX103" fmla="*/ 190820 w 578488"/>
                <a:gd name="connsiteY103" fmla="*/ 116998 h 470547"/>
                <a:gd name="connsiteX104" fmla="*/ 193237 w 578488"/>
                <a:gd name="connsiteY104" fmla="*/ 113726 h 470547"/>
                <a:gd name="connsiteX105" fmla="*/ 196547 w 578488"/>
                <a:gd name="connsiteY105" fmla="*/ 112796 h 470547"/>
                <a:gd name="connsiteX106" fmla="*/ 227817 w 578488"/>
                <a:gd name="connsiteY106" fmla="*/ 84536 h 470547"/>
                <a:gd name="connsiteX107" fmla="*/ 228398 w 578488"/>
                <a:gd name="connsiteY107" fmla="*/ 84693 h 470547"/>
                <a:gd name="connsiteX108" fmla="*/ 229447 w 578488"/>
                <a:gd name="connsiteY108" fmla="*/ 85561 h 470547"/>
                <a:gd name="connsiteX109" fmla="*/ 230145 w 578488"/>
                <a:gd name="connsiteY109" fmla="*/ 87049 h 470547"/>
                <a:gd name="connsiteX110" fmla="*/ 233021 w 578488"/>
                <a:gd name="connsiteY110" fmla="*/ 90942 h 470547"/>
                <a:gd name="connsiteX111" fmla="*/ 234334 w 578488"/>
                <a:gd name="connsiteY111" fmla="*/ 93213 h 470547"/>
                <a:gd name="connsiteX112" fmla="*/ 233269 w 578488"/>
                <a:gd name="connsiteY112" fmla="*/ 97497 h 470547"/>
                <a:gd name="connsiteX113" fmla="*/ 230475 w 578488"/>
                <a:gd name="connsiteY113" fmla="*/ 99655 h 470547"/>
                <a:gd name="connsiteX114" fmla="*/ 226163 w 578488"/>
                <a:gd name="connsiteY114" fmla="*/ 100039 h 470547"/>
                <a:gd name="connsiteX115" fmla="*/ 223138 w 578488"/>
                <a:gd name="connsiteY115" fmla="*/ 99860 h 470547"/>
                <a:gd name="connsiteX116" fmla="*/ 221231 w 578488"/>
                <a:gd name="connsiteY116" fmla="*/ 98822 h 470547"/>
                <a:gd name="connsiteX117" fmla="*/ 220993 w 578488"/>
                <a:gd name="connsiteY117" fmla="*/ 97657 h 470547"/>
                <a:gd name="connsiteX118" fmla="*/ 219892 w 578488"/>
                <a:gd name="connsiteY118" fmla="*/ 97313 h 470547"/>
                <a:gd name="connsiteX119" fmla="*/ 216987 w 578488"/>
                <a:gd name="connsiteY119" fmla="*/ 98809 h 470547"/>
                <a:gd name="connsiteX120" fmla="*/ 214969 w 578488"/>
                <a:gd name="connsiteY120" fmla="*/ 99011 h 470547"/>
                <a:gd name="connsiteX121" fmla="*/ 212401 w 578488"/>
                <a:gd name="connsiteY121" fmla="*/ 97851 h 470547"/>
                <a:gd name="connsiteX122" fmla="*/ 211710 w 578488"/>
                <a:gd name="connsiteY122" fmla="*/ 95995 h 470547"/>
                <a:gd name="connsiteX123" fmla="*/ 214435 w 578488"/>
                <a:gd name="connsiteY123" fmla="*/ 93665 h 470547"/>
                <a:gd name="connsiteX124" fmla="*/ 215696 w 578488"/>
                <a:gd name="connsiteY124" fmla="*/ 91852 h 470547"/>
                <a:gd name="connsiteX125" fmla="*/ 218720 w 578488"/>
                <a:gd name="connsiteY125" fmla="*/ 92012 h 470547"/>
                <a:gd name="connsiteX126" fmla="*/ 219475 w 578488"/>
                <a:gd name="connsiteY126" fmla="*/ 92576 h 470547"/>
                <a:gd name="connsiteX127" fmla="*/ 221183 w 578488"/>
                <a:gd name="connsiteY127" fmla="*/ 92928 h 470547"/>
                <a:gd name="connsiteX128" fmla="*/ 222222 w 578488"/>
                <a:gd name="connsiteY128" fmla="*/ 90744 h 470547"/>
                <a:gd name="connsiteX129" fmla="*/ 221982 w 578488"/>
                <a:gd name="connsiteY129" fmla="*/ 89232 h 470547"/>
                <a:gd name="connsiteX130" fmla="*/ 222742 w 578488"/>
                <a:gd name="connsiteY130" fmla="*/ 88181 h 470547"/>
                <a:gd name="connsiteX131" fmla="*/ 226394 w 578488"/>
                <a:gd name="connsiteY131" fmla="*/ 88938 h 470547"/>
                <a:gd name="connsiteX132" fmla="*/ 226400 w 578488"/>
                <a:gd name="connsiteY132" fmla="*/ 84826 h 470547"/>
                <a:gd name="connsiteX133" fmla="*/ 246910 w 578488"/>
                <a:gd name="connsiteY133" fmla="*/ 73108 h 470547"/>
                <a:gd name="connsiteX134" fmla="*/ 248739 w 578488"/>
                <a:gd name="connsiteY134" fmla="*/ 73108 h 470547"/>
                <a:gd name="connsiteX135" fmla="*/ 250540 w 578488"/>
                <a:gd name="connsiteY135" fmla="*/ 74204 h 470547"/>
                <a:gd name="connsiteX136" fmla="*/ 250216 w 578488"/>
                <a:gd name="connsiteY136" fmla="*/ 76443 h 470547"/>
                <a:gd name="connsiteX137" fmla="*/ 247515 w 578488"/>
                <a:gd name="connsiteY137" fmla="*/ 80477 h 470547"/>
                <a:gd name="connsiteX138" fmla="*/ 243513 w 578488"/>
                <a:gd name="connsiteY138" fmla="*/ 83908 h 470547"/>
                <a:gd name="connsiteX139" fmla="*/ 244001 w 578488"/>
                <a:gd name="connsiteY139" fmla="*/ 86367 h 470547"/>
                <a:gd name="connsiteX140" fmla="*/ 245595 w 578488"/>
                <a:gd name="connsiteY140" fmla="*/ 88389 h 470547"/>
                <a:gd name="connsiteX141" fmla="*/ 245986 w 578488"/>
                <a:gd name="connsiteY141" fmla="*/ 91839 h 470547"/>
                <a:gd name="connsiteX142" fmla="*/ 246083 w 578488"/>
                <a:gd name="connsiteY142" fmla="*/ 95156 h 470547"/>
                <a:gd name="connsiteX143" fmla="*/ 243049 w 578488"/>
                <a:gd name="connsiteY143" fmla="*/ 99627 h 470547"/>
                <a:gd name="connsiteX144" fmla="*/ 242378 w 578488"/>
                <a:gd name="connsiteY144" fmla="*/ 101772 h 470547"/>
                <a:gd name="connsiteX145" fmla="*/ 242643 w 578488"/>
                <a:gd name="connsiteY145" fmla="*/ 102042 h 470547"/>
                <a:gd name="connsiteX146" fmla="*/ 245656 w 578488"/>
                <a:gd name="connsiteY146" fmla="*/ 98341 h 470547"/>
                <a:gd name="connsiteX147" fmla="*/ 248994 w 578488"/>
                <a:gd name="connsiteY147" fmla="*/ 97185 h 470547"/>
                <a:gd name="connsiteX148" fmla="*/ 249201 w 578488"/>
                <a:gd name="connsiteY148" fmla="*/ 95895 h 470547"/>
                <a:gd name="connsiteX149" fmla="*/ 250495 w 578488"/>
                <a:gd name="connsiteY149" fmla="*/ 94646 h 470547"/>
                <a:gd name="connsiteX150" fmla="*/ 250348 w 578488"/>
                <a:gd name="connsiteY150" fmla="*/ 92605 h 470547"/>
                <a:gd name="connsiteX151" fmla="*/ 251006 w 578488"/>
                <a:gd name="connsiteY151" fmla="*/ 90944 h 470547"/>
                <a:gd name="connsiteX152" fmla="*/ 252708 w 578488"/>
                <a:gd name="connsiteY152" fmla="*/ 90504 h 470547"/>
                <a:gd name="connsiteX153" fmla="*/ 253771 w 578488"/>
                <a:gd name="connsiteY153" fmla="*/ 89942 h 470547"/>
                <a:gd name="connsiteX154" fmla="*/ 254950 w 578488"/>
                <a:gd name="connsiteY154" fmla="*/ 89632 h 470547"/>
                <a:gd name="connsiteX155" fmla="*/ 257079 w 578488"/>
                <a:gd name="connsiteY155" fmla="*/ 90976 h 470547"/>
                <a:gd name="connsiteX156" fmla="*/ 258284 w 578488"/>
                <a:gd name="connsiteY156" fmla="*/ 92467 h 470547"/>
                <a:gd name="connsiteX157" fmla="*/ 259780 w 578488"/>
                <a:gd name="connsiteY157" fmla="*/ 95797 h 470547"/>
                <a:gd name="connsiteX158" fmla="*/ 259158 w 578488"/>
                <a:gd name="connsiteY158" fmla="*/ 99013 h 470547"/>
                <a:gd name="connsiteX159" fmla="*/ 255150 w 578488"/>
                <a:gd name="connsiteY159" fmla="*/ 101517 h 470547"/>
                <a:gd name="connsiteX160" fmla="*/ 251965 w 578488"/>
                <a:gd name="connsiteY160" fmla="*/ 102646 h 470547"/>
                <a:gd name="connsiteX161" fmla="*/ 248748 w 578488"/>
                <a:gd name="connsiteY161" fmla="*/ 105516 h 470547"/>
                <a:gd name="connsiteX162" fmla="*/ 247131 w 578488"/>
                <a:gd name="connsiteY162" fmla="*/ 107859 h 470547"/>
                <a:gd name="connsiteX163" fmla="*/ 245742 w 578488"/>
                <a:gd name="connsiteY163" fmla="*/ 108366 h 470547"/>
                <a:gd name="connsiteX164" fmla="*/ 244863 w 578488"/>
                <a:gd name="connsiteY164" fmla="*/ 108175 h 470547"/>
                <a:gd name="connsiteX165" fmla="*/ 244082 w 578488"/>
                <a:gd name="connsiteY165" fmla="*/ 107609 h 470547"/>
                <a:gd name="connsiteX166" fmla="*/ 242451 w 578488"/>
                <a:gd name="connsiteY166" fmla="*/ 107607 h 470547"/>
                <a:gd name="connsiteX167" fmla="*/ 240657 w 578488"/>
                <a:gd name="connsiteY167" fmla="*/ 109638 h 470547"/>
                <a:gd name="connsiteX168" fmla="*/ 235239 w 578488"/>
                <a:gd name="connsiteY168" fmla="*/ 111288 h 470547"/>
                <a:gd name="connsiteX169" fmla="*/ 233114 w 578488"/>
                <a:gd name="connsiteY169" fmla="*/ 110812 h 470547"/>
                <a:gd name="connsiteX170" fmla="*/ 233017 w 578488"/>
                <a:gd name="connsiteY170" fmla="*/ 108788 h 470547"/>
                <a:gd name="connsiteX171" fmla="*/ 231749 w 578488"/>
                <a:gd name="connsiteY171" fmla="*/ 108956 h 470547"/>
                <a:gd name="connsiteX172" fmla="*/ 229719 w 578488"/>
                <a:gd name="connsiteY172" fmla="*/ 111382 h 470547"/>
                <a:gd name="connsiteX173" fmla="*/ 227733 w 578488"/>
                <a:gd name="connsiteY173" fmla="*/ 112191 h 470547"/>
                <a:gd name="connsiteX174" fmla="*/ 226398 w 578488"/>
                <a:gd name="connsiteY174" fmla="*/ 112440 h 470547"/>
                <a:gd name="connsiteX175" fmla="*/ 223947 w 578488"/>
                <a:gd name="connsiteY175" fmla="*/ 111527 h 470547"/>
                <a:gd name="connsiteX176" fmla="*/ 217359 w 578488"/>
                <a:gd name="connsiteY176" fmla="*/ 115654 h 470547"/>
                <a:gd name="connsiteX177" fmla="*/ 211181 w 578488"/>
                <a:gd name="connsiteY177" fmla="*/ 116425 h 470547"/>
                <a:gd name="connsiteX178" fmla="*/ 209147 w 578488"/>
                <a:gd name="connsiteY178" fmla="*/ 115948 h 470547"/>
                <a:gd name="connsiteX179" fmla="*/ 209140 w 578488"/>
                <a:gd name="connsiteY179" fmla="*/ 113424 h 470547"/>
                <a:gd name="connsiteX180" fmla="*/ 213133 w 578488"/>
                <a:gd name="connsiteY180" fmla="*/ 110191 h 470547"/>
                <a:gd name="connsiteX181" fmla="*/ 216407 w 578488"/>
                <a:gd name="connsiteY181" fmla="*/ 107941 h 470547"/>
                <a:gd name="connsiteX182" fmla="*/ 227672 w 578488"/>
                <a:gd name="connsiteY182" fmla="*/ 106369 h 470547"/>
                <a:gd name="connsiteX183" fmla="*/ 234688 w 578488"/>
                <a:gd name="connsiteY183" fmla="*/ 99674 h 470547"/>
                <a:gd name="connsiteX184" fmla="*/ 236383 w 578488"/>
                <a:gd name="connsiteY184" fmla="*/ 92374 h 470547"/>
                <a:gd name="connsiteX185" fmla="*/ 238042 w 578488"/>
                <a:gd name="connsiteY185" fmla="*/ 89732 h 470547"/>
                <a:gd name="connsiteX186" fmla="*/ 237262 w 578488"/>
                <a:gd name="connsiteY186" fmla="*/ 88238 h 470547"/>
                <a:gd name="connsiteX187" fmla="*/ 235375 w 578488"/>
                <a:gd name="connsiteY187" fmla="*/ 87975 h 470547"/>
                <a:gd name="connsiteX188" fmla="*/ 235260 w 578488"/>
                <a:gd name="connsiteY188" fmla="*/ 85677 h 470547"/>
                <a:gd name="connsiteX189" fmla="*/ 236245 w 578488"/>
                <a:gd name="connsiteY189" fmla="*/ 83162 h 470547"/>
                <a:gd name="connsiteX190" fmla="*/ 239927 w 578488"/>
                <a:gd name="connsiteY190" fmla="*/ 79703 h 470547"/>
                <a:gd name="connsiteX191" fmla="*/ 241972 w 578488"/>
                <a:gd name="connsiteY191" fmla="*/ 78229 h 470547"/>
                <a:gd name="connsiteX192" fmla="*/ 245304 w 578488"/>
                <a:gd name="connsiteY192" fmla="*/ 74050 h 470547"/>
                <a:gd name="connsiteX193" fmla="*/ 280912 w 578488"/>
                <a:gd name="connsiteY193" fmla="*/ 61606 h 470547"/>
                <a:gd name="connsiteX194" fmla="*/ 283570 w 578488"/>
                <a:gd name="connsiteY194" fmla="*/ 63847 h 470547"/>
                <a:gd name="connsiteX195" fmla="*/ 284766 w 578488"/>
                <a:gd name="connsiteY195" fmla="*/ 63162 h 470547"/>
                <a:gd name="connsiteX196" fmla="*/ 287118 w 578488"/>
                <a:gd name="connsiteY196" fmla="*/ 62907 h 470547"/>
                <a:gd name="connsiteX197" fmla="*/ 288867 w 578488"/>
                <a:gd name="connsiteY197" fmla="*/ 63693 h 470547"/>
                <a:gd name="connsiteX198" fmla="*/ 290297 w 578488"/>
                <a:gd name="connsiteY198" fmla="*/ 65116 h 470547"/>
                <a:gd name="connsiteX199" fmla="*/ 291992 w 578488"/>
                <a:gd name="connsiteY199" fmla="*/ 65181 h 470547"/>
                <a:gd name="connsiteX200" fmla="*/ 293056 w 578488"/>
                <a:gd name="connsiteY200" fmla="*/ 67038 h 470547"/>
                <a:gd name="connsiteX201" fmla="*/ 293598 w 578488"/>
                <a:gd name="connsiteY201" fmla="*/ 69452 h 470547"/>
                <a:gd name="connsiteX202" fmla="*/ 292367 w 578488"/>
                <a:gd name="connsiteY202" fmla="*/ 71253 h 470547"/>
                <a:gd name="connsiteX203" fmla="*/ 290621 w 578488"/>
                <a:gd name="connsiteY203" fmla="*/ 72068 h 470547"/>
                <a:gd name="connsiteX204" fmla="*/ 290148 w 578488"/>
                <a:gd name="connsiteY204" fmla="*/ 74189 h 470547"/>
                <a:gd name="connsiteX205" fmla="*/ 290811 w 578488"/>
                <a:gd name="connsiteY205" fmla="*/ 77154 h 470547"/>
                <a:gd name="connsiteX206" fmla="*/ 286893 w 578488"/>
                <a:gd name="connsiteY206" fmla="*/ 78170 h 470547"/>
                <a:gd name="connsiteX207" fmla="*/ 282352 w 578488"/>
                <a:gd name="connsiteY207" fmla="*/ 78622 h 470547"/>
                <a:gd name="connsiteX208" fmla="*/ 280577 w 578488"/>
                <a:gd name="connsiteY208" fmla="*/ 77205 h 470547"/>
                <a:gd name="connsiteX209" fmla="*/ 276945 w 578488"/>
                <a:gd name="connsiteY209" fmla="*/ 79802 h 470547"/>
                <a:gd name="connsiteX210" fmla="*/ 273348 w 578488"/>
                <a:gd name="connsiteY210" fmla="*/ 83842 h 470547"/>
                <a:gd name="connsiteX211" fmla="*/ 271614 w 578488"/>
                <a:gd name="connsiteY211" fmla="*/ 84317 h 470547"/>
                <a:gd name="connsiteX212" fmla="*/ 271493 w 578488"/>
                <a:gd name="connsiteY212" fmla="*/ 83039 h 470547"/>
                <a:gd name="connsiteX213" fmla="*/ 268908 w 578488"/>
                <a:gd name="connsiteY213" fmla="*/ 82156 h 470547"/>
                <a:gd name="connsiteX214" fmla="*/ 265598 w 578488"/>
                <a:gd name="connsiteY214" fmla="*/ 82105 h 470547"/>
                <a:gd name="connsiteX215" fmla="*/ 265708 w 578488"/>
                <a:gd name="connsiteY215" fmla="*/ 81158 h 470547"/>
                <a:gd name="connsiteX216" fmla="*/ 266308 w 578488"/>
                <a:gd name="connsiteY216" fmla="*/ 80489 h 470547"/>
                <a:gd name="connsiteX217" fmla="*/ 269165 w 578488"/>
                <a:gd name="connsiteY217" fmla="*/ 79496 h 470547"/>
                <a:gd name="connsiteX218" fmla="*/ 269735 w 578488"/>
                <a:gd name="connsiteY218" fmla="*/ 77447 h 470547"/>
                <a:gd name="connsiteX219" fmla="*/ 269216 w 578488"/>
                <a:gd name="connsiteY219" fmla="*/ 73784 h 470547"/>
                <a:gd name="connsiteX220" fmla="*/ 269720 w 578488"/>
                <a:gd name="connsiteY220" fmla="*/ 72004 h 470547"/>
                <a:gd name="connsiteX221" fmla="*/ 269828 w 578488"/>
                <a:gd name="connsiteY221" fmla="*/ 70773 h 470547"/>
                <a:gd name="connsiteX222" fmla="*/ 271624 w 578488"/>
                <a:gd name="connsiteY222" fmla="*/ 69332 h 470547"/>
                <a:gd name="connsiteX223" fmla="*/ 277768 w 578488"/>
                <a:gd name="connsiteY223" fmla="*/ 70009 h 470547"/>
                <a:gd name="connsiteX224" fmla="*/ 278513 w 578488"/>
                <a:gd name="connsiteY224" fmla="*/ 68633 h 470547"/>
                <a:gd name="connsiteX225" fmla="*/ 278047 w 578488"/>
                <a:gd name="connsiteY225" fmla="*/ 67767 h 470547"/>
                <a:gd name="connsiteX226" fmla="*/ 274872 w 578488"/>
                <a:gd name="connsiteY226" fmla="*/ 66249 h 470547"/>
                <a:gd name="connsiteX227" fmla="*/ 275360 w 578488"/>
                <a:gd name="connsiteY227" fmla="*/ 65227 h 470547"/>
                <a:gd name="connsiteX228" fmla="*/ 277651 w 578488"/>
                <a:gd name="connsiteY228" fmla="*/ 64313 h 470547"/>
                <a:gd name="connsiteX229" fmla="*/ 279819 w 578488"/>
                <a:gd name="connsiteY229" fmla="*/ 64195 h 470547"/>
                <a:gd name="connsiteX230" fmla="*/ 280471 w 578488"/>
                <a:gd name="connsiteY230" fmla="*/ 62647 h 470547"/>
                <a:gd name="connsiteX231" fmla="*/ 280584 w 578488"/>
                <a:gd name="connsiteY231" fmla="*/ 61973 h 470547"/>
                <a:gd name="connsiteX232" fmla="*/ 553617 w 578488"/>
                <a:gd name="connsiteY232" fmla="*/ 49437 h 470547"/>
                <a:gd name="connsiteX233" fmla="*/ 555344 w 578488"/>
                <a:gd name="connsiteY233" fmla="*/ 49560 h 470547"/>
                <a:gd name="connsiteX234" fmla="*/ 557091 w 578488"/>
                <a:gd name="connsiteY234" fmla="*/ 50712 h 470547"/>
                <a:gd name="connsiteX235" fmla="*/ 558466 w 578488"/>
                <a:gd name="connsiteY235" fmla="*/ 52086 h 470547"/>
                <a:gd name="connsiteX236" fmla="*/ 556277 w 578488"/>
                <a:gd name="connsiteY236" fmla="*/ 53725 h 470547"/>
                <a:gd name="connsiteX237" fmla="*/ 552077 w 578488"/>
                <a:gd name="connsiteY237" fmla="*/ 54876 h 470547"/>
                <a:gd name="connsiteX238" fmla="*/ 551591 w 578488"/>
                <a:gd name="connsiteY238" fmla="*/ 53929 h 470547"/>
                <a:gd name="connsiteX239" fmla="*/ 552513 w 578488"/>
                <a:gd name="connsiteY239" fmla="*/ 52454 h 470547"/>
                <a:gd name="connsiteX240" fmla="*/ 350606 w 578488"/>
                <a:gd name="connsiteY240" fmla="*/ 36555 h 470547"/>
                <a:gd name="connsiteX241" fmla="*/ 353506 w 578488"/>
                <a:gd name="connsiteY241" fmla="*/ 37006 h 470547"/>
                <a:gd name="connsiteX242" fmla="*/ 354245 w 578488"/>
                <a:gd name="connsiteY242" fmla="*/ 37564 h 470547"/>
                <a:gd name="connsiteX243" fmla="*/ 353355 w 578488"/>
                <a:gd name="connsiteY243" fmla="*/ 42154 h 470547"/>
                <a:gd name="connsiteX244" fmla="*/ 352163 w 578488"/>
                <a:gd name="connsiteY244" fmla="*/ 43074 h 470547"/>
                <a:gd name="connsiteX245" fmla="*/ 350334 w 578488"/>
                <a:gd name="connsiteY245" fmla="*/ 43450 h 470547"/>
                <a:gd name="connsiteX246" fmla="*/ 349349 w 578488"/>
                <a:gd name="connsiteY246" fmla="*/ 42879 h 470547"/>
                <a:gd name="connsiteX247" fmla="*/ 347948 w 578488"/>
                <a:gd name="connsiteY247" fmla="*/ 42504 h 470547"/>
                <a:gd name="connsiteX248" fmla="*/ 346391 w 578488"/>
                <a:gd name="connsiteY248" fmla="*/ 42676 h 470547"/>
                <a:gd name="connsiteX249" fmla="*/ 345082 w 578488"/>
                <a:gd name="connsiteY249" fmla="*/ 40989 h 470547"/>
                <a:gd name="connsiteX250" fmla="*/ 345229 w 578488"/>
                <a:gd name="connsiteY250" fmla="*/ 39572 h 470547"/>
                <a:gd name="connsiteX251" fmla="*/ 347021 w 578488"/>
                <a:gd name="connsiteY251" fmla="*/ 37649 h 470547"/>
                <a:gd name="connsiteX252" fmla="*/ 318716 w 578488"/>
                <a:gd name="connsiteY252" fmla="*/ 35896 h 470547"/>
                <a:gd name="connsiteX253" fmla="*/ 319528 w 578488"/>
                <a:gd name="connsiteY253" fmla="*/ 38632 h 470547"/>
                <a:gd name="connsiteX254" fmla="*/ 319653 w 578488"/>
                <a:gd name="connsiteY254" fmla="*/ 43078 h 470547"/>
                <a:gd name="connsiteX255" fmla="*/ 321614 w 578488"/>
                <a:gd name="connsiteY255" fmla="*/ 45233 h 470547"/>
                <a:gd name="connsiteX256" fmla="*/ 323350 w 578488"/>
                <a:gd name="connsiteY256" fmla="*/ 45026 h 470547"/>
                <a:gd name="connsiteX257" fmla="*/ 323873 w 578488"/>
                <a:gd name="connsiteY257" fmla="*/ 44213 h 470547"/>
                <a:gd name="connsiteX258" fmla="*/ 325058 w 578488"/>
                <a:gd name="connsiteY258" fmla="*/ 43811 h 470547"/>
                <a:gd name="connsiteX259" fmla="*/ 327453 w 578488"/>
                <a:gd name="connsiteY259" fmla="*/ 44949 h 470547"/>
                <a:gd name="connsiteX260" fmla="*/ 327110 w 578488"/>
                <a:gd name="connsiteY260" fmla="*/ 46885 h 470547"/>
                <a:gd name="connsiteX261" fmla="*/ 323795 w 578488"/>
                <a:gd name="connsiteY261" fmla="*/ 49325 h 470547"/>
                <a:gd name="connsiteX262" fmla="*/ 321416 w 578488"/>
                <a:gd name="connsiteY262" fmla="*/ 52800 h 470547"/>
                <a:gd name="connsiteX263" fmla="*/ 318371 w 578488"/>
                <a:gd name="connsiteY263" fmla="*/ 53606 h 470547"/>
                <a:gd name="connsiteX264" fmla="*/ 316907 w 578488"/>
                <a:gd name="connsiteY264" fmla="*/ 53187 h 470547"/>
                <a:gd name="connsiteX265" fmla="*/ 314186 w 578488"/>
                <a:gd name="connsiteY265" fmla="*/ 55190 h 470547"/>
                <a:gd name="connsiteX266" fmla="*/ 312005 w 578488"/>
                <a:gd name="connsiteY266" fmla="*/ 57269 h 470547"/>
                <a:gd name="connsiteX267" fmla="*/ 309744 w 578488"/>
                <a:gd name="connsiteY267" fmla="*/ 59895 h 470547"/>
                <a:gd name="connsiteX268" fmla="*/ 309606 w 578488"/>
                <a:gd name="connsiteY268" fmla="*/ 61247 h 470547"/>
                <a:gd name="connsiteX269" fmla="*/ 309254 w 578488"/>
                <a:gd name="connsiteY269" fmla="*/ 62281 h 470547"/>
                <a:gd name="connsiteX270" fmla="*/ 300973 w 578488"/>
                <a:gd name="connsiteY270" fmla="*/ 63307 h 470547"/>
                <a:gd name="connsiteX271" fmla="*/ 297962 w 578488"/>
                <a:gd name="connsiteY271" fmla="*/ 63986 h 470547"/>
                <a:gd name="connsiteX272" fmla="*/ 294773 w 578488"/>
                <a:gd name="connsiteY272" fmla="*/ 63110 h 470547"/>
                <a:gd name="connsiteX273" fmla="*/ 293262 w 578488"/>
                <a:gd name="connsiteY273" fmla="*/ 61376 h 470547"/>
                <a:gd name="connsiteX274" fmla="*/ 293747 w 578488"/>
                <a:gd name="connsiteY274" fmla="*/ 60433 h 470547"/>
                <a:gd name="connsiteX275" fmla="*/ 296930 w 578488"/>
                <a:gd name="connsiteY275" fmla="*/ 60056 h 470547"/>
                <a:gd name="connsiteX276" fmla="*/ 297032 w 578488"/>
                <a:gd name="connsiteY276" fmla="*/ 58445 h 470547"/>
                <a:gd name="connsiteX277" fmla="*/ 297837 w 578488"/>
                <a:gd name="connsiteY277" fmla="*/ 57461 h 470547"/>
                <a:gd name="connsiteX278" fmla="*/ 298867 w 578488"/>
                <a:gd name="connsiteY278" fmla="*/ 56924 h 470547"/>
                <a:gd name="connsiteX279" fmla="*/ 299625 w 578488"/>
                <a:gd name="connsiteY279" fmla="*/ 54863 h 470547"/>
                <a:gd name="connsiteX280" fmla="*/ 300884 w 578488"/>
                <a:gd name="connsiteY280" fmla="*/ 54325 h 470547"/>
                <a:gd name="connsiteX281" fmla="*/ 303231 w 578488"/>
                <a:gd name="connsiteY281" fmla="*/ 54832 h 470547"/>
                <a:gd name="connsiteX282" fmla="*/ 304814 w 578488"/>
                <a:gd name="connsiteY282" fmla="*/ 53338 h 470547"/>
                <a:gd name="connsiteX283" fmla="*/ 305706 w 578488"/>
                <a:gd name="connsiteY283" fmla="*/ 53085 h 470547"/>
                <a:gd name="connsiteX284" fmla="*/ 306805 w 578488"/>
                <a:gd name="connsiteY284" fmla="*/ 54321 h 470547"/>
                <a:gd name="connsiteX285" fmla="*/ 307334 w 578488"/>
                <a:gd name="connsiteY285" fmla="*/ 52619 h 470547"/>
                <a:gd name="connsiteX286" fmla="*/ 306805 w 578488"/>
                <a:gd name="connsiteY286" fmla="*/ 51064 h 470547"/>
                <a:gd name="connsiteX287" fmla="*/ 307082 w 578488"/>
                <a:gd name="connsiteY287" fmla="*/ 50015 h 470547"/>
                <a:gd name="connsiteX288" fmla="*/ 310117 w 578488"/>
                <a:gd name="connsiteY288" fmla="*/ 47283 h 470547"/>
                <a:gd name="connsiteX289" fmla="*/ 311431 w 578488"/>
                <a:gd name="connsiteY289" fmla="*/ 45289 h 470547"/>
                <a:gd name="connsiteX290" fmla="*/ 313320 w 578488"/>
                <a:gd name="connsiteY290" fmla="*/ 44004 h 470547"/>
                <a:gd name="connsiteX291" fmla="*/ 315140 w 578488"/>
                <a:gd name="connsiteY291" fmla="*/ 44209 h 470547"/>
                <a:gd name="connsiteX292" fmla="*/ 315669 w 578488"/>
                <a:gd name="connsiteY292" fmla="*/ 42315 h 470547"/>
                <a:gd name="connsiteX293" fmla="*/ 315140 w 578488"/>
                <a:gd name="connsiteY293" fmla="*/ 40373 h 470547"/>
                <a:gd name="connsiteX294" fmla="*/ 315341 w 578488"/>
                <a:gd name="connsiteY294" fmla="*/ 39107 h 470547"/>
                <a:gd name="connsiteX295" fmla="*/ 316948 w 578488"/>
                <a:gd name="connsiteY295" fmla="*/ 36027 h 470547"/>
                <a:gd name="connsiteX296" fmla="*/ 329133 w 578488"/>
                <a:gd name="connsiteY296" fmla="*/ 34857 h 470547"/>
                <a:gd name="connsiteX297" fmla="*/ 330984 w 578488"/>
                <a:gd name="connsiteY297" fmla="*/ 37118 h 470547"/>
                <a:gd name="connsiteX298" fmla="*/ 332109 w 578488"/>
                <a:gd name="connsiteY298" fmla="*/ 37583 h 470547"/>
                <a:gd name="connsiteX299" fmla="*/ 333221 w 578488"/>
                <a:gd name="connsiteY299" fmla="*/ 37294 h 470547"/>
                <a:gd name="connsiteX300" fmla="*/ 334145 w 578488"/>
                <a:gd name="connsiteY300" fmla="*/ 37705 h 470547"/>
                <a:gd name="connsiteX301" fmla="*/ 335996 w 578488"/>
                <a:gd name="connsiteY301" fmla="*/ 39794 h 470547"/>
                <a:gd name="connsiteX302" fmla="*/ 337989 w 578488"/>
                <a:gd name="connsiteY302" fmla="*/ 40615 h 470547"/>
                <a:gd name="connsiteX303" fmla="*/ 338082 w 578488"/>
                <a:gd name="connsiteY303" fmla="*/ 41666 h 470547"/>
                <a:gd name="connsiteX304" fmla="*/ 336257 w 578488"/>
                <a:gd name="connsiteY304" fmla="*/ 42690 h 470547"/>
                <a:gd name="connsiteX305" fmla="*/ 333854 w 578488"/>
                <a:gd name="connsiteY305" fmla="*/ 42997 h 470547"/>
                <a:gd name="connsiteX306" fmla="*/ 331280 w 578488"/>
                <a:gd name="connsiteY306" fmla="*/ 42641 h 470547"/>
                <a:gd name="connsiteX307" fmla="*/ 330524 w 578488"/>
                <a:gd name="connsiteY307" fmla="*/ 41332 h 470547"/>
                <a:gd name="connsiteX308" fmla="*/ 329731 w 578488"/>
                <a:gd name="connsiteY308" fmla="*/ 39157 h 470547"/>
                <a:gd name="connsiteX309" fmla="*/ 327578 w 578488"/>
                <a:gd name="connsiteY309" fmla="*/ 37023 h 470547"/>
                <a:gd name="connsiteX310" fmla="*/ 327259 w 578488"/>
                <a:gd name="connsiteY310" fmla="*/ 35152 h 470547"/>
                <a:gd name="connsiteX311" fmla="*/ 414550 w 578488"/>
                <a:gd name="connsiteY311" fmla="*/ 21147 h 470547"/>
                <a:gd name="connsiteX312" fmla="*/ 415263 w 578488"/>
                <a:gd name="connsiteY312" fmla="*/ 22086 h 470547"/>
                <a:gd name="connsiteX313" fmla="*/ 416068 w 578488"/>
                <a:gd name="connsiteY313" fmla="*/ 23860 h 470547"/>
                <a:gd name="connsiteX314" fmla="*/ 416480 w 578488"/>
                <a:gd name="connsiteY314" fmla="*/ 25730 h 470547"/>
                <a:gd name="connsiteX315" fmla="*/ 416636 w 578488"/>
                <a:gd name="connsiteY315" fmla="*/ 27271 h 470547"/>
                <a:gd name="connsiteX316" fmla="*/ 414573 w 578488"/>
                <a:gd name="connsiteY316" fmla="*/ 29498 h 470547"/>
                <a:gd name="connsiteX317" fmla="*/ 409821 w 578488"/>
                <a:gd name="connsiteY317" fmla="*/ 32415 h 470547"/>
                <a:gd name="connsiteX318" fmla="*/ 410093 w 578488"/>
                <a:gd name="connsiteY318" fmla="*/ 33198 h 470547"/>
                <a:gd name="connsiteX319" fmla="*/ 408448 w 578488"/>
                <a:gd name="connsiteY319" fmla="*/ 33946 h 470547"/>
                <a:gd name="connsiteX320" fmla="*/ 405981 w 578488"/>
                <a:gd name="connsiteY320" fmla="*/ 34498 h 470547"/>
                <a:gd name="connsiteX321" fmla="*/ 404679 w 578488"/>
                <a:gd name="connsiteY321" fmla="*/ 33962 h 470547"/>
                <a:gd name="connsiteX322" fmla="*/ 404859 w 578488"/>
                <a:gd name="connsiteY322" fmla="*/ 31463 h 470547"/>
                <a:gd name="connsiteX323" fmla="*/ 404466 w 578488"/>
                <a:gd name="connsiteY323" fmla="*/ 30714 h 470547"/>
                <a:gd name="connsiteX324" fmla="*/ 402593 w 578488"/>
                <a:gd name="connsiteY324" fmla="*/ 31705 h 470547"/>
                <a:gd name="connsiteX325" fmla="*/ 400646 w 578488"/>
                <a:gd name="connsiteY325" fmla="*/ 30434 h 470547"/>
                <a:gd name="connsiteX326" fmla="*/ 400643 w 578488"/>
                <a:gd name="connsiteY326" fmla="*/ 29155 h 470547"/>
                <a:gd name="connsiteX327" fmla="*/ 401157 w 578488"/>
                <a:gd name="connsiteY327" fmla="*/ 28044 h 470547"/>
                <a:gd name="connsiteX328" fmla="*/ 402958 w 578488"/>
                <a:gd name="connsiteY328" fmla="*/ 26354 h 470547"/>
                <a:gd name="connsiteX329" fmla="*/ 405964 w 578488"/>
                <a:gd name="connsiteY329" fmla="*/ 25189 h 470547"/>
                <a:gd name="connsiteX330" fmla="*/ 407946 w 578488"/>
                <a:gd name="connsiteY330" fmla="*/ 25626 h 470547"/>
                <a:gd name="connsiteX331" fmla="*/ 419674 w 578488"/>
                <a:gd name="connsiteY331" fmla="*/ 15922 h 470547"/>
                <a:gd name="connsiteX332" fmla="*/ 420959 w 578488"/>
                <a:gd name="connsiteY332" fmla="*/ 16643 h 470547"/>
                <a:gd name="connsiteX333" fmla="*/ 421302 w 578488"/>
                <a:gd name="connsiteY333" fmla="*/ 17247 h 470547"/>
                <a:gd name="connsiteX334" fmla="*/ 423611 w 578488"/>
                <a:gd name="connsiteY334" fmla="*/ 17839 h 470547"/>
                <a:gd name="connsiteX335" fmla="*/ 426305 w 578488"/>
                <a:gd name="connsiteY335" fmla="*/ 19805 h 470547"/>
                <a:gd name="connsiteX336" fmla="*/ 424962 w 578488"/>
                <a:gd name="connsiteY336" fmla="*/ 23137 h 470547"/>
                <a:gd name="connsiteX337" fmla="*/ 420751 w 578488"/>
                <a:gd name="connsiteY337" fmla="*/ 24733 h 470547"/>
                <a:gd name="connsiteX338" fmla="*/ 418307 w 578488"/>
                <a:gd name="connsiteY338" fmla="*/ 23358 h 470547"/>
                <a:gd name="connsiteX339" fmla="*/ 417279 w 578488"/>
                <a:gd name="connsiteY339" fmla="*/ 21949 h 470547"/>
                <a:gd name="connsiteX340" fmla="*/ 417128 w 578488"/>
                <a:gd name="connsiteY340" fmla="*/ 18816 h 470547"/>
                <a:gd name="connsiteX341" fmla="*/ 417700 w 578488"/>
                <a:gd name="connsiteY341" fmla="*/ 16908 h 470547"/>
                <a:gd name="connsiteX342" fmla="*/ 411209 w 578488"/>
                <a:gd name="connsiteY342" fmla="*/ 12093 h 470547"/>
                <a:gd name="connsiteX343" fmla="*/ 412202 w 578488"/>
                <a:gd name="connsiteY343" fmla="*/ 13172 h 470547"/>
                <a:gd name="connsiteX344" fmla="*/ 411769 w 578488"/>
                <a:gd name="connsiteY344" fmla="*/ 14432 h 470547"/>
                <a:gd name="connsiteX345" fmla="*/ 411021 w 578488"/>
                <a:gd name="connsiteY345" fmla="*/ 15659 h 470547"/>
                <a:gd name="connsiteX346" fmla="*/ 409209 w 578488"/>
                <a:gd name="connsiteY346" fmla="*/ 16953 h 470547"/>
                <a:gd name="connsiteX347" fmla="*/ 403969 w 578488"/>
                <a:gd name="connsiteY347" fmla="*/ 22068 h 470547"/>
                <a:gd name="connsiteX348" fmla="*/ 400889 w 578488"/>
                <a:gd name="connsiteY348" fmla="*/ 22891 h 470547"/>
                <a:gd name="connsiteX349" fmla="*/ 399914 w 578488"/>
                <a:gd name="connsiteY349" fmla="*/ 23692 h 470547"/>
                <a:gd name="connsiteX350" fmla="*/ 398683 w 578488"/>
                <a:gd name="connsiteY350" fmla="*/ 24170 h 470547"/>
                <a:gd name="connsiteX351" fmla="*/ 394856 w 578488"/>
                <a:gd name="connsiteY351" fmla="*/ 23471 h 470547"/>
                <a:gd name="connsiteX352" fmla="*/ 393736 w 578488"/>
                <a:gd name="connsiteY352" fmla="*/ 24506 h 470547"/>
                <a:gd name="connsiteX353" fmla="*/ 392678 w 578488"/>
                <a:gd name="connsiteY353" fmla="*/ 25197 h 470547"/>
                <a:gd name="connsiteX354" fmla="*/ 389907 w 578488"/>
                <a:gd name="connsiteY354" fmla="*/ 25465 h 470547"/>
                <a:gd name="connsiteX355" fmla="*/ 388281 w 578488"/>
                <a:gd name="connsiteY355" fmla="*/ 25240 h 470547"/>
                <a:gd name="connsiteX356" fmla="*/ 384081 w 578488"/>
                <a:gd name="connsiteY356" fmla="*/ 23348 h 470547"/>
                <a:gd name="connsiteX357" fmla="*/ 381582 w 578488"/>
                <a:gd name="connsiteY357" fmla="*/ 21298 h 470547"/>
                <a:gd name="connsiteX358" fmla="*/ 380229 w 578488"/>
                <a:gd name="connsiteY358" fmla="*/ 19542 h 470547"/>
                <a:gd name="connsiteX359" fmla="*/ 384109 w 578488"/>
                <a:gd name="connsiteY359" fmla="*/ 19576 h 470547"/>
                <a:gd name="connsiteX360" fmla="*/ 385493 w 578488"/>
                <a:gd name="connsiteY360" fmla="*/ 19151 h 470547"/>
                <a:gd name="connsiteX361" fmla="*/ 388095 w 578488"/>
                <a:gd name="connsiteY361" fmla="*/ 19521 h 470547"/>
                <a:gd name="connsiteX362" fmla="*/ 389658 w 578488"/>
                <a:gd name="connsiteY362" fmla="*/ 17719 h 470547"/>
                <a:gd name="connsiteX363" fmla="*/ 392969 w 578488"/>
                <a:gd name="connsiteY363" fmla="*/ 17937 h 470547"/>
                <a:gd name="connsiteX364" fmla="*/ 399324 w 578488"/>
                <a:gd name="connsiteY364" fmla="*/ 16682 h 470547"/>
                <a:gd name="connsiteX365" fmla="*/ 401656 w 578488"/>
                <a:gd name="connsiteY365" fmla="*/ 17382 h 470547"/>
                <a:gd name="connsiteX366" fmla="*/ 406988 w 578488"/>
                <a:gd name="connsiteY366" fmla="*/ 13184 h 470547"/>
                <a:gd name="connsiteX367" fmla="*/ 408657 w 578488"/>
                <a:gd name="connsiteY367" fmla="*/ 13294 h 470547"/>
                <a:gd name="connsiteX368" fmla="*/ 504113 w 578488"/>
                <a:gd name="connsiteY368" fmla="*/ 2056 h 470547"/>
                <a:gd name="connsiteX369" fmla="*/ 507129 w 578488"/>
                <a:gd name="connsiteY369" fmla="*/ 2479 h 470547"/>
                <a:gd name="connsiteX370" fmla="*/ 508932 w 578488"/>
                <a:gd name="connsiteY370" fmla="*/ 3348 h 470547"/>
                <a:gd name="connsiteX371" fmla="*/ 516155 w 578488"/>
                <a:gd name="connsiteY371" fmla="*/ 4009 h 470547"/>
                <a:gd name="connsiteX372" fmla="*/ 521696 w 578488"/>
                <a:gd name="connsiteY372" fmla="*/ 6744 h 470547"/>
                <a:gd name="connsiteX373" fmla="*/ 521485 w 578488"/>
                <a:gd name="connsiteY373" fmla="*/ 11012 h 470547"/>
                <a:gd name="connsiteX374" fmla="*/ 520250 w 578488"/>
                <a:gd name="connsiteY374" fmla="*/ 12793 h 470547"/>
                <a:gd name="connsiteX375" fmla="*/ 519034 w 578488"/>
                <a:gd name="connsiteY375" fmla="*/ 13889 h 470547"/>
                <a:gd name="connsiteX376" fmla="*/ 511938 w 578488"/>
                <a:gd name="connsiteY376" fmla="*/ 17118 h 470547"/>
                <a:gd name="connsiteX377" fmla="*/ 510768 w 578488"/>
                <a:gd name="connsiteY377" fmla="*/ 18708 h 470547"/>
                <a:gd name="connsiteX378" fmla="*/ 512996 w 578488"/>
                <a:gd name="connsiteY378" fmla="*/ 19257 h 470547"/>
                <a:gd name="connsiteX379" fmla="*/ 517790 w 578488"/>
                <a:gd name="connsiteY379" fmla="*/ 17649 h 470547"/>
                <a:gd name="connsiteX380" fmla="*/ 519032 w 578488"/>
                <a:gd name="connsiteY380" fmla="*/ 19108 h 470547"/>
                <a:gd name="connsiteX381" fmla="*/ 517505 w 578488"/>
                <a:gd name="connsiteY381" fmla="*/ 22756 h 470547"/>
                <a:gd name="connsiteX382" fmla="*/ 517246 w 578488"/>
                <a:gd name="connsiteY382" fmla="*/ 28220 h 470547"/>
                <a:gd name="connsiteX383" fmla="*/ 516693 w 578488"/>
                <a:gd name="connsiteY383" fmla="*/ 31401 h 470547"/>
                <a:gd name="connsiteX384" fmla="*/ 516693 w 578488"/>
                <a:gd name="connsiteY384" fmla="*/ 34298 h 470547"/>
                <a:gd name="connsiteX385" fmla="*/ 517289 w 578488"/>
                <a:gd name="connsiteY385" fmla="*/ 35851 h 470547"/>
                <a:gd name="connsiteX386" fmla="*/ 519215 w 578488"/>
                <a:gd name="connsiteY386" fmla="*/ 29687 h 470547"/>
                <a:gd name="connsiteX387" fmla="*/ 519874 w 578488"/>
                <a:gd name="connsiteY387" fmla="*/ 28105 h 470547"/>
                <a:gd name="connsiteX388" fmla="*/ 522692 w 578488"/>
                <a:gd name="connsiteY388" fmla="*/ 25777 h 470547"/>
                <a:gd name="connsiteX389" fmla="*/ 523741 w 578488"/>
                <a:gd name="connsiteY389" fmla="*/ 21079 h 470547"/>
                <a:gd name="connsiteX390" fmla="*/ 526497 w 578488"/>
                <a:gd name="connsiteY390" fmla="*/ 15427 h 470547"/>
                <a:gd name="connsiteX391" fmla="*/ 529602 w 578488"/>
                <a:gd name="connsiteY391" fmla="*/ 12136 h 470547"/>
                <a:gd name="connsiteX392" fmla="*/ 531409 w 578488"/>
                <a:gd name="connsiteY392" fmla="*/ 11232 h 470547"/>
                <a:gd name="connsiteX393" fmla="*/ 537397 w 578488"/>
                <a:gd name="connsiteY393" fmla="*/ 11362 h 470547"/>
                <a:gd name="connsiteX394" fmla="*/ 539967 w 578488"/>
                <a:gd name="connsiteY394" fmla="*/ 12602 h 470547"/>
                <a:gd name="connsiteX395" fmla="*/ 542234 w 578488"/>
                <a:gd name="connsiteY395" fmla="*/ 15355 h 470547"/>
                <a:gd name="connsiteX396" fmla="*/ 543927 w 578488"/>
                <a:gd name="connsiteY396" fmla="*/ 16453 h 470547"/>
                <a:gd name="connsiteX397" fmla="*/ 549265 w 578488"/>
                <a:gd name="connsiteY397" fmla="*/ 17621 h 470547"/>
                <a:gd name="connsiteX398" fmla="*/ 551098 w 578488"/>
                <a:gd name="connsiteY398" fmla="*/ 19084 h 470547"/>
                <a:gd name="connsiteX399" fmla="*/ 551442 w 578488"/>
                <a:gd name="connsiteY399" fmla="*/ 19955 h 470547"/>
                <a:gd name="connsiteX400" fmla="*/ 552746 w 578488"/>
                <a:gd name="connsiteY400" fmla="*/ 20128 h 470547"/>
                <a:gd name="connsiteX401" fmla="*/ 556348 w 578488"/>
                <a:gd name="connsiteY401" fmla="*/ 18048 h 470547"/>
                <a:gd name="connsiteX402" fmla="*/ 558687 w 578488"/>
                <a:gd name="connsiteY402" fmla="*/ 17703 h 470547"/>
                <a:gd name="connsiteX403" fmla="*/ 562502 w 578488"/>
                <a:gd name="connsiteY403" fmla="*/ 20944 h 470547"/>
                <a:gd name="connsiteX404" fmla="*/ 561736 w 578488"/>
                <a:gd name="connsiteY404" fmla="*/ 23340 h 470547"/>
                <a:gd name="connsiteX405" fmla="*/ 561960 w 578488"/>
                <a:gd name="connsiteY405" fmla="*/ 24100 h 470547"/>
                <a:gd name="connsiteX406" fmla="*/ 566579 w 578488"/>
                <a:gd name="connsiteY406" fmla="*/ 23946 h 470547"/>
                <a:gd name="connsiteX407" fmla="*/ 570423 w 578488"/>
                <a:gd name="connsiteY407" fmla="*/ 24885 h 470547"/>
                <a:gd name="connsiteX408" fmla="*/ 577730 w 578488"/>
                <a:gd name="connsiteY408" fmla="*/ 29778 h 470547"/>
                <a:gd name="connsiteX409" fmla="*/ 578488 w 578488"/>
                <a:gd name="connsiteY409" fmla="*/ 32061 h 470547"/>
                <a:gd name="connsiteX410" fmla="*/ 578123 w 578488"/>
                <a:gd name="connsiteY410" fmla="*/ 34824 h 470547"/>
                <a:gd name="connsiteX411" fmla="*/ 567616 w 578488"/>
                <a:gd name="connsiteY411" fmla="*/ 37866 h 470547"/>
                <a:gd name="connsiteX412" fmla="*/ 563062 w 578488"/>
                <a:gd name="connsiteY412" fmla="*/ 40768 h 470547"/>
                <a:gd name="connsiteX413" fmla="*/ 555608 w 578488"/>
                <a:gd name="connsiteY413" fmla="*/ 41887 h 470547"/>
                <a:gd name="connsiteX414" fmla="*/ 530295 w 578488"/>
                <a:gd name="connsiteY414" fmla="*/ 39947 h 470547"/>
                <a:gd name="connsiteX415" fmla="*/ 530807 w 578488"/>
                <a:gd name="connsiteY415" fmla="*/ 42044 h 470547"/>
                <a:gd name="connsiteX416" fmla="*/ 548432 w 578488"/>
                <a:gd name="connsiteY416" fmla="*/ 46625 h 470547"/>
                <a:gd name="connsiteX417" fmla="*/ 549438 w 578488"/>
                <a:gd name="connsiteY417" fmla="*/ 47931 h 470547"/>
                <a:gd name="connsiteX418" fmla="*/ 548874 w 578488"/>
                <a:gd name="connsiteY418" fmla="*/ 50679 h 470547"/>
                <a:gd name="connsiteX419" fmla="*/ 548866 w 578488"/>
                <a:gd name="connsiteY419" fmla="*/ 52881 h 470547"/>
                <a:gd name="connsiteX420" fmla="*/ 549196 w 578488"/>
                <a:gd name="connsiteY420" fmla="*/ 54381 h 470547"/>
                <a:gd name="connsiteX421" fmla="*/ 550494 w 578488"/>
                <a:gd name="connsiteY421" fmla="*/ 55779 h 470547"/>
                <a:gd name="connsiteX422" fmla="*/ 552649 w 578488"/>
                <a:gd name="connsiteY422" fmla="*/ 56436 h 470547"/>
                <a:gd name="connsiteX423" fmla="*/ 557033 w 578488"/>
                <a:gd name="connsiteY423" fmla="*/ 56090 h 470547"/>
                <a:gd name="connsiteX424" fmla="*/ 559198 w 578488"/>
                <a:gd name="connsiteY424" fmla="*/ 56841 h 470547"/>
                <a:gd name="connsiteX425" fmla="*/ 560678 w 578488"/>
                <a:gd name="connsiteY425" fmla="*/ 55726 h 470547"/>
                <a:gd name="connsiteX426" fmla="*/ 561228 w 578488"/>
                <a:gd name="connsiteY426" fmla="*/ 51977 h 470547"/>
                <a:gd name="connsiteX427" fmla="*/ 562500 w 578488"/>
                <a:gd name="connsiteY427" fmla="*/ 51147 h 470547"/>
                <a:gd name="connsiteX428" fmla="*/ 564960 w 578488"/>
                <a:gd name="connsiteY428" fmla="*/ 52236 h 470547"/>
                <a:gd name="connsiteX429" fmla="*/ 566031 w 578488"/>
                <a:gd name="connsiteY429" fmla="*/ 56242 h 470547"/>
                <a:gd name="connsiteX430" fmla="*/ 566717 w 578488"/>
                <a:gd name="connsiteY430" fmla="*/ 56657 h 470547"/>
                <a:gd name="connsiteX431" fmla="*/ 567957 w 578488"/>
                <a:gd name="connsiteY431" fmla="*/ 53800 h 470547"/>
                <a:gd name="connsiteX432" fmla="*/ 570393 w 578488"/>
                <a:gd name="connsiteY432" fmla="*/ 54006 h 470547"/>
                <a:gd name="connsiteX433" fmla="*/ 573044 w 578488"/>
                <a:gd name="connsiteY433" fmla="*/ 53768 h 470547"/>
                <a:gd name="connsiteX434" fmla="*/ 576478 w 578488"/>
                <a:gd name="connsiteY434" fmla="*/ 54250 h 470547"/>
                <a:gd name="connsiteX435" fmla="*/ 577681 w 578488"/>
                <a:gd name="connsiteY435" fmla="*/ 59427 h 470547"/>
                <a:gd name="connsiteX436" fmla="*/ 577644 w 578488"/>
                <a:gd name="connsiteY436" fmla="*/ 61230 h 470547"/>
                <a:gd name="connsiteX437" fmla="*/ 577074 w 578488"/>
                <a:gd name="connsiteY437" fmla="*/ 62978 h 470547"/>
                <a:gd name="connsiteX438" fmla="*/ 576279 w 578488"/>
                <a:gd name="connsiteY438" fmla="*/ 63871 h 470547"/>
                <a:gd name="connsiteX439" fmla="*/ 574690 w 578488"/>
                <a:gd name="connsiteY439" fmla="*/ 64260 h 470547"/>
                <a:gd name="connsiteX440" fmla="*/ 570855 w 578488"/>
                <a:gd name="connsiteY440" fmla="*/ 64101 h 470547"/>
                <a:gd name="connsiteX441" fmla="*/ 565642 w 578488"/>
                <a:gd name="connsiteY441" fmla="*/ 62058 h 470547"/>
                <a:gd name="connsiteX442" fmla="*/ 562278 w 578488"/>
                <a:gd name="connsiteY442" fmla="*/ 60133 h 470547"/>
                <a:gd name="connsiteX443" fmla="*/ 561230 w 578488"/>
                <a:gd name="connsiteY443" fmla="*/ 60052 h 470547"/>
                <a:gd name="connsiteX444" fmla="*/ 560779 w 578488"/>
                <a:gd name="connsiteY444" fmla="*/ 60286 h 470547"/>
                <a:gd name="connsiteX445" fmla="*/ 561591 w 578488"/>
                <a:gd name="connsiteY445" fmla="*/ 62220 h 470547"/>
                <a:gd name="connsiteX446" fmla="*/ 561375 w 578488"/>
                <a:gd name="connsiteY446" fmla="*/ 63701 h 470547"/>
                <a:gd name="connsiteX447" fmla="*/ 560868 w 578488"/>
                <a:gd name="connsiteY447" fmla="*/ 65313 h 470547"/>
                <a:gd name="connsiteX448" fmla="*/ 560162 w 578488"/>
                <a:gd name="connsiteY448" fmla="*/ 66774 h 470547"/>
                <a:gd name="connsiteX449" fmla="*/ 559177 w 578488"/>
                <a:gd name="connsiteY449" fmla="*/ 68002 h 470547"/>
                <a:gd name="connsiteX450" fmla="*/ 557115 w 578488"/>
                <a:gd name="connsiteY450" fmla="*/ 69580 h 470547"/>
                <a:gd name="connsiteX451" fmla="*/ 553547 w 578488"/>
                <a:gd name="connsiteY451" fmla="*/ 70830 h 470547"/>
                <a:gd name="connsiteX452" fmla="*/ 543720 w 578488"/>
                <a:gd name="connsiteY452" fmla="*/ 73260 h 470547"/>
                <a:gd name="connsiteX453" fmla="*/ 542940 w 578488"/>
                <a:gd name="connsiteY453" fmla="*/ 74333 h 470547"/>
                <a:gd name="connsiteX454" fmla="*/ 539777 w 578488"/>
                <a:gd name="connsiteY454" fmla="*/ 81084 h 470547"/>
                <a:gd name="connsiteX455" fmla="*/ 538913 w 578488"/>
                <a:gd name="connsiteY455" fmla="*/ 82073 h 470547"/>
                <a:gd name="connsiteX456" fmla="*/ 537756 w 578488"/>
                <a:gd name="connsiteY456" fmla="*/ 82910 h 470547"/>
                <a:gd name="connsiteX457" fmla="*/ 534379 w 578488"/>
                <a:gd name="connsiteY457" fmla="*/ 83995 h 470547"/>
                <a:gd name="connsiteX458" fmla="*/ 532744 w 578488"/>
                <a:gd name="connsiteY458" fmla="*/ 82497 h 470547"/>
                <a:gd name="connsiteX459" fmla="*/ 531433 w 578488"/>
                <a:gd name="connsiteY459" fmla="*/ 80230 h 470547"/>
                <a:gd name="connsiteX460" fmla="*/ 531735 w 578488"/>
                <a:gd name="connsiteY460" fmla="*/ 77980 h 470547"/>
                <a:gd name="connsiteX461" fmla="*/ 535685 w 578488"/>
                <a:gd name="connsiteY461" fmla="*/ 73656 h 470547"/>
                <a:gd name="connsiteX462" fmla="*/ 539375 w 578488"/>
                <a:gd name="connsiteY462" fmla="*/ 70586 h 470547"/>
                <a:gd name="connsiteX463" fmla="*/ 540416 w 578488"/>
                <a:gd name="connsiteY463" fmla="*/ 69522 h 470547"/>
                <a:gd name="connsiteX464" fmla="*/ 542506 w 578488"/>
                <a:gd name="connsiteY464" fmla="*/ 66432 h 470547"/>
                <a:gd name="connsiteX465" fmla="*/ 538265 w 578488"/>
                <a:gd name="connsiteY465" fmla="*/ 58655 h 470547"/>
                <a:gd name="connsiteX466" fmla="*/ 530720 w 578488"/>
                <a:gd name="connsiteY466" fmla="*/ 56294 h 470547"/>
                <a:gd name="connsiteX467" fmla="*/ 522126 w 578488"/>
                <a:gd name="connsiteY467" fmla="*/ 52702 h 470547"/>
                <a:gd name="connsiteX468" fmla="*/ 518973 w 578488"/>
                <a:gd name="connsiteY468" fmla="*/ 50783 h 470547"/>
                <a:gd name="connsiteX469" fmla="*/ 514067 w 578488"/>
                <a:gd name="connsiteY469" fmla="*/ 46826 h 470547"/>
                <a:gd name="connsiteX470" fmla="*/ 510589 w 578488"/>
                <a:gd name="connsiteY470" fmla="*/ 43266 h 470547"/>
                <a:gd name="connsiteX471" fmla="*/ 507447 w 578488"/>
                <a:gd name="connsiteY471" fmla="*/ 43140 h 470547"/>
                <a:gd name="connsiteX472" fmla="*/ 503994 w 578488"/>
                <a:gd name="connsiteY472" fmla="*/ 44035 h 470547"/>
                <a:gd name="connsiteX473" fmla="*/ 498606 w 578488"/>
                <a:gd name="connsiteY473" fmla="*/ 47285 h 470547"/>
                <a:gd name="connsiteX474" fmla="*/ 495458 w 578488"/>
                <a:gd name="connsiteY474" fmla="*/ 48918 h 470547"/>
                <a:gd name="connsiteX475" fmla="*/ 493730 w 578488"/>
                <a:gd name="connsiteY475" fmla="*/ 49400 h 470547"/>
                <a:gd name="connsiteX476" fmla="*/ 493313 w 578488"/>
                <a:gd name="connsiteY476" fmla="*/ 49471 h 470547"/>
                <a:gd name="connsiteX477" fmla="*/ 489457 w 578488"/>
                <a:gd name="connsiteY477" fmla="*/ 48546 h 470547"/>
                <a:gd name="connsiteX478" fmla="*/ 485166 w 578488"/>
                <a:gd name="connsiteY478" fmla="*/ 48351 h 470547"/>
                <a:gd name="connsiteX479" fmla="*/ 481717 w 578488"/>
                <a:gd name="connsiteY479" fmla="*/ 48617 h 470547"/>
                <a:gd name="connsiteX480" fmla="*/ 480415 w 578488"/>
                <a:gd name="connsiteY480" fmla="*/ 49063 h 470547"/>
                <a:gd name="connsiteX481" fmla="*/ 475613 w 578488"/>
                <a:gd name="connsiteY481" fmla="*/ 54309 h 470547"/>
                <a:gd name="connsiteX482" fmla="*/ 472251 w 578488"/>
                <a:gd name="connsiteY482" fmla="*/ 56954 h 470547"/>
                <a:gd name="connsiteX483" fmla="*/ 470400 w 578488"/>
                <a:gd name="connsiteY483" fmla="*/ 57864 h 470547"/>
                <a:gd name="connsiteX484" fmla="*/ 469053 w 578488"/>
                <a:gd name="connsiteY484" fmla="*/ 59393 h 470547"/>
                <a:gd name="connsiteX485" fmla="*/ 467947 w 578488"/>
                <a:gd name="connsiteY485" fmla="*/ 61904 h 470547"/>
                <a:gd name="connsiteX486" fmla="*/ 465486 w 578488"/>
                <a:gd name="connsiteY486" fmla="*/ 70594 h 470547"/>
                <a:gd name="connsiteX487" fmla="*/ 463650 w 578488"/>
                <a:gd name="connsiteY487" fmla="*/ 73863 h 470547"/>
                <a:gd name="connsiteX488" fmla="*/ 463240 w 578488"/>
                <a:gd name="connsiteY488" fmla="*/ 75858 h 470547"/>
                <a:gd name="connsiteX489" fmla="*/ 463672 w 578488"/>
                <a:gd name="connsiteY489" fmla="*/ 81895 h 470547"/>
                <a:gd name="connsiteX490" fmla="*/ 463233 w 578488"/>
                <a:gd name="connsiteY490" fmla="*/ 85229 h 470547"/>
                <a:gd name="connsiteX491" fmla="*/ 460985 w 578488"/>
                <a:gd name="connsiteY491" fmla="*/ 87977 h 470547"/>
                <a:gd name="connsiteX492" fmla="*/ 459407 w 578488"/>
                <a:gd name="connsiteY492" fmla="*/ 89213 h 470547"/>
                <a:gd name="connsiteX493" fmla="*/ 457319 w 578488"/>
                <a:gd name="connsiteY493" fmla="*/ 89467 h 470547"/>
                <a:gd name="connsiteX494" fmla="*/ 454583 w 578488"/>
                <a:gd name="connsiteY494" fmla="*/ 90168 h 470547"/>
                <a:gd name="connsiteX495" fmla="*/ 452194 w 578488"/>
                <a:gd name="connsiteY495" fmla="*/ 91756 h 470547"/>
                <a:gd name="connsiteX496" fmla="*/ 450508 w 578488"/>
                <a:gd name="connsiteY496" fmla="*/ 93919 h 470547"/>
                <a:gd name="connsiteX497" fmla="*/ 448607 w 578488"/>
                <a:gd name="connsiteY497" fmla="*/ 98760 h 470547"/>
                <a:gd name="connsiteX498" fmla="*/ 445390 w 578488"/>
                <a:gd name="connsiteY498" fmla="*/ 100541 h 470547"/>
                <a:gd name="connsiteX499" fmla="*/ 442317 w 578488"/>
                <a:gd name="connsiteY499" fmla="*/ 100033 h 470547"/>
                <a:gd name="connsiteX500" fmla="*/ 440123 w 578488"/>
                <a:gd name="connsiteY500" fmla="*/ 98251 h 470547"/>
                <a:gd name="connsiteX501" fmla="*/ 435420 w 578488"/>
                <a:gd name="connsiteY501" fmla="*/ 96871 h 470547"/>
                <a:gd name="connsiteX502" fmla="*/ 431915 w 578488"/>
                <a:gd name="connsiteY502" fmla="*/ 95991 h 470547"/>
                <a:gd name="connsiteX503" fmla="*/ 427981 w 578488"/>
                <a:gd name="connsiteY503" fmla="*/ 94089 h 470547"/>
                <a:gd name="connsiteX504" fmla="*/ 424516 w 578488"/>
                <a:gd name="connsiteY504" fmla="*/ 92640 h 470547"/>
                <a:gd name="connsiteX505" fmla="*/ 421345 w 578488"/>
                <a:gd name="connsiteY505" fmla="*/ 92352 h 470547"/>
                <a:gd name="connsiteX506" fmla="*/ 419545 w 578488"/>
                <a:gd name="connsiteY506" fmla="*/ 94184 h 470547"/>
                <a:gd name="connsiteX507" fmla="*/ 418095 w 578488"/>
                <a:gd name="connsiteY507" fmla="*/ 95901 h 470547"/>
                <a:gd name="connsiteX508" fmla="*/ 412688 w 578488"/>
                <a:gd name="connsiteY508" fmla="*/ 97296 h 470547"/>
                <a:gd name="connsiteX509" fmla="*/ 409627 w 578488"/>
                <a:gd name="connsiteY509" fmla="*/ 98399 h 470547"/>
                <a:gd name="connsiteX510" fmla="*/ 405653 w 578488"/>
                <a:gd name="connsiteY510" fmla="*/ 98645 h 470547"/>
                <a:gd name="connsiteX511" fmla="*/ 404047 w 578488"/>
                <a:gd name="connsiteY511" fmla="*/ 97422 h 470547"/>
                <a:gd name="connsiteX512" fmla="*/ 398283 w 578488"/>
                <a:gd name="connsiteY512" fmla="*/ 96615 h 470547"/>
                <a:gd name="connsiteX513" fmla="*/ 391421 w 578488"/>
                <a:gd name="connsiteY513" fmla="*/ 95656 h 470547"/>
                <a:gd name="connsiteX514" fmla="*/ 389436 w 578488"/>
                <a:gd name="connsiteY514" fmla="*/ 95670 h 470547"/>
                <a:gd name="connsiteX515" fmla="*/ 388817 w 578488"/>
                <a:gd name="connsiteY515" fmla="*/ 93482 h 470547"/>
                <a:gd name="connsiteX516" fmla="*/ 386992 w 578488"/>
                <a:gd name="connsiteY516" fmla="*/ 90423 h 470547"/>
                <a:gd name="connsiteX517" fmla="*/ 382112 w 578488"/>
                <a:gd name="connsiteY517" fmla="*/ 85126 h 470547"/>
                <a:gd name="connsiteX518" fmla="*/ 380116 w 578488"/>
                <a:gd name="connsiteY518" fmla="*/ 83253 h 470547"/>
                <a:gd name="connsiteX519" fmla="*/ 376363 w 578488"/>
                <a:gd name="connsiteY519" fmla="*/ 78851 h 470547"/>
                <a:gd name="connsiteX520" fmla="*/ 371986 w 578488"/>
                <a:gd name="connsiteY520" fmla="*/ 74329 h 470547"/>
                <a:gd name="connsiteX521" fmla="*/ 371366 w 578488"/>
                <a:gd name="connsiteY521" fmla="*/ 74217 h 470547"/>
                <a:gd name="connsiteX522" fmla="*/ 368436 w 578488"/>
                <a:gd name="connsiteY522" fmla="*/ 74065 h 470547"/>
                <a:gd name="connsiteX523" fmla="*/ 364137 w 578488"/>
                <a:gd name="connsiteY523" fmla="*/ 74214 h 470547"/>
                <a:gd name="connsiteX524" fmla="*/ 361416 w 578488"/>
                <a:gd name="connsiteY524" fmla="*/ 75242 h 470547"/>
                <a:gd name="connsiteX525" fmla="*/ 359699 w 578488"/>
                <a:gd name="connsiteY525" fmla="*/ 76533 h 470547"/>
                <a:gd name="connsiteX526" fmla="*/ 359401 w 578488"/>
                <a:gd name="connsiteY526" fmla="*/ 77604 h 470547"/>
                <a:gd name="connsiteX527" fmla="*/ 361064 w 578488"/>
                <a:gd name="connsiteY527" fmla="*/ 81713 h 470547"/>
                <a:gd name="connsiteX528" fmla="*/ 360548 w 578488"/>
                <a:gd name="connsiteY528" fmla="*/ 82736 h 470547"/>
                <a:gd name="connsiteX529" fmla="*/ 359691 w 578488"/>
                <a:gd name="connsiteY529" fmla="*/ 83228 h 470547"/>
                <a:gd name="connsiteX530" fmla="*/ 355789 w 578488"/>
                <a:gd name="connsiteY530" fmla="*/ 82077 h 470547"/>
                <a:gd name="connsiteX531" fmla="*/ 351070 w 578488"/>
                <a:gd name="connsiteY531" fmla="*/ 82153 h 470547"/>
                <a:gd name="connsiteX532" fmla="*/ 349882 w 578488"/>
                <a:gd name="connsiteY532" fmla="*/ 83418 h 470547"/>
                <a:gd name="connsiteX533" fmla="*/ 347004 w 578488"/>
                <a:gd name="connsiteY533" fmla="*/ 83556 h 470547"/>
                <a:gd name="connsiteX534" fmla="*/ 338706 w 578488"/>
                <a:gd name="connsiteY534" fmla="*/ 84037 h 470547"/>
                <a:gd name="connsiteX535" fmla="*/ 342368 w 578488"/>
                <a:gd name="connsiteY535" fmla="*/ 87389 h 470547"/>
                <a:gd name="connsiteX536" fmla="*/ 343579 w 578488"/>
                <a:gd name="connsiteY536" fmla="*/ 88730 h 470547"/>
                <a:gd name="connsiteX537" fmla="*/ 343821 w 578488"/>
                <a:gd name="connsiteY537" fmla="*/ 90698 h 470547"/>
                <a:gd name="connsiteX538" fmla="*/ 343189 w 578488"/>
                <a:gd name="connsiteY538" fmla="*/ 94352 h 470547"/>
                <a:gd name="connsiteX539" fmla="*/ 341433 w 578488"/>
                <a:gd name="connsiteY539" fmla="*/ 97469 h 470547"/>
                <a:gd name="connsiteX540" fmla="*/ 339386 w 578488"/>
                <a:gd name="connsiteY540" fmla="*/ 100001 h 470547"/>
                <a:gd name="connsiteX541" fmla="*/ 335436 w 578488"/>
                <a:gd name="connsiteY541" fmla="*/ 102509 h 470547"/>
                <a:gd name="connsiteX542" fmla="*/ 341433 w 578488"/>
                <a:gd name="connsiteY542" fmla="*/ 104984 h 470547"/>
                <a:gd name="connsiteX543" fmla="*/ 337363 w 578488"/>
                <a:gd name="connsiteY543" fmla="*/ 108323 h 470547"/>
                <a:gd name="connsiteX544" fmla="*/ 335458 w 578488"/>
                <a:gd name="connsiteY544" fmla="*/ 109623 h 470547"/>
                <a:gd name="connsiteX545" fmla="*/ 333251 w 578488"/>
                <a:gd name="connsiteY545" fmla="*/ 109399 h 470547"/>
                <a:gd name="connsiteX546" fmla="*/ 329297 w 578488"/>
                <a:gd name="connsiteY546" fmla="*/ 108244 h 470547"/>
                <a:gd name="connsiteX547" fmla="*/ 319740 w 578488"/>
                <a:gd name="connsiteY547" fmla="*/ 105452 h 470547"/>
                <a:gd name="connsiteX548" fmla="*/ 315177 w 578488"/>
                <a:gd name="connsiteY548" fmla="*/ 104401 h 470547"/>
                <a:gd name="connsiteX549" fmla="*/ 311100 w 578488"/>
                <a:gd name="connsiteY549" fmla="*/ 104079 h 470547"/>
                <a:gd name="connsiteX550" fmla="*/ 308923 w 578488"/>
                <a:gd name="connsiteY550" fmla="*/ 104120 h 470547"/>
                <a:gd name="connsiteX551" fmla="*/ 300273 w 578488"/>
                <a:gd name="connsiteY551" fmla="*/ 101727 h 470547"/>
                <a:gd name="connsiteX552" fmla="*/ 298602 w 578488"/>
                <a:gd name="connsiteY552" fmla="*/ 101995 h 470547"/>
                <a:gd name="connsiteX553" fmla="*/ 295496 w 578488"/>
                <a:gd name="connsiteY553" fmla="*/ 103032 h 470547"/>
                <a:gd name="connsiteX554" fmla="*/ 295153 w 578488"/>
                <a:gd name="connsiteY554" fmla="*/ 105358 h 470547"/>
                <a:gd name="connsiteX555" fmla="*/ 295349 w 578488"/>
                <a:gd name="connsiteY555" fmla="*/ 111135 h 470547"/>
                <a:gd name="connsiteX556" fmla="*/ 295807 w 578488"/>
                <a:gd name="connsiteY556" fmla="*/ 115572 h 470547"/>
                <a:gd name="connsiteX557" fmla="*/ 294665 w 578488"/>
                <a:gd name="connsiteY557" fmla="*/ 118133 h 470547"/>
                <a:gd name="connsiteX558" fmla="*/ 293520 w 578488"/>
                <a:gd name="connsiteY558" fmla="*/ 119869 h 470547"/>
                <a:gd name="connsiteX559" fmla="*/ 290059 w 578488"/>
                <a:gd name="connsiteY559" fmla="*/ 124542 h 470547"/>
                <a:gd name="connsiteX560" fmla="*/ 282277 w 578488"/>
                <a:gd name="connsiteY560" fmla="*/ 121367 h 470547"/>
                <a:gd name="connsiteX561" fmla="*/ 276967 w 578488"/>
                <a:gd name="connsiteY561" fmla="*/ 119261 h 470547"/>
                <a:gd name="connsiteX562" fmla="*/ 273559 w 578488"/>
                <a:gd name="connsiteY562" fmla="*/ 122064 h 470547"/>
                <a:gd name="connsiteX563" fmla="*/ 265004 w 578488"/>
                <a:gd name="connsiteY563" fmla="*/ 127192 h 470547"/>
                <a:gd name="connsiteX564" fmla="*/ 260624 w 578488"/>
                <a:gd name="connsiteY564" fmla="*/ 137276 h 470547"/>
                <a:gd name="connsiteX565" fmla="*/ 260372 w 578488"/>
                <a:gd name="connsiteY565" fmla="*/ 137605 h 470547"/>
                <a:gd name="connsiteX566" fmla="*/ 257785 w 578488"/>
                <a:gd name="connsiteY566" fmla="*/ 140161 h 470547"/>
                <a:gd name="connsiteX567" fmla="*/ 254468 w 578488"/>
                <a:gd name="connsiteY567" fmla="*/ 141334 h 470547"/>
                <a:gd name="connsiteX568" fmla="*/ 251957 w 578488"/>
                <a:gd name="connsiteY568" fmla="*/ 141914 h 470547"/>
                <a:gd name="connsiteX569" fmla="*/ 250495 w 578488"/>
                <a:gd name="connsiteY569" fmla="*/ 144897 h 470547"/>
                <a:gd name="connsiteX570" fmla="*/ 253902 w 578488"/>
                <a:gd name="connsiteY570" fmla="*/ 149167 h 470547"/>
                <a:gd name="connsiteX571" fmla="*/ 255651 w 578488"/>
                <a:gd name="connsiteY571" fmla="*/ 151417 h 470547"/>
                <a:gd name="connsiteX572" fmla="*/ 257280 w 578488"/>
                <a:gd name="connsiteY572" fmla="*/ 155042 h 470547"/>
                <a:gd name="connsiteX573" fmla="*/ 256979 w 578488"/>
                <a:gd name="connsiteY573" fmla="*/ 157347 h 470547"/>
                <a:gd name="connsiteX574" fmla="*/ 256599 w 578488"/>
                <a:gd name="connsiteY574" fmla="*/ 158780 h 470547"/>
                <a:gd name="connsiteX575" fmla="*/ 252933 w 578488"/>
                <a:gd name="connsiteY575" fmla="*/ 161708 h 470547"/>
                <a:gd name="connsiteX576" fmla="*/ 245116 w 578488"/>
                <a:gd name="connsiteY576" fmla="*/ 169424 h 470547"/>
                <a:gd name="connsiteX577" fmla="*/ 237882 w 578488"/>
                <a:gd name="connsiteY577" fmla="*/ 177449 h 470547"/>
                <a:gd name="connsiteX578" fmla="*/ 234917 w 578488"/>
                <a:gd name="connsiteY578" fmla="*/ 179747 h 470547"/>
                <a:gd name="connsiteX579" fmla="*/ 236262 w 578488"/>
                <a:gd name="connsiteY579" fmla="*/ 186523 h 470547"/>
                <a:gd name="connsiteX580" fmla="*/ 233855 w 578488"/>
                <a:gd name="connsiteY580" fmla="*/ 188504 h 470547"/>
                <a:gd name="connsiteX581" fmla="*/ 228955 w 578488"/>
                <a:gd name="connsiteY581" fmla="*/ 190744 h 470547"/>
                <a:gd name="connsiteX582" fmla="*/ 226450 w 578488"/>
                <a:gd name="connsiteY582" fmla="*/ 191608 h 470547"/>
                <a:gd name="connsiteX583" fmla="*/ 223751 w 578488"/>
                <a:gd name="connsiteY583" fmla="*/ 192114 h 470547"/>
                <a:gd name="connsiteX584" fmla="*/ 215465 w 578488"/>
                <a:gd name="connsiteY584" fmla="*/ 193008 h 470547"/>
                <a:gd name="connsiteX585" fmla="*/ 216940 w 578488"/>
                <a:gd name="connsiteY585" fmla="*/ 200220 h 470547"/>
                <a:gd name="connsiteX586" fmla="*/ 217497 w 578488"/>
                <a:gd name="connsiteY586" fmla="*/ 203404 h 470547"/>
                <a:gd name="connsiteX587" fmla="*/ 217484 w 578488"/>
                <a:gd name="connsiteY587" fmla="*/ 205291 h 470547"/>
                <a:gd name="connsiteX588" fmla="*/ 216627 w 578488"/>
                <a:gd name="connsiteY588" fmla="*/ 207126 h 470547"/>
                <a:gd name="connsiteX589" fmla="*/ 215603 w 578488"/>
                <a:gd name="connsiteY589" fmla="*/ 210635 h 470547"/>
                <a:gd name="connsiteX590" fmla="*/ 214059 w 578488"/>
                <a:gd name="connsiteY590" fmla="*/ 223129 h 470547"/>
                <a:gd name="connsiteX591" fmla="*/ 212878 w 578488"/>
                <a:gd name="connsiteY591" fmla="*/ 224469 h 470547"/>
                <a:gd name="connsiteX592" fmla="*/ 211246 w 578488"/>
                <a:gd name="connsiteY592" fmla="*/ 227840 h 470547"/>
                <a:gd name="connsiteX593" fmla="*/ 205999 w 578488"/>
                <a:gd name="connsiteY593" fmla="*/ 235919 h 470547"/>
                <a:gd name="connsiteX594" fmla="*/ 201790 w 578488"/>
                <a:gd name="connsiteY594" fmla="*/ 241272 h 470547"/>
                <a:gd name="connsiteX595" fmla="*/ 195720 w 578488"/>
                <a:gd name="connsiteY595" fmla="*/ 248960 h 470547"/>
                <a:gd name="connsiteX596" fmla="*/ 200656 w 578488"/>
                <a:gd name="connsiteY596" fmla="*/ 251381 h 470547"/>
                <a:gd name="connsiteX597" fmla="*/ 205169 w 578488"/>
                <a:gd name="connsiteY597" fmla="*/ 253145 h 470547"/>
                <a:gd name="connsiteX598" fmla="*/ 206104 w 578488"/>
                <a:gd name="connsiteY598" fmla="*/ 255857 h 470547"/>
                <a:gd name="connsiteX599" fmla="*/ 206726 w 578488"/>
                <a:gd name="connsiteY599" fmla="*/ 260380 h 470547"/>
                <a:gd name="connsiteX600" fmla="*/ 206575 w 578488"/>
                <a:gd name="connsiteY600" fmla="*/ 263453 h 470547"/>
                <a:gd name="connsiteX601" fmla="*/ 204852 w 578488"/>
                <a:gd name="connsiteY601" fmla="*/ 266213 h 470547"/>
                <a:gd name="connsiteX602" fmla="*/ 203513 w 578488"/>
                <a:gd name="connsiteY602" fmla="*/ 268148 h 470547"/>
                <a:gd name="connsiteX603" fmla="*/ 202580 w 578488"/>
                <a:gd name="connsiteY603" fmla="*/ 269091 h 470547"/>
                <a:gd name="connsiteX604" fmla="*/ 196171 w 578488"/>
                <a:gd name="connsiteY604" fmla="*/ 268152 h 470547"/>
                <a:gd name="connsiteX605" fmla="*/ 187966 w 578488"/>
                <a:gd name="connsiteY605" fmla="*/ 266945 h 470547"/>
                <a:gd name="connsiteX606" fmla="*/ 185841 w 578488"/>
                <a:gd name="connsiteY606" fmla="*/ 266934 h 470547"/>
                <a:gd name="connsiteX607" fmla="*/ 181066 w 578488"/>
                <a:gd name="connsiteY607" fmla="*/ 267803 h 470547"/>
                <a:gd name="connsiteX608" fmla="*/ 176758 w 578488"/>
                <a:gd name="connsiteY608" fmla="*/ 269586 h 470547"/>
                <a:gd name="connsiteX609" fmla="*/ 174487 w 578488"/>
                <a:gd name="connsiteY609" fmla="*/ 271088 h 470547"/>
                <a:gd name="connsiteX610" fmla="*/ 173878 w 578488"/>
                <a:gd name="connsiteY610" fmla="*/ 271685 h 470547"/>
                <a:gd name="connsiteX611" fmla="*/ 171008 w 578488"/>
                <a:gd name="connsiteY611" fmla="*/ 275099 h 470547"/>
                <a:gd name="connsiteX612" fmla="*/ 165905 w 578488"/>
                <a:gd name="connsiteY612" fmla="*/ 281156 h 470547"/>
                <a:gd name="connsiteX613" fmla="*/ 163102 w 578488"/>
                <a:gd name="connsiteY613" fmla="*/ 283795 h 470547"/>
                <a:gd name="connsiteX614" fmla="*/ 163919 w 578488"/>
                <a:gd name="connsiteY614" fmla="*/ 287426 h 470547"/>
                <a:gd name="connsiteX615" fmla="*/ 159226 w 578488"/>
                <a:gd name="connsiteY615" fmla="*/ 294429 h 470547"/>
                <a:gd name="connsiteX616" fmla="*/ 162295 w 578488"/>
                <a:gd name="connsiteY616" fmla="*/ 301478 h 470547"/>
                <a:gd name="connsiteX617" fmla="*/ 162426 w 578488"/>
                <a:gd name="connsiteY617" fmla="*/ 301709 h 470547"/>
                <a:gd name="connsiteX618" fmla="*/ 164052 w 578488"/>
                <a:gd name="connsiteY618" fmla="*/ 304551 h 470547"/>
                <a:gd name="connsiteX619" fmla="*/ 162347 w 578488"/>
                <a:gd name="connsiteY619" fmla="*/ 306381 h 470547"/>
                <a:gd name="connsiteX620" fmla="*/ 161630 w 578488"/>
                <a:gd name="connsiteY620" fmla="*/ 307364 h 470547"/>
                <a:gd name="connsiteX621" fmla="*/ 161873 w 578488"/>
                <a:gd name="connsiteY621" fmla="*/ 310603 h 470547"/>
                <a:gd name="connsiteX622" fmla="*/ 162321 w 578488"/>
                <a:gd name="connsiteY622" fmla="*/ 314217 h 470547"/>
                <a:gd name="connsiteX623" fmla="*/ 161923 w 578488"/>
                <a:gd name="connsiteY623" fmla="*/ 316334 h 470547"/>
                <a:gd name="connsiteX624" fmla="*/ 161761 w 578488"/>
                <a:gd name="connsiteY624" fmla="*/ 318682 h 470547"/>
                <a:gd name="connsiteX625" fmla="*/ 165940 w 578488"/>
                <a:gd name="connsiteY625" fmla="*/ 329208 h 470547"/>
                <a:gd name="connsiteX626" fmla="*/ 165892 w 578488"/>
                <a:gd name="connsiteY626" fmla="*/ 331669 h 470547"/>
                <a:gd name="connsiteX627" fmla="*/ 165685 w 578488"/>
                <a:gd name="connsiteY627" fmla="*/ 333254 h 470547"/>
                <a:gd name="connsiteX628" fmla="*/ 164396 w 578488"/>
                <a:gd name="connsiteY628" fmla="*/ 339764 h 470547"/>
                <a:gd name="connsiteX629" fmla="*/ 162664 w 578488"/>
                <a:gd name="connsiteY629" fmla="*/ 348480 h 470547"/>
                <a:gd name="connsiteX630" fmla="*/ 165687 w 578488"/>
                <a:gd name="connsiteY630" fmla="*/ 350764 h 470547"/>
                <a:gd name="connsiteX631" fmla="*/ 169993 w 578488"/>
                <a:gd name="connsiteY631" fmla="*/ 353492 h 470547"/>
                <a:gd name="connsiteX632" fmla="*/ 172409 w 578488"/>
                <a:gd name="connsiteY632" fmla="*/ 354565 h 470547"/>
                <a:gd name="connsiteX633" fmla="*/ 175979 w 578488"/>
                <a:gd name="connsiteY633" fmla="*/ 357800 h 470547"/>
                <a:gd name="connsiteX634" fmla="*/ 178704 w 578488"/>
                <a:gd name="connsiteY634" fmla="*/ 360956 h 470547"/>
                <a:gd name="connsiteX635" fmla="*/ 178326 w 578488"/>
                <a:gd name="connsiteY635" fmla="*/ 363049 h 470547"/>
                <a:gd name="connsiteX636" fmla="*/ 177542 w 578488"/>
                <a:gd name="connsiteY636" fmla="*/ 365356 h 470547"/>
                <a:gd name="connsiteX637" fmla="*/ 176395 w 578488"/>
                <a:gd name="connsiteY637" fmla="*/ 366968 h 470547"/>
                <a:gd name="connsiteX638" fmla="*/ 175322 w 578488"/>
                <a:gd name="connsiteY638" fmla="*/ 369179 h 470547"/>
                <a:gd name="connsiteX639" fmla="*/ 174841 w 578488"/>
                <a:gd name="connsiteY639" fmla="*/ 370806 h 470547"/>
                <a:gd name="connsiteX640" fmla="*/ 174331 w 578488"/>
                <a:gd name="connsiteY640" fmla="*/ 371244 h 470547"/>
                <a:gd name="connsiteX641" fmla="*/ 169568 w 578488"/>
                <a:gd name="connsiteY641" fmla="*/ 371422 h 470547"/>
                <a:gd name="connsiteX642" fmla="*/ 167049 w 578488"/>
                <a:gd name="connsiteY642" fmla="*/ 372037 h 470547"/>
                <a:gd name="connsiteX643" fmla="*/ 165732 w 578488"/>
                <a:gd name="connsiteY643" fmla="*/ 372726 h 470547"/>
                <a:gd name="connsiteX644" fmla="*/ 166186 w 578488"/>
                <a:gd name="connsiteY644" fmla="*/ 376434 h 470547"/>
                <a:gd name="connsiteX645" fmla="*/ 169075 w 578488"/>
                <a:gd name="connsiteY645" fmla="*/ 383209 h 470547"/>
                <a:gd name="connsiteX646" fmla="*/ 171474 w 578488"/>
                <a:gd name="connsiteY646" fmla="*/ 388013 h 470547"/>
                <a:gd name="connsiteX647" fmla="*/ 172245 w 578488"/>
                <a:gd name="connsiteY647" fmla="*/ 391175 h 470547"/>
                <a:gd name="connsiteX648" fmla="*/ 171453 w 578488"/>
                <a:gd name="connsiteY648" fmla="*/ 394375 h 470547"/>
                <a:gd name="connsiteX649" fmla="*/ 170634 w 578488"/>
                <a:gd name="connsiteY649" fmla="*/ 396012 h 470547"/>
                <a:gd name="connsiteX650" fmla="*/ 170608 w 578488"/>
                <a:gd name="connsiteY650" fmla="*/ 398214 h 470547"/>
                <a:gd name="connsiteX651" fmla="*/ 169978 w 578488"/>
                <a:gd name="connsiteY651" fmla="*/ 402590 h 470547"/>
                <a:gd name="connsiteX652" fmla="*/ 168118 w 578488"/>
                <a:gd name="connsiteY652" fmla="*/ 404799 h 470547"/>
                <a:gd name="connsiteX653" fmla="*/ 165685 w 578488"/>
                <a:gd name="connsiteY653" fmla="*/ 407204 h 470547"/>
                <a:gd name="connsiteX654" fmla="*/ 162971 w 578488"/>
                <a:gd name="connsiteY654" fmla="*/ 408999 h 470547"/>
                <a:gd name="connsiteX655" fmla="*/ 160818 w 578488"/>
                <a:gd name="connsiteY655" fmla="*/ 409503 h 470547"/>
                <a:gd name="connsiteX656" fmla="*/ 158969 w 578488"/>
                <a:gd name="connsiteY656" fmla="*/ 409711 h 470547"/>
                <a:gd name="connsiteX657" fmla="*/ 157728 w 578488"/>
                <a:gd name="connsiteY657" fmla="*/ 410622 h 470547"/>
                <a:gd name="connsiteX658" fmla="*/ 156602 w 578488"/>
                <a:gd name="connsiteY658" fmla="*/ 413299 h 470547"/>
                <a:gd name="connsiteX659" fmla="*/ 155564 w 578488"/>
                <a:gd name="connsiteY659" fmla="*/ 416106 h 470547"/>
                <a:gd name="connsiteX660" fmla="*/ 152169 w 578488"/>
                <a:gd name="connsiteY660" fmla="*/ 419553 h 470547"/>
                <a:gd name="connsiteX661" fmla="*/ 152260 w 578488"/>
                <a:gd name="connsiteY661" fmla="*/ 420752 h 470547"/>
                <a:gd name="connsiteX662" fmla="*/ 153553 w 578488"/>
                <a:gd name="connsiteY662" fmla="*/ 424829 h 470547"/>
                <a:gd name="connsiteX663" fmla="*/ 154765 w 578488"/>
                <a:gd name="connsiteY663" fmla="*/ 429460 h 470547"/>
                <a:gd name="connsiteX664" fmla="*/ 153741 w 578488"/>
                <a:gd name="connsiteY664" fmla="*/ 433781 h 470547"/>
                <a:gd name="connsiteX665" fmla="*/ 152865 w 578488"/>
                <a:gd name="connsiteY665" fmla="*/ 438308 h 470547"/>
                <a:gd name="connsiteX666" fmla="*/ 151329 w 578488"/>
                <a:gd name="connsiteY666" fmla="*/ 441320 h 470547"/>
                <a:gd name="connsiteX667" fmla="*/ 149135 w 578488"/>
                <a:gd name="connsiteY667" fmla="*/ 442395 h 470547"/>
                <a:gd name="connsiteX668" fmla="*/ 147524 w 578488"/>
                <a:gd name="connsiteY668" fmla="*/ 441858 h 470547"/>
                <a:gd name="connsiteX669" fmla="*/ 145702 w 578488"/>
                <a:gd name="connsiteY669" fmla="*/ 437727 h 470547"/>
                <a:gd name="connsiteX670" fmla="*/ 145661 w 578488"/>
                <a:gd name="connsiteY670" fmla="*/ 436776 h 470547"/>
                <a:gd name="connsiteX671" fmla="*/ 145207 w 578488"/>
                <a:gd name="connsiteY671" fmla="*/ 435511 h 470547"/>
                <a:gd name="connsiteX672" fmla="*/ 140038 w 578488"/>
                <a:gd name="connsiteY672" fmla="*/ 434250 h 470547"/>
                <a:gd name="connsiteX673" fmla="*/ 139124 w 578488"/>
                <a:gd name="connsiteY673" fmla="*/ 434296 h 470547"/>
                <a:gd name="connsiteX674" fmla="*/ 137092 w 578488"/>
                <a:gd name="connsiteY674" fmla="*/ 433557 h 470547"/>
                <a:gd name="connsiteX675" fmla="*/ 135901 w 578488"/>
                <a:gd name="connsiteY675" fmla="*/ 433348 h 470547"/>
                <a:gd name="connsiteX676" fmla="*/ 133456 w 578488"/>
                <a:gd name="connsiteY676" fmla="*/ 432921 h 470547"/>
                <a:gd name="connsiteX677" fmla="*/ 131424 w 578488"/>
                <a:gd name="connsiteY677" fmla="*/ 429261 h 470547"/>
                <a:gd name="connsiteX678" fmla="*/ 129265 w 578488"/>
                <a:gd name="connsiteY678" fmla="*/ 426212 h 470547"/>
                <a:gd name="connsiteX679" fmla="*/ 128958 w 578488"/>
                <a:gd name="connsiteY679" fmla="*/ 424936 h 470547"/>
                <a:gd name="connsiteX680" fmla="*/ 129032 w 578488"/>
                <a:gd name="connsiteY680" fmla="*/ 419218 h 470547"/>
                <a:gd name="connsiteX681" fmla="*/ 128371 w 578488"/>
                <a:gd name="connsiteY681" fmla="*/ 416670 h 470547"/>
                <a:gd name="connsiteX682" fmla="*/ 128168 w 578488"/>
                <a:gd name="connsiteY682" fmla="*/ 413889 h 470547"/>
                <a:gd name="connsiteX683" fmla="*/ 126809 w 578488"/>
                <a:gd name="connsiteY683" fmla="*/ 416151 h 470547"/>
                <a:gd name="connsiteX684" fmla="*/ 127598 w 578488"/>
                <a:gd name="connsiteY684" fmla="*/ 419723 h 470547"/>
                <a:gd name="connsiteX685" fmla="*/ 125922 w 578488"/>
                <a:gd name="connsiteY685" fmla="*/ 421220 h 470547"/>
                <a:gd name="connsiteX686" fmla="*/ 123808 w 578488"/>
                <a:gd name="connsiteY686" fmla="*/ 421947 h 470547"/>
                <a:gd name="connsiteX687" fmla="*/ 124007 w 578488"/>
                <a:gd name="connsiteY687" fmla="*/ 424035 h 470547"/>
                <a:gd name="connsiteX688" fmla="*/ 124875 w 578488"/>
                <a:gd name="connsiteY688" fmla="*/ 424430 h 470547"/>
                <a:gd name="connsiteX689" fmla="*/ 125056 w 578488"/>
                <a:gd name="connsiteY689" fmla="*/ 426595 h 470547"/>
                <a:gd name="connsiteX690" fmla="*/ 124542 w 578488"/>
                <a:gd name="connsiteY690" fmla="*/ 429796 h 470547"/>
                <a:gd name="connsiteX691" fmla="*/ 120381 w 578488"/>
                <a:gd name="connsiteY691" fmla="*/ 436895 h 470547"/>
                <a:gd name="connsiteX692" fmla="*/ 119541 w 578488"/>
                <a:gd name="connsiteY692" fmla="*/ 437657 h 470547"/>
                <a:gd name="connsiteX693" fmla="*/ 118971 w 578488"/>
                <a:gd name="connsiteY693" fmla="*/ 438614 h 470547"/>
                <a:gd name="connsiteX694" fmla="*/ 116842 w 578488"/>
                <a:gd name="connsiteY694" fmla="*/ 437978 h 470547"/>
                <a:gd name="connsiteX695" fmla="*/ 114110 w 578488"/>
                <a:gd name="connsiteY695" fmla="*/ 439950 h 470547"/>
                <a:gd name="connsiteX696" fmla="*/ 111523 w 578488"/>
                <a:gd name="connsiteY696" fmla="*/ 440266 h 470547"/>
                <a:gd name="connsiteX697" fmla="*/ 110586 w 578488"/>
                <a:gd name="connsiteY697" fmla="*/ 438035 h 470547"/>
                <a:gd name="connsiteX698" fmla="*/ 106936 w 578488"/>
                <a:gd name="connsiteY698" fmla="*/ 435079 h 470547"/>
                <a:gd name="connsiteX699" fmla="*/ 105213 w 578488"/>
                <a:gd name="connsiteY699" fmla="*/ 435245 h 470547"/>
                <a:gd name="connsiteX700" fmla="*/ 106760 w 578488"/>
                <a:gd name="connsiteY700" fmla="*/ 436704 h 470547"/>
                <a:gd name="connsiteX701" fmla="*/ 108284 w 578488"/>
                <a:gd name="connsiteY701" fmla="*/ 438599 h 470547"/>
                <a:gd name="connsiteX702" fmla="*/ 107418 w 578488"/>
                <a:gd name="connsiteY702" fmla="*/ 439853 h 470547"/>
                <a:gd name="connsiteX703" fmla="*/ 106567 w 578488"/>
                <a:gd name="connsiteY703" fmla="*/ 440671 h 470547"/>
                <a:gd name="connsiteX704" fmla="*/ 105077 w 578488"/>
                <a:gd name="connsiteY704" fmla="*/ 441095 h 470547"/>
                <a:gd name="connsiteX705" fmla="*/ 99746 w 578488"/>
                <a:gd name="connsiteY705" fmla="*/ 443570 h 470547"/>
                <a:gd name="connsiteX706" fmla="*/ 101644 w 578488"/>
                <a:gd name="connsiteY706" fmla="*/ 445231 h 470547"/>
                <a:gd name="connsiteX707" fmla="*/ 100033 w 578488"/>
                <a:gd name="connsiteY707" fmla="*/ 447116 h 470547"/>
                <a:gd name="connsiteX708" fmla="*/ 98170 w 578488"/>
                <a:gd name="connsiteY708" fmla="*/ 447393 h 470547"/>
                <a:gd name="connsiteX709" fmla="*/ 97176 w 578488"/>
                <a:gd name="connsiteY709" fmla="*/ 448273 h 470547"/>
                <a:gd name="connsiteX710" fmla="*/ 96831 w 578488"/>
                <a:gd name="connsiteY710" fmla="*/ 449467 h 470547"/>
                <a:gd name="connsiteX711" fmla="*/ 91309 w 578488"/>
                <a:gd name="connsiteY711" fmla="*/ 452866 h 470547"/>
                <a:gd name="connsiteX712" fmla="*/ 82309 w 578488"/>
                <a:gd name="connsiteY712" fmla="*/ 461559 h 470547"/>
                <a:gd name="connsiteX713" fmla="*/ 77684 w 578488"/>
                <a:gd name="connsiteY713" fmla="*/ 464009 h 470547"/>
                <a:gd name="connsiteX714" fmla="*/ 74453 w 578488"/>
                <a:gd name="connsiteY714" fmla="*/ 466554 h 470547"/>
                <a:gd name="connsiteX715" fmla="*/ 71607 w 578488"/>
                <a:gd name="connsiteY715" fmla="*/ 466491 h 470547"/>
                <a:gd name="connsiteX716" fmla="*/ 68029 w 578488"/>
                <a:gd name="connsiteY716" fmla="*/ 468652 h 470547"/>
                <a:gd name="connsiteX717" fmla="*/ 58970 w 578488"/>
                <a:gd name="connsiteY717" fmla="*/ 470547 h 470547"/>
                <a:gd name="connsiteX718" fmla="*/ 52961 w 578488"/>
                <a:gd name="connsiteY718" fmla="*/ 469690 h 470547"/>
                <a:gd name="connsiteX719" fmla="*/ 48776 w 578488"/>
                <a:gd name="connsiteY719" fmla="*/ 470442 h 470547"/>
                <a:gd name="connsiteX720" fmla="*/ 46532 w 578488"/>
                <a:gd name="connsiteY720" fmla="*/ 468957 h 470547"/>
                <a:gd name="connsiteX721" fmla="*/ 46241 w 578488"/>
                <a:gd name="connsiteY721" fmla="*/ 467936 h 470547"/>
                <a:gd name="connsiteX722" fmla="*/ 46353 w 578488"/>
                <a:gd name="connsiteY722" fmla="*/ 467343 h 470547"/>
                <a:gd name="connsiteX723" fmla="*/ 46729 w 578488"/>
                <a:gd name="connsiteY723" fmla="*/ 466632 h 470547"/>
                <a:gd name="connsiteX724" fmla="*/ 45949 w 578488"/>
                <a:gd name="connsiteY724" fmla="*/ 466380 h 470547"/>
                <a:gd name="connsiteX725" fmla="*/ 44308 w 578488"/>
                <a:gd name="connsiteY725" fmla="*/ 466257 h 470547"/>
                <a:gd name="connsiteX726" fmla="*/ 43606 w 578488"/>
                <a:gd name="connsiteY726" fmla="*/ 466974 h 470547"/>
                <a:gd name="connsiteX727" fmla="*/ 43511 w 578488"/>
                <a:gd name="connsiteY727" fmla="*/ 468602 h 470547"/>
                <a:gd name="connsiteX728" fmla="*/ 42730 w 578488"/>
                <a:gd name="connsiteY728" fmla="*/ 469027 h 470547"/>
                <a:gd name="connsiteX729" fmla="*/ 39613 w 578488"/>
                <a:gd name="connsiteY729" fmla="*/ 468096 h 470547"/>
                <a:gd name="connsiteX730" fmla="*/ 38830 w 578488"/>
                <a:gd name="connsiteY730" fmla="*/ 467257 h 470547"/>
                <a:gd name="connsiteX731" fmla="*/ 39950 w 578488"/>
                <a:gd name="connsiteY731" fmla="*/ 465556 h 470547"/>
                <a:gd name="connsiteX732" fmla="*/ 41868 w 578488"/>
                <a:gd name="connsiteY732" fmla="*/ 464023 h 470547"/>
                <a:gd name="connsiteX733" fmla="*/ 41520 w 578488"/>
                <a:gd name="connsiteY733" fmla="*/ 463709 h 470547"/>
                <a:gd name="connsiteX734" fmla="*/ 41147 w 578488"/>
                <a:gd name="connsiteY734" fmla="*/ 462777 h 470547"/>
                <a:gd name="connsiteX735" fmla="*/ 40211 w 578488"/>
                <a:gd name="connsiteY735" fmla="*/ 462659 h 470547"/>
                <a:gd name="connsiteX736" fmla="*/ 37424 w 578488"/>
                <a:gd name="connsiteY736" fmla="*/ 462884 h 470547"/>
                <a:gd name="connsiteX737" fmla="*/ 35159 w 578488"/>
                <a:gd name="connsiteY737" fmla="*/ 462609 h 470547"/>
                <a:gd name="connsiteX738" fmla="*/ 27765 w 578488"/>
                <a:gd name="connsiteY738" fmla="*/ 459156 h 470547"/>
                <a:gd name="connsiteX739" fmla="*/ 26038 w 578488"/>
                <a:gd name="connsiteY739" fmla="*/ 457312 h 470547"/>
                <a:gd name="connsiteX740" fmla="*/ 20073 w 578488"/>
                <a:gd name="connsiteY740" fmla="*/ 454363 h 470547"/>
                <a:gd name="connsiteX741" fmla="*/ 17400 w 578488"/>
                <a:gd name="connsiteY741" fmla="*/ 451234 h 470547"/>
                <a:gd name="connsiteX742" fmla="*/ 15882 w 578488"/>
                <a:gd name="connsiteY742" fmla="*/ 447798 h 470547"/>
                <a:gd name="connsiteX743" fmla="*/ 15996 w 578488"/>
                <a:gd name="connsiteY743" fmla="*/ 444680 h 470547"/>
                <a:gd name="connsiteX744" fmla="*/ 16728 w 578488"/>
                <a:gd name="connsiteY744" fmla="*/ 439723 h 470547"/>
                <a:gd name="connsiteX745" fmla="*/ 17981 w 578488"/>
                <a:gd name="connsiteY745" fmla="*/ 438496 h 470547"/>
                <a:gd name="connsiteX746" fmla="*/ 23334 w 578488"/>
                <a:gd name="connsiteY746" fmla="*/ 440234 h 470547"/>
                <a:gd name="connsiteX747" fmla="*/ 28745 w 578488"/>
                <a:gd name="connsiteY747" fmla="*/ 443134 h 470547"/>
                <a:gd name="connsiteX748" fmla="*/ 29592 w 578488"/>
                <a:gd name="connsiteY748" fmla="*/ 442991 h 470547"/>
                <a:gd name="connsiteX749" fmla="*/ 31291 w 578488"/>
                <a:gd name="connsiteY749" fmla="*/ 440715 h 470547"/>
                <a:gd name="connsiteX750" fmla="*/ 34589 w 578488"/>
                <a:gd name="connsiteY750" fmla="*/ 438885 h 470547"/>
                <a:gd name="connsiteX751" fmla="*/ 33656 w 578488"/>
                <a:gd name="connsiteY751" fmla="*/ 438380 h 470547"/>
                <a:gd name="connsiteX752" fmla="*/ 28754 w 578488"/>
                <a:gd name="connsiteY752" fmla="*/ 440479 h 470547"/>
                <a:gd name="connsiteX753" fmla="*/ 26931 w 578488"/>
                <a:gd name="connsiteY753" fmla="*/ 439316 h 470547"/>
                <a:gd name="connsiteX754" fmla="*/ 24105 w 578488"/>
                <a:gd name="connsiteY754" fmla="*/ 436946 h 470547"/>
                <a:gd name="connsiteX755" fmla="*/ 24105 w 578488"/>
                <a:gd name="connsiteY755" fmla="*/ 435725 h 470547"/>
                <a:gd name="connsiteX756" fmla="*/ 25422 w 578488"/>
                <a:gd name="connsiteY756" fmla="*/ 434503 h 470547"/>
                <a:gd name="connsiteX757" fmla="*/ 25860 w 578488"/>
                <a:gd name="connsiteY757" fmla="*/ 432849 h 470547"/>
                <a:gd name="connsiteX758" fmla="*/ 25169 w 578488"/>
                <a:gd name="connsiteY758" fmla="*/ 431287 h 470547"/>
                <a:gd name="connsiteX759" fmla="*/ 25491 w 578488"/>
                <a:gd name="connsiteY759" fmla="*/ 429160 h 470547"/>
                <a:gd name="connsiteX760" fmla="*/ 27677 w 578488"/>
                <a:gd name="connsiteY760" fmla="*/ 426901 h 470547"/>
                <a:gd name="connsiteX761" fmla="*/ 30954 w 578488"/>
                <a:gd name="connsiteY761" fmla="*/ 424611 h 470547"/>
                <a:gd name="connsiteX762" fmla="*/ 33315 w 578488"/>
                <a:gd name="connsiteY762" fmla="*/ 422399 h 470547"/>
                <a:gd name="connsiteX763" fmla="*/ 35740 w 578488"/>
                <a:gd name="connsiteY763" fmla="*/ 421036 h 470547"/>
                <a:gd name="connsiteX764" fmla="*/ 35487 w 578488"/>
                <a:gd name="connsiteY764" fmla="*/ 420581 h 470547"/>
                <a:gd name="connsiteX765" fmla="*/ 32714 w 578488"/>
                <a:gd name="connsiteY765" fmla="*/ 421449 h 470547"/>
                <a:gd name="connsiteX766" fmla="*/ 30062 w 578488"/>
                <a:gd name="connsiteY766" fmla="*/ 422921 h 470547"/>
                <a:gd name="connsiteX767" fmla="*/ 26940 w 578488"/>
                <a:gd name="connsiteY767" fmla="*/ 425385 h 470547"/>
                <a:gd name="connsiteX768" fmla="*/ 23133 w 578488"/>
                <a:gd name="connsiteY768" fmla="*/ 427381 h 470547"/>
                <a:gd name="connsiteX769" fmla="*/ 20319 w 578488"/>
                <a:gd name="connsiteY769" fmla="*/ 428155 h 470547"/>
                <a:gd name="connsiteX770" fmla="*/ 18978 w 578488"/>
                <a:gd name="connsiteY770" fmla="*/ 428795 h 470547"/>
                <a:gd name="connsiteX771" fmla="*/ 16916 w 578488"/>
                <a:gd name="connsiteY771" fmla="*/ 429417 h 470547"/>
                <a:gd name="connsiteX772" fmla="*/ 14783 w 578488"/>
                <a:gd name="connsiteY772" fmla="*/ 432273 h 470547"/>
                <a:gd name="connsiteX773" fmla="*/ 12455 w 578488"/>
                <a:gd name="connsiteY773" fmla="*/ 433495 h 470547"/>
                <a:gd name="connsiteX774" fmla="*/ 8274 w 578488"/>
                <a:gd name="connsiteY774" fmla="*/ 433619 h 470547"/>
                <a:gd name="connsiteX775" fmla="*/ 7355 w 578488"/>
                <a:gd name="connsiteY775" fmla="*/ 431533 h 470547"/>
                <a:gd name="connsiteX776" fmla="*/ 8535 w 578488"/>
                <a:gd name="connsiteY776" fmla="*/ 424101 h 470547"/>
                <a:gd name="connsiteX777" fmla="*/ 9799 w 578488"/>
                <a:gd name="connsiteY777" fmla="*/ 420472 h 470547"/>
                <a:gd name="connsiteX778" fmla="*/ 11185 w 578488"/>
                <a:gd name="connsiteY778" fmla="*/ 417901 h 470547"/>
                <a:gd name="connsiteX779" fmla="*/ 13366 w 578488"/>
                <a:gd name="connsiteY779" fmla="*/ 417468 h 470547"/>
                <a:gd name="connsiteX780" fmla="*/ 14891 w 578488"/>
                <a:gd name="connsiteY780" fmla="*/ 415582 h 470547"/>
                <a:gd name="connsiteX781" fmla="*/ 16156 w 578488"/>
                <a:gd name="connsiteY781" fmla="*/ 415582 h 470547"/>
                <a:gd name="connsiteX782" fmla="*/ 17257 w 578488"/>
                <a:gd name="connsiteY782" fmla="*/ 416453 h 470547"/>
                <a:gd name="connsiteX783" fmla="*/ 21518 w 578488"/>
                <a:gd name="connsiteY783" fmla="*/ 417297 h 470547"/>
                <a:gd name="connsiteX784" fmla="*/ 23621 w 578488"/>
                <a:gd name="connsiteY784" fmla="*/ 414895 h 470547"/>
                <a:gd name="connsiteX785" fmla="*/ 26357 w 578488"/>
                <a:gd name="connsiteY785" fmla="*/ 414543 h 470547"/>
                <a:gd name="connsiteX786" fmla="*/ 31345 w 578488"/>
                <a:gd name="connsiteY786" fmla="*/ 412116 h 470547"/>
                <a:gd name="connsiteX787" fmla="*/ 31241 w 578488"/>
                <a:gd name="connsiteY787" fmla="*/ 411674 h 470547"/>
                <a:gd name="connsiteX788" fmla="*/ 27866 w 578488"/>
                <a:gd name="connsiteY788" fmla="*/ 412208 h 470547"/>
                <a:gd name="connsiteX789" fmla="*/ 25819 w 578488"/>
                <a:gd name="connsiteY789" fmla="*/ 412287 h 470547"/>
                <a:gd name="connsiteX790" fmla="*/ 22885 w 578488"/>
                <a:gd name="connsiteY790" fmla="*/ 412896 h 470547"/>
                <a:gd name="connsiteX791" fmla="*/ 21326 w 578488"/>
                <a:gd name="connsiteY791" fmla="*/ 412461 h 470547"/>
                <a:gd name="connsiteX792" fmla="*/ 20596 w 578488"/>
                <a:gd name="connsiteY792" fmla="*/ 410642 h 470547"/>
                <a:gd name="connsiteX793" fmla="*/ 21770 w 578488"/>
                <a:gd name="connsiteY793" fmla="*/ 409002 h 470547"/>
                <a:gd name="connsiteX794" fmla="*/ 26478 w 578488"/>
                <a:gd name="connsiteY794" fmla="*/ 405081 h 470547"/>
                <a:gd name="connsiteX795" fmla="*/ 28102 w 578488"/>
                <a:gd name="connsiteY795" fmla="*/ 403361 h 470547"/>
                <a:gd name="connsiteX796" fmla="*/ 29028 w 578488"/>
                <a:gd name="connsiteY796" fmla="*/ 401753 h 470547"/>
                <a:gd name="connsiteX797" fmla="*/ 28881 w 578488"/>
                <a:gd name="connsiteY797" fmla="*/ 400658 h 470547"/>
                <a:gd name="connsiteX798" fmla="*/ 29663 w 578488"/>
                <a:gd name="connsiteY798" fmla="*/ 398392 h 470547"/>
                <a:gd name="connsiteX799" fmla="*/ 34267 w 578488"/>
                <a:gd name="connsiteY799" fmla="*/ 394426 h 470547"/>
                <a:gd name="connsiteX800" fmla="*/ 38011 w 578488"/>
                <a:gd name="connsiteY800" fmla="*/ 392611 h 470547"/>
                <a:gd name="connsiteX801" fmla="*/ 39240 w 578488"/>
                <a:gd name="connsiteY801" fmla="*/ 394173 h 470547"/>
                <a:gd name="connsiteX802" fmla="*/ 38195 w 578488"/>
                <a:gd name="connsiteY802" fmla="*/ 399051 h 470547"/>
                <a:gd name="connsiteX803" fmla="*/ 38205 w 578488"/>
                <a:gd name="connsiteY803" fmla="*/ 401062 h 470547"/>
                <a:gd name="connsiteX804" fmla="*/ 41170 w 578488"/>
                <a:gd name="connsiteY804" fmla="*/ 393952 h 470547"/>
                <a:gd name="connsiteX805" fmla="*/ 42475 w 578488"/>
                <a:gd name="connsiteY805" fmla="*/ 392258 h 470547"/>
                <a:gd name="connsiteX806" fmla="*/ 43960 w 578488"/>
                <a:gd name="connsiteY806" fmla="*/ 391063 h 470547"/>
                <a:gd name="connsiteX807" fmla="*/ 47556 w 578488"/>
                <a:gd name="connsiteY807" fmla="*/ 390260 h 470547"/>
                <a:gd name="connsiteX808" fmla="*/ 48573 w 578488"/>
                <a:gd name="connsiteY808" fmla="*/ 389136 h 470547"/>
                <a:gd name="connsiteX809" fmla="*/ 44386 w 578488"/>
                <a:gd name="connsiteY809" fmla="*/ 389508 h 470547"/>
                <a:gd name="connsiteX810" fmla="*/ 34228 w 578488"/>
                <a:gd name="connsiteY810" fmla="*/ 392228 h 470547"/>
                <a:gd name="connsiteX811" fmla="*/ 29946 w 578488"/>
                <a:gd name="connsiteY811" fmla="*/ 394649 h 470547"/>
                <a:gd name="connsiteX812" fmla="*/ 28806 w 578488"/>
                <a:gd name="connsiteY812" fmla="*/ 396513 h 470547"/>
                <a:gd name="connsiteX813" fmla="*/ 25834 w 578488"/>
                <a:gd name="connsiteY813" fmla="*/ 399318 h 470547"/>
                <a:gd name="connsiteX814" fmla="*/ 24441 w 578488"/>
                <a:gd name="connsiteY814" fmla="*/ 401138 h 470547"/>
                <a:gd name="connsiteX815" fmla="*/ 23826 w 578488"/>
                <a:gd name="connsiteY815" fmla="*/ 403807 h 470547"/>
                <a:gd name="connsiteX816" fmla="*/ 22152 w 578488"/>
                <a:gd name="connsiteY816" fmla="*/ 405256 h 470547"/>
                <a:gd name="connsiteX817" fmla="*/ 19896 w 578488"/>
                <a:gd name="connsiteY817" fmla="*/ 405791 h 470547"/>
                <a:gd name="connsiteX818" fmla="*/ 16761 w 578488"/>
                <a:gd name="connsiteY818" fmla="*/ 409168 h 470547"/>
                <a:gd name="connsiteX819" fmla="*/ 15379 w 578488"/>
                <a:gd name="connsiteY819" fmla="*/ 411878 h 470547"/>
                <a:gd name="connsiteX820" fmla="*/ 12259 w 578488"/>
                <a:gd name="connsiteY820" fmla="*/ 414035 h 470547"/>
                <a:gd name="connsiteX821" fmla="*/ 10278 w 578488"/>
                <a:gd name="connsiteY821" fmla="*/ 415692 h 470547"/>
                <a:gd name="connsiteX822" fmla="*/ 9628 w 578488"/>
                <a:gd name="connsiteY822" fmla="*/ 416283 h 470547"/>
                <a:gd name="connsiteX823" fmla="*/ 8557 w 578488"/>
                <a:gd name="connsiteY823" fmla="*/ 417911 h 470547"/>
                <a:gd name="connsiteX824" fmla="*/ 7667 w 578488"/>
                <a:gd name="connsiteY824" fmla="*/ 418025 h 470547"/>
                <a:gd name="connsiteX825" fmla="*/ 6892 w 578488"/>
                <a:gd name="connsiteY825" fmla="*/ 417071 h 470547"/>
                <a:gd name="connsiteX826" fmla="*/ 6763 w 578488"/>
                <a:gd name="connsiteY826" fmla="*/ 414970 h 470547"/>
                <a:gd name="connsiteX827" fmla="*/ 7080 w 578488"/>
                <a:gd name="connsiteY827" fmla="*/ 411611 h 470547"/>
                <a:gd name="connsiteX828" fmla="*/ 8581 w 578488"/>
                <a:gd name="connsiteY828" fmla="*/ 409191 h 470547"/>
                <a:gd name="connsiteX829" fmla="*/ 9298 w 578488"/>
                <a:gd name="connsiteY829" fmla="*/ 406824 h 470547"/>
                <a:gd name="connsiteX830" fmla="*/ 8300 w 578488"/>
                <a:gd name="connsiteY830" fmla="*/ 404611 h 470547"/>
                <a:gd name="connsiteX831" fmla="*/ 8991 w 578488"/>
                <a:gd name="connsiteY831" fmla="*/ 403214 h 470547"/>
                <a:gd name="connsiteX832" fmla="*/ 10313 w 578488"/>
                <a:gd name="connsiteY832" fmla="*/ 403262 h 470547"/>
                <a:gd name="connsiteX833" fmla="*/ 12768 w 578488"/>
                <a:gd name="connsiteY833" fmla="*/ 403899 h 470547"/>
                <a:gd name="connsiteX834" fmla="*/ 15379 w 578488"/>
                <a:gd name="connsiteY834" fmla="*/ 403797 h 470547"/>
                <a:gd name="connsiteX835" fmla="*/ 19669 w 578488"/>
                <a:gd name="connsiteY835" fmla="*/ 402047 h 470547"/>
                <a:gd name="connsiteX836" fmla="*/ 18985 w 578488"/>
                <a:gd name="connsiteY836" fmla="*/ 401024 h 470547"/>
                <a:gd name="connsiteX837" fmla="*/ 17132 w 578488"/>
                <a:gd name="connsiteY837" fmla="*/ 400878 h 470547"/>
                <a:gd name="connsiteX838" fmla="*/ 13673 w 578488"/>
                <a:gd name="connsiteY838" fmla="*/ 401024 h 470547"/>
                <a:gd name="connsiteX839" fmla="*/ 10764 w 578488"/>
                <a:gd name="connsiteY839" fmla="*/ 399313 h 470547"/>
                <a:gd name="connsiteX840" fmla="*/ 8503 w 578488"/>
                <a:gd name="connsiteY840" fmla="*/ 395906 h 470547"/>
                <a:gd name="connsiteX841" fmla="*/ 7475 w 578488"/>
                <a:gd name="connsiteY841" fmla="*/ 391346 h 470547"/>
                <a:gd name="connsiteX842" fmla="*/ 8162 w 578488"/>
                <a:gd name="connsiteY842" fmla="*/ 390040 h 470547"/>
                <a:gd name="connsiteX843" fmla="*/ 16528 w 578488"/>
                <a:gd name="connsiteY843" fmla="*/ 385382 h 470547"/>
                <a:gd name="connsiteX844" fmla="*/ 18780 w 578488"/>
                <a:gd name="connsiteY844" fmla="*/ 383264 h 470547"/>
                <a:gd name="connsiteX845" fmla="*/ 17475 w 578488"/>
                <a:gd name="connsiteY845" fmla="*/ 383054 h 470547"/>
                <a:gd name="connsiteX846" fmla="*/ 14336 w 578488"/>
                <a:gd name="connsiteY846" fmla="*/ 385623 h 470547"/>
                <a:gd name="connsiteX847" fmla="*/ 9840 w 578488"/>
                <a:gd name="connsiteY847" fmla="*/ 387216 h 470547"/>
                <a:gd name="connsiteX848" fmla="*/ 7005 w 578488"/>
                <a:gd name="connsiteY848" fmla="*/ 385001 h 470547"/>
                <a:gd name="connsiteX849" fmla="*/ 5530 w 578488"/>
                <a:gd name="connsiteY849" fmla="*/ 382612 h 470547"/>
                <a:gd name="connsiteX850" fmla="*/ 4681 w 578488"/>
                <a:gd name="connsiteY850" fmla="*/ 377560 h 470547"/>
                <a:gd name="connsiteX851" fmla="*/ 4988 w 578488"/>
                <a:gd name="connsiteY851" fmla="*/ 374959 h 470547"/>
                <a:gd name="connsiteX852" fmla="*/ 4633 w 578488"/>
                <a:gd name="connsiteY852" fmla="*/ 371534 h 470547"/>
                <a:gd name="connsiteX853" fmla="*/ 6553 w 578488"/>
                <a:gd name="connsiteY853" fmla="*/ 370420 h 470547"/>
                <a:gd name="connsiteX854" fmla="*/ 8700 w 578488"/>
                <a:gd name="connsiteY854" fmla="*/ 371012 h 470547"/>
                <a:gd name="connsiteX855" fmla="*/ 10816 w 578488"/>
                <a:gd name="connsiteY855" fmla="*/ 371232 h 470547"/>
                <a:gd name="connsiteX856" fmla="*/ 15616 w 578488"/>
                <a:gd name="connsiteY856" fmla="*/ 370932 h 470547"/>
                <a:gd name="connsiteX857" fmla="*/ 26201 w 578488"/>
                <a:gd name="connsiteY857" fmla="*/ 368874 h 470547"/>
                <a:gd name="connsiteX858" fmla="*/ 33025 w 578488"/>
                <a:gd name="connsiteY858" fmla="*/ 370097 h 470547"/>
                <a:gd name="connsiteX859" fmla="*/ 35798 w 578488"/>
                <a:gd name="connsiteY859" fmla="*/ 369985 h 470547"/>
                <a:gd name="connsiteX860" fmla="*/ 40041 w 578488"/>
                <a:gd name="connsiteY860" fmla="*/ 368212 h 470547"/>
                <a:gd name="connsiteX861" fmla="*/ 43755 w 578488"/>
                <a:gd name="connsiteY861" fmla="*/ 368029 h 470547"/>
                <a:gd name="connsiteX862" fmla="*/ 46532 w 578488"/>
                <a:gd name="connsiteY862" fmla="*/ 369384 h 470547"/>
                <a:gd name="connsiteX863" fmla="*/ 48050 w 578488"/>
                <a:gd name="connsiteY863" fmla="*/ 370937 h 470547"/>
                <a:gd name="connsiteX864" fmla="*/ 48238 w 578488"/>
                <a:gd name="connsiteY864" fmla="*/ 373013 h 470547"/>
                <a:gd name="connsiteX865" fmla="*/ 49523 w 578488"/>
                <a:gd name="connsiteY865" fmla="*/ 374396 h 470547"/>
                <a:gd name="connsiteX866" fmla="*/ 50391 w 578488"/>
                <a:gd name="connsiteY866" fmla="*/ 373947 h 470547"/>
                <a:gd name="connsiteX867" fmla="*/ 49700 w 578488"/>
                <a:gd name="connsiteY867" fmla="*/ 372303 h 470547"/>
                <a:gd name="connsiteX868" fmla="*/ 49555 w 578488"/>
                <a:gd name="connsiteY868" fmla="*/ 369753 h 470547"/>
                <a:gd name="connsiteX869" fmla="*/ 60719 w 578488"/>
                <a:gd name="connsiteY869" fmla="*/ 366861 h 470547"/>
                <a:gd name="connsiteX870" fmla="*/ 62035 w 578488"/>
                <a:gd name="connsiteY870" fmla="*/ 365736 h 470547"/>
                <a:gd name="connsiteX871" fmla="*/ 57599 w 578488"/>
                <a:gd name="connsiteY871" fmla="*/ 365345 h 470547"/>
                <a:gd name="connsiteX872" fmla="*/ 56331 w 578488"/>
                <a:gd name="connsiteY872" fmla="*/ 362701 h 470547"/>
                <a:gd name="connsiteX873" fmla="*/ 58674 w 578488"/>
                <a:gd name="connsiteY873" fmla="*/ 358695 h 470547"/>
                <a:gd name="connsiteX874" fmla="*/ 58454 w 578488"/>
                <a:gd name="connsiteY874" fmla="*/ 358175 h 470547"/>
                <a:gd name="connsiteX875" fmla="*/ 55990 w 578488"/>
                <a:gd name="connsiteY875" fmla="*/ 360290 h 470547"/>
                <a:gd name="connsiteX876" fmla="*/ 54777 w 578488"/>
                <a:gd name="connsiteY876" fmla="*/ 363263 h 470547"/>
                <a:gd name="connsiteX877" fmla="*/ 55258 w 578488"/>
                <a:gd name="connsiteY877" fmla="*/ 365633 h 470547"/>
                <a:gd name="connsiteX878" fmla="*/ 54770 w 578488"/>
                <a:gd name="connsiteY878" fmla="*/ 366733 h 470547"/>
                <a:gd name="connsiteX879" fmla="*/ 52505 w 578488"/>
                <a:gd name="connsiteY879" fmla="*/ 367237 h 470547"/>
                <a:gd name="connsiteX880" fmla="*/ 47398 w 578488"/>
                <a:gd name="connsiteY880" fmla="*/ 367420 h 470547"/>
                <a:gd name="connsiteX881" fmla="*/ 44120 w 578488"/>
                <a:gd name="connsiteY881" fmla="*/ 366415 h 470547"/>
                <a:gd name="connsiteX882" fmla="*/ 41084 w 578488"/>
                <a:gd name="connsiteY882" fmla="*/ 365869 h 470547"/>
                <a:gd name="connsiteX883" fmla="*/ 40050 w 578488"/>
                <a:gd name="connsiteY883" fmla="*/ 365111 h 470547"/>
                <a:gd name="connsiteX884" fmla="*/ 40395 w 578488"/>
                <a:gd name="connsiteY884" fmla="*/ 363419 h 470547"/>
                <a:gd name="connsiteX885" fmla="*/ 39821 w 578488"/>
                <a:gd name="connsiteY885" fmla="*/ 363070 h 470547"/>
                <a:gd name="connsiteX886" fmla="*/ 38564 w 578488"/>
                <a:gd name="connsiteY886" fmla="*/ 364591 h 470547"/>
                <a:gd name="connsiteX887" fmla="*/ 37448 w 578488"/>
                <a:gd name="connsiteY887" fmla="*/ 367620 h 470547"/>
                <a:gd name="connsiteX888" fmla="*/ 35035 w 578488"/>
                <a:gd name="connsiteY888" fmla="*/ 368317 h 470547"/>
                <a:gd name="connsiteX889" fmla="*/ 28380 w 578488"/>
                <a:gd name="connsiteY889" fmla="*/ 367193 h 470547"/>
                <a:gd name="connsiteX890" fmla="*/ 18745 w 578488"/>
                <a:gd name="connsiteY890" fmla="*/ 367855 h 470547"/>
                <a:gd name="connsiteX891" fmla="*/ 14422 w 578488"/>
                <a:gd name="connsiteY891" fmla="*/ 369378 h 470547"/>
                <a:gd name="connsiteX892" fmla="*/ 11621 w 578488"/>
                <a:gd name="connsiteY892" fmla="*/ 369179 h 470547"/>
                <a:gd name="connsiteX893" fmla="*/ 6804 w 578488"/>
                <a:gd name="connsiteY893" fmla="*/ 366511 h 470547"/>
                <a:gd name="connsiteX894" fmla="*/ 4923 w 578488"/>
                <a:gd name="connsiteY894" fmla="*/ 364387 h 470547"/>
                <a:gd name="connsiteX895" fmla="*/ 4221 w 578488"/>
                <a:gd name="connsiteY895" fmla="*/ 360099 h 470547"/>
                <a:gd name="connsiteX896" fmla="*/ 4504 w 578488"/>
                <a:gd name="connsiteY896" fmla="*/ 358210 h 470547"/>
                <a:gd name="connsiteX897" fmla="*/ 8257 w 578488"/>
                <a:gd name="connsiteY897" fmla="*/ 357414 h 470547"/>
                <a:gd name="connsiteX898" fmla="*/ 10155 w 578488"/>
                <a:gd name="connsiteY898" fmla="*/ 357470 h 470547"/>
                <a:gd name="connsiteX899" fmla="*/ 11932 w 578488"/>
                <a:gd name="connsiteY899" fmla="*/ 356454 h 470547"/>
                <a:gd name="connsiteX900" fmla="*/ 10360 w 578488"/>
                <a:gd name="connsiteY900" fmla="*/ 355794 h 470547"/>
                <a:gd name="connsiteX901" fmla="*/ 8149 w 578488"/>
                <a:gd name="connsiteY901" fmla="*/ 354496 h 470547"/>
                <a:gd name="connsiteX902" fmla="*/ 6642 w 578488"/>
                <a:gd name="connsiteY902" fmla="*/ 351893 h 470547"/>
                <a:gd name="connsiteX903" fmla="*/ 4370 w 578488"/>
                <a:gd name="connsiteY903" fmla="*/ 351044 h 470547"/>
                <a:gd name="connsiteX904" fmla="*/ 2848 w 578488"/>
                <a:gd name="connsiteY904" fmla="*/ 348822 h 470547"/>
                <a:gd name="connsiteX905" fmla="*/ 2461 w 578488"/>
                <a:gd name="connsiteY905" fmla="*/ 345461 h 470547"/>
                <a:gd name="connsiteX906" fmla="*/ 2897 w 578488"/>
                <a:gd name="connsiteY906" fmla="*/ 343122 h 470547"/>
                <a:gd name="connsiteX907" fmla="*/ 4113 w 578488"/>
                <a:gd name="connsiteY907" fmla="*/ 342369 h 470547"/>
                <a:gd name="connsiteX908" fmla="*/ 7031 w 578488"/>
                <a:gd name="connsiteY908" fmla="*/ 342881 h 470547"/>
                <a:gd name="connsiteX909" fmla="*/ 14733 w 578488"/>
                <a:gd name="connsiteY909" fmla="*/ 342488 h 470547"/>
                <a:gd name="connsiteX910" fmla="*/ 21984 w 578488"/>
                <a:gd name="connsiteY910" fmla="*/ 344865 h 470547"/>
                <a:gd name="connsiteX911" fmla="*/ 26905 w 578488"/>
                <a:gd name="connsiteY911" fmla="*/ 346212 h 470547"/>
                <a:gd name="connsiteX912" fmla="*/ 36875 w 578488"/>
                <a:gd name="connsiteY912" fmla="*/ 345535 h 470547"/>
                <a:gd name="connsiteX913" fmla="*/ 42714 w 578488"/>
                <a:gd name="connsiteY913" fmla="*/ 343413 h 470547"/>
                <a:gd name="connsiteX914" fmla="*/ 41643 w 578488"/>
                <a:gd name="connsiteY914" fmla="*/ 342826 h 470547"/>
                <a:gd name="connsiteX915" fmla="*/ 35310 w 578488"/>
                <a:gd name="connsiteY915" fmla="*/ 344053 h 470547"/>
                <a:gd name="connsiteX916" fmla="*/ 29456 w 578488"/>
                <a:gd name="connsiteY916" fmla="*/ 344003 h 470547"/>
                <a:gd name="connsiteX917" fmla="*/ 19136 w 578488"/>
                <a:gd name="connsiteY917" fmla="*/ 341603 h 470547"/>
                <a:gd name="connsiteX918" fmla="*/ 14904 w 578488"/>
                <a:gd name="connsiteY918" fmla="*/ 340829 h 470547"/>
                <a:gd name="connsiteX919" fmla="*/ 10345 w 578488"/>
                <a:gd name="connsiteY919" fmla="*/ 341171 h 470547"/>
                <a:gd name="connsiteX920" fmla="*/ 7972 w 578488"/>
                <a:gd name="connsiteY920" fmla="*/ 340442 h 470547"/>
                <a:gd name="connsiteX921" fmla="*/ 6577 w 578488"/>
                <a:gd name="connsiteY921" fmla="*/ 338065 h 470547"/>
                <a:gd name="connsiteX922" fmla="*/ 7609 w 578488"/>
                <a:gd name="connsiteY922" fmla="*/ 333512 h 470547"/>
                <a:gd name="connsiteX923" fmla="*/ 9771 w 578488"/>
                <a:gd name="connsiteY923" fmla="*/ 332528 h 470547"/>
                <a:gd name="connsiteX924" fmla="*/ 10941 w 578488"/>
                <a:gd name="connsiteY924" fmla="*/ 333717 h 470547"/>
                <a:gd name="connsiteX925" fmla="*/ 12353 w 578488"/>
                <a:gd name="connsiteY925" fmla="*/ 333792 h 470547"/>
                <a:gd name="connsiteX926" fmla="*/ 13783 w 578488"/>
                <a:gd name="connsiteY926" fmla="*/ 331887 h 470547"/>
                <a:gd name="connsiteX927" fmla="*/ 15152 w 578488"/>
                <a:gd name="connsiteY927" fmla="*/ 330801 h 470547"/>
                <a:gd name="connsiteX928" fmla="*/ 16236 w 578488"/>
                <a:gd name="connsiteY928" fmla="*/ 328341 h 470547"/>
                <a:gd name="connsiteX929" fmla="*/ 20324 w 578488"/>
                <a:gd name="connsiteY929" fmla="*/ 326007 h 470547"/>
                <a:gd name="connsiteX930" fmla="*/ 22051 w 578488"/>
                <a:gd name="connsiteY930" fmla="*/ 325809 h 470547"/>
                <a:gd name="connsiteX931" fmla="*/ 24528 w 578488"/>
                <a:gd name="connsiteY931" fmla="*/ 324733 h 470547"/>
                <a:gd name="connsiteX932" fmla="*/ 26109 w 578488"/>
                <a:gd name="connsiteY932" fmla="*/ 325038 h 470547"/>
                <a:gd name="connsiteX933" fmla="*/ 27122 w 578488"/>
                <a:gd name="connsiteY933" fmla="*/ 326118 h 470547"/>
                <a:gd name="connsiteX934" fmla="*/ 28402 w 578488"/>
                <a:gd name="connsiteY934" fmla="*/ 327012 h 470547"/>
                <a:gd name="connsiteX935" fmla="*/ 31177 w 578488"/>
                <a:gd name="connsiteY935" fmla="*/ 326903 h 470547"/>
                <a:gd name="connsiteX936" fmla="*/ 39382 w 578488"/>
                <a:gd name="connsiteY936" fmla="*/ 325033 h 470547"/>
                <a:gd name="connsiteX937" fmla="*/ 40266 w 578488"/>
                <a:gd name="connsiteY937" fmla="*/ 324483 h 470547"/>
                <a:gd name="connsiteX938" fmla="*/ 41866 w 578488"/>
                <a:gd name="connsiteY938" fmla="*/ 322944 h 470547"/>
                <a:gd name="connsiteX939" fmla="*/ 36664 w 578488"/>
                <a:gd name="connsiteY939" fmla="*/ 323630 h 470547"/>
                <a:gd name="connsiteX940" fmla="*/ 32343 w 578488"/>
                <a:gd name="connsiteY940" fmla="*/ 324723 h 470547"/>
                <a:gd name="connsiteX941" fmla="*/ 29566 w 578488"/>
                <a:gd name="connsiteY941" fmla="*/ 325026 h 470547"/>
                <a:gd name="connsiteX942" fmla="*/ 29175 w 578488"/>
                <a:gd name="connsiteY942" fmla="*/ 323662 h 470547"/>
                <a:gd name="connsiteX943" fmla="*/ 30199 w 578488"/>
                <a:gd name="connsiteY943" fmla="*/ 322450 h 470547"/>
                <a:gd name="connsiteX944" fmla="*/ 31807 w 578488"/>
                <a:gd name="connsiteY944" fmla="*/ 321160 h 470547"/>
                <a:gd name="connsiteX945" fmla="*/ 32589 w 578488"/>
                <a:gd name="connsiteY945" fmla="*/ 318959 h 470547"/>
                <a:gd name="connsiteX946" fmla="*/ 34359 w 578488"/>
                <a:gd name="connsiteY946" fmla="*/ 318019 h 470547"/>
                <a:gd name="connsiteX947" fmla="*/ 36273 w 578488"/>
                <a:gd name="connsiteY947" fmla="*/ 318069 h 470547"/>
                <a:gd name="connsiteX948" fmla="*/ 40229 w 578488"/>
                <a:gd name="connsiteY948" fmla="*/ 317669 h 470547"/>
                <a:gd name="connsiteX949" fmla="*/ 43021 w 578488"/>
                <a:gd name="connsiteY949" fmla="*/ 317096 h 470547"/>
                <a:gd name="connsiteX950" fmla="*/ 47808 w 578488"/>
                <a:gd name="connsiteY950" fmla="*/ 317480 h 470547"/>
                <a:gd name="connsiteX951" fmla="*/ 54943 w 578488"/>
                <a:gd name="connsiteY951" fmla="*/ 318323 h 470547"/>
                <a:gd name="connsiteX952" fmla="*/ 59542 w 578488"/>
                <a:gd name="connsiteY952" fmla="*/ 320372 h 470547"/>
                <a:gd name="connsiteX953" fmla="*/ 61274 w 578488"/>
                <a:gd name="connsiteY953" fmla="*/ 320187 h 470547"/>
                <a:gd name="connsiteX954" fmla="*/ 63110 w 578488"/>
                <a:gd name="connsiteY954" fmla="*/ 319642 h 470547"/>
                <a:gd name="connsiteX955" fmla="*/ 63941 w 578488"/>
                <a:gd name="connsiteY955" fmla="*/ 318899 h 470547"/>
                <a:gd name="connsiteX956" fmla="*/ 60331 w 578488"/>
                <a:gd name="connsiteY956" fmla="*/ 318048 h 470547"/>
                <a:gd name="connsiteX957" fmla="*/ 60125 w 578488"/>
                <a:gd name="connsiteY957" fmla="*/ 316834 h 470547"/>
                <a:gd name="connsiteX958" fmla="*/ 60573 w 578488"/>
                <a:gd name="connsiteY958" fmla="*/ 315918 h 470547"/>
                <a:gd name="connsiteX959" fmla="*/ 66461 w 578488"/>
                <a:gd name="connsiteY959" fmla="*/ 314229 h 470547"/>
                <a:gd name="connsiteX960" fmla="*/ 72892 w 578488"/>
                <a:gd name="connsiteY960" fmla="*/ 313855 h 470547"/>
                <a:gd name="connsiteX961" fmla="*/ 71786 w 578488"/>
                <a:gd name="connsiteY961" fmla="*/ 312494 h 470547"/>
                <a:gd name="connsiteX962" fmla="*/ 57698 w 578488"/>
                <a:gd name="connsiteY962" fmla="*/ 314548 h 470547"/>
                <a:gd name="connsiteX963" fmla="*/ 54021 w 578488"/>
                <a:gd name="connsiteY963" fmla="*/ 313146 h 470547"/>
                <a:gd name="connsiteX964" fmla="*/ 51119 w 578488"/>
                <a:gd name="connsiteY964" fmla="*/ 313158 h 470547"/>
                <a:gd name="connsiteX965" fmla="*/ 49218 w 578488"/>
                <a:gd name="connsiteY965" fmla="*/ 313959 h 470547"/>
                <a:gd name="connsiteX966" fmla="*/ 43803 w 578488"/>
                <a:gd name="connsiteY966" fmla="*/ 314929 h 470547"/>
                <a:gd name="connsiteX967" fmla="*/ 42807 w 578488"/>
                <a:gd name="connsiteY967" fmla="*/ 314239 h 470547"/>
                <a:gd name="connsiteX968" fmla="*/ 43837 w 578488"/>
                <a:gd name="connsiteY968" fmla="*/ 311857 h 470547"/>
                <a:gd name="connsiteX969" fmla="*/ 47081 w 578488"/>
                <a:gd name="connsiteY969" fmla="*/ 307944 h 470547"/>
                <a:gd name="connsiteX970" fmla="*/ 47351 w 578488"/>
                <a:gd name="connsiteY970" fmla="*/ 306984 h 470547"/>
                <a:gd name="connsiteX971" fmla="*/ 48856 w 578488"/>
                <a:gd name="connsiteY971" fmla="*/ 306041 h 470547"/>
                <a:gd name="connsiteX972" fmla="*/ 57271 w 578488"/>
                <a:gd name="connsiteY972" fmla="*/ 303765 h 470547"/>
                <a:gd name="connsiteX973" fmla="*/ 61313 w 578488"/>
                <a:gd name="connsiteY973" fmla="*/ 301118 h 470547"/>
                <a:gd name="connsiteX974" fmla="*/ 63136 w 578488"/>
                <a:gd name="connsiteY974" fmla="*/ 300782 h 470547"/>
                <a:gd name="connsiteX975" fmla="*/ 64943 w 578488"/>
                <a:gd name="connsiteY975" fmla="*/ 300967 h 470547"/>
                <a:gd name="connsiteX976" fmla="*/ 67692 w 578488"/>
                <a:gd name="connsiteY976" fmla="*/ 300657 h 470547"/>
                <a:gd name="connsiteX977" fmla="*/ 73004 w 578488"/>
                <a:gd name="connsiteY977" fmla="*/ 301415 h 470547"/>
                <a:gd name="connsiteX978" fmla="*/ 75448 w 578488"/>
                <a:gd name="connsiteY978" fmla="*/ 304729 h 470547"/>
                <a:gd name="connsiteX979" fmla="*/ 77647 w 578488"/>
                <a:gd name="connsiteY979" fmla="*/ 305769 h 470547"/>
                <a:gd name="connsiteX980" fmla="*/ 84559 w 578488"/>
                <a:gd name="connsiteY980" fmla="*/ 309900 h 470547"/>
                <a:gd name="connsiteX981" fmla="*/ 84250 w 578488"/>
                <a:gd name="connsiteY981" fmla="*/ 308712 h 470547"/>
                <a:gd name="connsiteX982" fmla="*/ 78267 w 578488"/>
                <a:gd name="connsiteY982" fmla="*/ 303109 h 470547"/>
                <a:gd name="connsiteX983" fmla="*/ 75980 w 578488"/>
                <a:gd name="connsiteY983" fmla="*/ 301720 h 470547"/>
                <a:gd name="connsiteX984" fmla="*/ 74274 w 578488"/>
                <a:gd name="connsiteY984" fmla="*/ 298962 h 470547"/>
                <a:gd name="connsiteX985" fmla="*/ 74859 w 578488"/>
                <a:gd name="connsiteY985" fmla="*/ 296352 h 470547"/>
                <a:gd name="connsiteX986" fmla="*/ 76783 w 578488"/>
                <a:gd name="connsiteY986" fmla="*/ 294608 h 470547"/>
                <a:gd name="connsiteX987" fmla="*/ 83609 w 578488"/>
                <a:gd name="connsiteY987" fmla="*/ 293673 h 470547"/>
                <a:gd name="connsiteX988" fmla="*/ 84833 w 578488"/>
                <a:gd name="connsiteY988" fmla="*/ 292663 h 470547"/>
                <a:gd name="connsiteX989" fmla="*/ 84954 w 578488"/>
                <a:gd name="connsiteY989" fmla="*/ 290926 h 470547"/>
                <a:gd name="connsiteX990" fmla="*/ 83909 w 578488"/>
                <a:gd name="connsiteY990" fmla="*/ 289737 h 470547"/>
                <a:gd name="connsiteX991" fmla="*/ 81398 w 578488"/>
                <a:gd name="connsiteY991" fmla="*/ 289806 h 470547"/>
                <a:gd name="connsiteX992" fmla="*/ 79327 w 578488"/>
                <a:gd name="connsiteY992" fmla="*/ 289069 h 470547"/>
                <a:gd name="connsiteX993" fmla="*/ 78757 w 578488"/>
                <a:gd name="connsiteY993" fmla="*/ 287194 h 470547"/>
                <a:gd name="connsiteX994" fmla="*/ 79584 w 578488"/>
                <a:gd name="connsiteY994" fmla="*/ 285926 h 470547"/>
                <a:gd name="connsiteX995" fmla="*/ 83520 w 578488"/>
                <a:gd name="connsiteY995" fmla="*/ 283612 h 470547"/>
                <a:gd name="connsiteX996" fmla="*/ 85675 w 578488"/>
                <a:gd name="connsiteY996" fmla="*/ 282860 h 470547"/>
                <a:gd name="connsiteX997" fmla="*/ 89407 w 578488"/>
                <a:gd name="connsiteY997" fmla="*/ 282044 h 470547"/>
                <a:gd name="connsiteX998" fmla="*/ 95896 w 578488"/>
                <a:gd name="connsiteY998" fmla="*/ 283876 h 470547"/>
                <a:gd name="connsiteX999" fmla="*/ 96388 w 578488"/>
                <a:gd name="connsiteY999" fmla="*/ 284835 h 470547"/>
                <a:gd name="connsiteX1000" fmla="*/ 94570 w 578488"/>
                <a:gd name="connsiteY1000" fmla="*/ 287141 h 470547"/>
                <a:gd name="connsiteX1001" fmla="*/ 94753 w 578488"/>
                <a:gd name="connsiteY1001" fmla="*/ 288434 h 470547"/>
                <a:gd name="connsiteX1002" fmla="*/ 96343 w 578488"/>
                <a:gd name="connsiteY1002" fmla="*/ 288577 h 470547"/>
                <a:gd name="connsiteX1003" fmla="*/ 100048 w 578488"/>
                <a:gd name="connsiteY1003" fmla="*/ 284691 h 470547"/>
                <a:gd name="connsiteX1004" fmla="*/ 104406 w 578488"/>
                <a:gd name="connsiteY1004" fmla="*/ 284154 h 470547"/>
                <a:gd name="connsiteX1005" fmla="*/ 106209 w 578488"/>
                <a:gd name="connsiteY1005" fmla="*/ 283318 h 470547"/>
                <a:gd name="connsiteX1006" fmla="*/ 108301 w 578488"/>
                <a:gd name="connsiteY1006" fmla="*/ 282792 h 470547"/>
                <a:gd name="connsiteX1007" fmla="*/ 111294 w 578488"/>
                <a:gd name="connsiteY1007" fmla="*/ 286309 h 470547"/>
                <a:gd name="connsiteX1008" fmla="*/ 112605 w 578488"/>
                <a:gd name="connsiteY1008" fmla="*/ 287433 h 470547"/>
                <a:gd name="connsiteX1009" fmla="*/ 113590 w 578488"/>
                <a:gd name="connsiteY1009" fmla="*/ 287894 h 470547"/>
                <a:gd name="connsiteX1010" fmla="*/ 114544 w 578488"/>
                <a:gd name="connsiteY1010" fmla="*/ 290815 h 470547"/>
                <a:gd name="connsiteX1011" fmla="*/ 115468 w 578488"/>
                <a:gd name="connsiteY1011" fmla="*/ 290971 h 470547"/>
                <a:gd name="connsiteX1012" fmla="*/ 116785 w 578488"/>
                <a:gd name="connsiteY1012" fmla="*/ 289507 h 470547"/>
                <a:gd name="connsiteX1013" fmla="*/ 119174 w 578488"/>
                <a:gd name="connsiteY1013" fmla="*/ 288736 h 470547"/>
                <a:gd name="connsiteX1014" fmla="*/ 122523 w 578488"/>
                <a:gd name="connsiteY1014" fmla="*/ 288227 h 470547"/>
                <a:gd name="connsiteX1015" fmla="*/ 128070 w 578488"/>
                <a:gd name="connsiteY1015" fmla="*/ 289000 h 470547"/>
                <a:gd name="connsiteX1016" fmla="*/ 130582 w 578488"/>
                <a:gd name="connsiteY1016" fmla="*/ 288429 h 470547"/>
                <a:gd name="connsiteX1017" fmla="*/ 131813 w 578488"/>
                <a:gd name="connsiteY1017" fmla="*/ 288509 h 470547"/>
                <a:gd name="connsiteX1018" fmla="*/ 130632 w 578488"/>
                <a:gd name="connsiteY1018" fmla="*/ 285883 h 470547"/>
                <a:gd name="connsiteX1019" fmla="*/ 129899 w 578488"/>
                <a:gd name="connsiteY1019" fmla="*/ 285124 h 470547"/>
                <a:gd name="connsiteX1020" fmla="*/ 131042 w 578488"/>
                <a:gd name="connsiteY1020" fmla="*/ 282777 h 470547"/>
                <a:gd name="connsiteX1021" fmla="*/ 132234 w 578488"/>
                <a:gd name="connsiteY1021" fmla="*/ 281859 h 470547"/>
                <a:gd name="connsiteX1022" fmla="*/ 136067 w 578488"/>
                <a:gd name="connsiteY1022" fmla="*/ 280209 h 470547"/>
                <a:gd name="connsiteX1023" fmla="*/ 139722 w 578488"/>
                <a:gd name="connsiteY1023" fmla="*/ 279472 h 470547"/>
                <a:gd name="connsiteX1024" fmla="*/ 142109 w 578488"/>
                <a:gd name="connsiteY1024" fmla="*/ 277904 h 470547"/>
                <a:gd name="connsiteX1025" fmla="*/ 145313 w 578488"/>
                <a:gd name="connsiteY1025" fmla="*/ 276462 h 470547"/>
                <a:gd name="connsiteX1026" fmla="*/ 144810 w 578488"/>
                <a:gd name="connsiteY1026" fmla="*/ 275306 h 470547"/>
                <a:gd name="connsiteX1027" fmla="*/ 143918 w 578488"/>
                <a:gd name="connsiteY1027" fmla="*/ 273967 h 470547"/>
                <a:gd name="connsiteX1028" fmla="*/ 141845 w 578488"/>
                <a:gd name="connsiteY1028" fmla="*/ 273882 h 470547"/>
                <a:gd name="connsiteX1029" fmla="*/ 140999 w 578488"/>
                <a:gd name="connsiteY1029" fmla="*/ 273151 h 470547"/>
                <a:gd name="connsiteX1030" fmla="*/ 143631 w 578488"/>
                <a:gd name="connsiteY1030" fmla="*/ 271414 h 470547"/>
                <a:gd name="connsiteX1031" fmla="*/ 147235 w 578488"/>
                <a:gd name="connsiteY1031" fmla="*/ 269481 h 470547"/>
                <a:gd name="connsiteX1032" fmla="*/ 146607 w 578488"/>
                <a:gd name="connsiteY1032" fmla="*/ 268721 h 470547"/>
                <a:gd name="connsiteX1033" fmla="*/ 143897 w 578488"/>
                <a:gd name="connsiteY1033" fmla="*/ 267861 h 470547"/>
                <a:gd name="connsiteX1034" fmla="*/ 141839 w 578488"/>
                <a:gd name="connsiteY1034" fmla="*/ 268509 h 470547"/>
                <a:gd name="connsiteX1035" fmla="*/ 138779 w 578488"/>
                <a:gd name="connsiteY1035" fmla="*/ 270005 h 470547"/>
                <a:gd name="connsiteX1036" fmla="*/ 135220 w 578488"/>
                <a:gd name="connsiteY1036" fmla="*/ 272369 h 470547"/>
                <a:gd name="connsiteX1037" fmla="*/ 136380 w 578488"/>
                <a:gd name="connsiteY1037" fmla="*/ 273057 h 470547"/>
                <a:gd name="connsiteX1038" fmla="*/ 138161 w 578488"/>
                <a:gd name="connsiteY1038" fmla="*/ 275041 h 470547"/>
                <a:gd name="connsiteX1039" fmla="*/ 135676 w 578488"/>
                <a:gd name="connsiteY1039" fmla="*/ 277679 h 470547"/>
                <a:gd name="connsiteX1040" fmla="*/ 122504 w 578488"/>
                <a:gd name="connsiteY1040" fmla="*/ 284668 h 470547"/>
                <a:gd name="connsiteX1041" fmla="*/ 116222 w 578488"/>
                <a:gd name="connsiteY1041" fmla="*/ 286710 h 470547"/>
                <a:gd name="connsiteX1042" fmla="*/ 113324 w 578488"/>
                <a:gd name="connsiteY1042" fmla="*/ 286392 h 470547"/>
                <a:gd name="connsiteX1043" fmla="*/ 112633 w 578488"/>
                <a:gd name="connsiteY1043" fmla="*/ 284486 h 470547"/>
                <a:gd name="connsiteX1044" fmla="*/ 111296 w 578488"/>
                <a:gd name="connsiteY1044" fmla="*/ 283074 h 470547"/>
                <a:gd name="connsiteX1045" fmla="*/ 109863 w 578488"/>
                <a:gd name="connsiteY1045" fmla="*/ 280162 h 470547"/>
                <a:gd name="connsiteX1046" fmla="*/ 107425 w 578488"/>
                <a:gd name="connsiteY1046" fmla="*/ 280240 h 470547"/>
                <a:gd name="connsiteX1047" fmla="*/ 106040 w 578488"/>
                <a:gd name="connsiteY1047" fmla="*/ 280884 h 470547"/>
                <a:gd name="connsiteX1048" fmla="*/ 105436 w 578488"/>
                <a:gd name="connsiteY1048" fmla="*/ 279929 h 470547"/>
                <a:gd name="connsiteX1049" fmla="*/ 106485 w 578488"/>
                <a:gd name="connsiteY1049" fmla="*/ 276814 h 470547"/>
                <a:gd name="connsiteX1050" fmla="*/ 108548 w 578488"/>
                <a:gd name="connsiteY1050" fmla="*/ 274348 h 470547"/>
                <a:gd name="connsiteX1051" fmla="*/ 112007 w 578488"/>
                <a:gd name="connsiteY1051" fmla="*/ 272484 h 470547"/>
                <a:gd name="connsiteX1052" fmla="*/ 113665 w 578488"/>
                <a:gd name="connsiteY1052" fmla="*/ 270230 h 470547"/>
                <a:gd name="connsiteX1053" fmla="*/ 115224 w 578488"/>
                <a:gd name="connsiteY1053" fmla="*/ 266650 h 470547"/>
                <a:gd name="connsiteX1054" fmla="*/ 120228 w 578488"/>
                <a:gd name="connsiteY1054" fmla="*/ 263237 h 470547"/>
                <a:gd name="connsiteX1055" fmla="*/ 127511 w 578488"/>
                <a:gd name="connsiteY1055" fmla="*/ 254770 h 470547"/>
                <a:gd name="connsiteX1056" fmla="*/ 133445 w 578488"/>
                <a:gd name="connsiteY1056" fmla="*/ 252061 h 470547"/>
                <a:gd name="connsiteX1057" fmla="*/ 135620 w 578488"/>
                <a:gd name="connsiteY1057" fmla="*/ 249095 h 470547"/>
                <a:gd name="connsiteX1058" fmla="*/ 139116 w 578488"/>
                <a:gd name="connsiteY1058" fmla="*/ 247783 h 470547"/>
                <a:gd name="connsiteX1059" fmla="*/ 142100 w 578488"/>
                <a:gd name="connsiteY1059" fmla="*/ 245465 h 470547"/>
                <a:gd name="connsiteX1060" fmla="*/ 144443 w 578488"/>
                <a:gd name="connsiteY1060" fmla="*/ 245235 h 470547"/>
                <a:gd name="connsiteX1061" fmla="*/ 148699 w 578488"/>
                <a:gd name="connsiteY1061" fmla="*/ 243146 h 470547"/>
                <a:gd name="connsiteX1062" fmla="*/ 151111 w 578488"/>
                <a:gd name="connsiteY1062" fmla="*/ 240658 h 470547"/>
                <a:gd name="connsiteX1063" fmla="*/ 149537 w 578488"/>
                <a:gd name="connsiteY1063" fmla="*/ 240503 h 470547"/>
                <a:gd name="connsiteX1064" fmla="*/ 145795 w 578488"/>
                <a:gd name="connsiteY1064" fmla="*/ 242123 h 470547"/>
                <a:gd name="connsiteX1065" fmla="*/ 143678 w 578488"/>
                <a:gd name="connsiteY1065" fmla="*/ 242774 h 470547"/>
                <a:gd name="connsiteX1066" fmla="*/ 143828 w 578488"/>
                <a:gd name="connsiteY1066" fmla="*/ 240104 h 470547"/>
                <a:gd name="connsiteX1067" fmla="*/ 144853 w 578488"/>
                <a:gd name="connsiteY1067" fmla="*/ 237363 h 470547"/>
                <a:gd name="connsiteX1068" fmla="*/ 147937 w 578488"/>
                <a:gd name="connsiteY1068" fmla="*/ 234854 h 470547"/>
                <a:gd name="connsiteX1069" fmla="*/ 162759 w 578488"/>
                <a:gd name="connsiteY1069" fmla="*/ 227548 h 470547"/>
                <a:gd name="connsiteX1070" fmla="*/ 164238 w 578488"/>
                <a:gd name="connsiteY1070" fmla="*/ 228758 h 470547"/>
                <a:gd name="connsiteX1071" fmla="*/ 166006 w 578488"/>
                <a:gd name="connsiteY1071" fmla="*/ 230895 h 470547"/>
                <a:gd name="connsiteX1072" fmla="*/ 170470 w 578488"/>
                <a:gd name="connsiteY1072" fmla="*/ 230412 h 470547"/>
                <a:gd name="connsiteX1073" fmla="*/ 175556 w 578488"/>
                <a:gd name="connsiteY1073" fmla="*/ 226271 h 470547"/>
                <a:gd name="connsiteX1074" fmla="*/ 179473 w 578488"/>
                <a:gd name="connsiteY1074" fmla="*/ 221764 h 470547"/>
                <a:gd name="connsiteX1075" fmla="*/ 177356 w 578488"/>
                <a:gd name="connsiteY1075" fmla="*/ 222551 h 470547"/>
                <a:gd name="connsiteX1076" fmla="*/ 175046 w 578488"/>
                <a:gd name="connsiteY1076" fmla="*/ 224397 h 470547"/>
                <a:gd name="connsiteX1077" fmla="*/ 170543 w 578488"/>
                <a:gd name="connsiteY1077" fmla="*/ 226959 h 470547"/>
                <a:gd name="connsiteX1078" fmla="*/ 168462 w 578488"/>
                <a:gd name="connsiteY1078" fmla="*/ 227364 h 470547"/>
                <a:gd name="connsiteX1079" fmla="*/ 167274 w 578488"/>
                <a:gd name="connsiteY1079" fmla="*/ 227031 h 470547"/>
                <a:gd name="connsiteX1080" fmla="*/ 166613 w 578488"/>
                <a:gd name="connsiteY1080" fmla="*/ 225322 h 470547"/>
                <a:gd name="connsiteX1081" fmla="*/ 165052 w 578488"/>
                <a:gd name="connsiteY1081" fmla="*/ 224767 h 470547"/>
                <a:gd name="connsiteX1082" fmla="*/ 163642 w 578488"/>
                <a:gd name="connsiteY1082" fmla="*/ 225151 h 470547"/>
                <a:gd name="connsiteX1083" fmla="*/ 162189 w 578488"/>
                <a:gd name="connsiteY1083" fmla="*/ 223935 h 470547"/>
                <a:gd name="connsiteX1084" fmla="*/ 161930 w 578488"/>
                <a:gd name="connsiteY1084" fmla="*/ 220930 h 470547"/>
                <a:gd name="connsiteX1085" fmla="*/ 163789 w 578488"/>
                <a:gd name="connsiteY1085" fmla="*/ 216446 h 470547"/>
                <a:gd name="connsiteX1086" fmla="*/ 165262 w 578488"/>
                <a:gd name="connsiteY1086" fmla="*/ 213475 h 470547"/>
                <a:gd name="connsiteX1087" fmla="*/ 166853 w 578488"/>
                <a:gd name="connsiteY1087" fmla="*/ 211224 h 470547"/>
                <a:gd name="connsiteX1088" fmla="*/ 173109 w 578488"/>
                <a:gd name="connsiteY1088" fmla="*/ 204821 h 470547"/>
                <a:gd name="connsiteX1089" fmla="*/ 174461 w 578488"/>
                <a:gd name="connsiteY1089" fmla="*/ 201318 h 470547"/>
                <a:gd name="connsiteX1090" fmla="*/ 177290 w 578488"/>
                <a:gd name="connsiteY1090" fmla="*/ 199467 h 470547"/>
                <a:gd name="connsiteX1091" fmla="*/ 180964 w 578488"/>
                <a:gd name="connsiteY1091" fmla="*/ 199879 h 470547"/>
                <a:gd name="connsiteX1092" fmla="*/ 182073 w 578488"/>
                <a:gd name="connsiteY1092" fmla="*/ 199344 h 470547"/>
                <a:gd name="connsiteX1093" fmla="*/ 180811 w 578488"/>
                <a:gd name="connsiteY1093" fmla="*/ 197042 h 470547"/>
                <a:gd name="connsiteX1094" fmla="*/ 176806 w 578488"/>
                <a:gd name="connsiteY1094" fmla="*/ 195215 h 470547"/>
                <a:gd name="connsiteX1095" fmla="*/ 176560 w 578488"/>
                <a:gd name="connsiteY1095" fmla="*/ 194067 h 470547"/>
                <a:gd name="connsiteX1096" fmla="*/ 189900 w 578488"/>
                <a:gd name="connsiteY1096" fmla="*/ 191049 h 470547"/>
                <a:gd name="connsiteX1097" fmla="*/ 196253 w 578488"/>
                <a:gd name="connsiteY1097" fmla="*/ 191151 h 470547"/>
                <a:gd name="connsiteX1098" fmla="*/ 198138 w 578488"/>
                <a:gd name="connsiteY1098" fmla="*/ 189643 h 470547"/>
                <a:gd name="connsiteX1099" fmla="*/ 201591 w 578488"/>
                <a:gd name="connsiteY1099" fmla="*/ 188677 h 470547"/>
                <a:gd name="connsiteX1100" fmla="*/ 204208 w 578488"/>
                <a:gd name="connsiteY1100" fmla="*/ 186831 h 470547"/>
                <a:gd name="connsiteX1101" fmla="*/ 202859 w 578488"/>
                <a:gd name="connsiteY1101" fmla="*/ 186016 h 470547"/>
                <a:gd name="connsiteX1102" fmla="*/ 196407 w 578488"/>
                <a:gd name="connsiteY1102" fmla="*/ 187713 h 470547"/>
                <a:gd name="connsiteX1103" fmla="*/ 192373 w 578488"/>
                <a:gd name="connsiteY1103" fmla="*/ 188510 h 470547"/>
                <a:gd name="connsiteX1104" fmla="*/ 190548 w 578488"/>
                <a:gd name="connsiteY1104" fmla="*/ 188485 h 470547"/>
                <a:gd name="connsiteX1105" fmla="*/ 189125 w 578488"/>
                <a:gd name="connsiteY1105" fmla="*/ 189068 h 470547"/>
                <a:gd name="connsiteX1106" fmla="*/ 183969 w 578488"/>
                <a:gd name="connsiteY1106" fmla="*/ 189290 h 470547"/>
                <a:gd name="connsiteX1107" fmla="*/ 182848 w 578488"/>
                <a:gd name="connsiteY1107" fmla="*/ 181925 h 470547"/>
                <a:gd name="connsiteX1108" fmla="*/ 183655 w 578488"/>
                <a:gd name="connsiteY1108" fmla="*/ 177918 h 470547"/>
                <a:gd name="connsiteX1109" fmla="*/ 185577 w 578488"/>
                <a:gd name="connsiteY1109" fmla="*/ 178001 h 470547"/>
                <a:gd name="connsiteX1110" fmla="*/ 186015 w 578488"/>
                <a:gd name="connsiteY1110" fmla="*/ 174168 h 470547"/>
                <a:gd name="connsiteX1111" fmla="*/ 188235 w 578488"/>
                <a:gd name="connsiteY1111" fmla="*/ 171907 h 470547"/>
                <a:gd name="connsiteX1112" fmla="*/ 191300 w 578488"/>
                <a:gd name="connsiteY1112" fmla="*/ 171401 h 470547"/>
                <a:gd name="connsiteX1113" fmla="*/ 192844 w 578488"/>
                <a:gd name="connsiteY1113" fmla="*/ 170432 h 470547"/>
                <a:gd name="connsiteX1114" fmla="*/ 195074 w 578488"/>
                <a:gd name="connsiteY1114" fmla="*/ 168460 h 470547"/>
                <a:gd name="connsiteX1115" fmla="*/ 198765 w 578488"/>
                <a:gd name="connsiteY1115" fmla="*/ 168918 h 470547"/>
                <a:gd name="connsiteX1116" fmla="*/ 202556 w 578488"/>
                <a:gd name="connsiteY1116" fmla="*/ 168478 h 470547"/>
                <a:gd name="connsiteX1117" fmla="*/ 201617 w 578488"/>
                <a:gd name="connsiteY1117" fmla="*/ 167548 h 470547"/>
                <a:gd name="connsiteX1118" fmla="*/ 196910 w 578488"/>
                <a:gd name="connsiteY1118" fmla="*/ 166349 h 470547"/>
                <a:gd name="connsiteX1119" fmla="*/ 195748 w 578488"/>
                <a:gd name="connsiteY1119" fmla="*/ 164288 h 470547"/>
                <a:gd name="connsiteX1120" fmla="*/ 197408 w 578488"/>
                <a:gd name="connsiteY1120" fmla="*/ 163137 h 470547"/>
                <a:gd name="connsiteX1121" fmla="*/ 199216 w 578488"/>
                <a:gd name="connsiteY1121" fmla="*/ 162289 h 470547"/>
                <a:gd name="connsiteX1122" fmla="*/ 200803 w 578488"/>
                <a:gd name="connsiteY1122" fmla="*/ 162137 h 470547"/>
                <a:gd name="connsiteX1123" fmla="*/ 203947 w 578488"/>
                <a:gd name="connsiteY1123" fmla="*/ 158104 h 470547"/>
                <a:gd name="connsiteX1124" fmla="*/ 205858 w 578488"/>
                <a:gd name="connsiteY1124" fmla="*/ 156381 h 470547"/>
                <a:gd name="connsiteX1125" fmla="*/ 207998 w 578488"/>
                <a:gd name="connsiteY1125" fmla="*/ 156680 h 470547"/>
                <a:gd name="connsiteX1126" fmla="*/ 210978 w 578488"/>
                <a:gd name="connsiteY1126" fmla="*/ 154898 h 470547"/>
                <a:gd name="connsiteX1127" fmla="*/ 213904 w 578488"/>
                <a:gd name="connsiteY1127" fmla="*/ 155506 h 470547"/>
                <a:gd name="connsiteX1128" fmla="*/ 216735 w 578488"/>
                <a:gd name="connsiteY1128" fmla="*/ 154339 h 470547"/>
                <a:gd name="connsiteX1129" fmla="*/ 220602 w 578488"/>
                <a:gd name="connsiteY1129" fmla="*/ 153569 h 470547"/>
                <a:gd name="connsiteX1130" fmla="*/ 234757 w 578488"/>
                <a:gd name="connsiteY1130" fmla="*/ 153271 h 470547"/>
                <a:gd name="connsiteX1131" fmla="*/ 235178 w 578488"/>
                <a:gd name="connsiteY1131" fmla="*/ 151616 h 470547"/>
                <a:gd name="connsiteX1132" fmla="*/ 232201 w 578488"/>
                <a:gd name="connsiteY1132" fmla="*/ 151232 h 470547"/>
                <a:gd name="connsiteX1133" fmla="*/ 221682 w 578488"/>
                <a:gd name="connsiteY1133" fmla="*/ 150806 h 470547"/>
                <a:gd name="connsiteX1134" fmla="*/ 216312 w 578488"/>
                <a:gd name="connsiteY1134" fmla="*/ 150839 h 470547"/>
                <a:gd name="connsiteX1135" fmla="*/ 214051 w 578488"/>
                <a:gd name="connsiteY1135" fmla="*/ 151268 h 470547"/>
                <a:gd name="connsiteX1136" fmla="*/ 213220 w 578488"/>
                <a:gd name="connsiteY1136" fmla="*/ 150691 h 470547"/>
                <a:gd name="connsiteX1137" fmla="*/ 213366 w 578488"/>
                <a:gd name="connsiteY1137" fmla="*/ 149699 h 470547"/>
                <a:gd name="connsiteX1138" fmla="*/ 215318 w 578488"/>
                <a:gd name="connsiteY1138" fmla="*/ 148129 h 470547"/>
                <a:gd name="connsiteX1139" fmla="*/ 216245 w 578488"/>
                <a:gd name="connsiteY1139" fmla="*/ 146392 h 470547"/>
                <a:gd name="connsiteX1140" fmla="*/ 220147 w 578488"/>
                <a:gd name="connsiteY1140" fmla="*/ 142146 h 470547"/>
                <a:gd name="connsiteX1141" fmla="*/ 224722 w 578488"/>
                <a:gd name="connsiteY1141" fmla="*/ 139313 h 470547"/>
                <a:gd name="connsiteX1142" fmla="*/ 228229 w 578488"/>
                <a:gd name="connsiteY1142" fmla="*/ 140038 h 470547"/>
                <a:gd name="connsiteX1143" fmla="*/ 231959 w 578488"/>
                <a:gd name="connsiteY1143" fmla="*/ 142743 h 470547"/>
                <a:gd name="connsiteX1144" fmla="*/ 234617 w 578488"/>
                <a:gd name="connsiteY1144" fmla="*/ 143081 h 470547"/>
                <a:gd name="connsiteX1145" fmla="*/ 235854 w 578488"/>
                <a:gd name="connsiteY1145" fmla="*/ 143954 h 470547"/>
                <a:gd name="connsiteX1146" fmla="*/ 237791 w 578488"/>
                <a:gd name="connsiteY1146" fmla="*/ 147678 h 470547"/>
                <a:gd name="connsiteX1147" fmla="*/ 238709 w 578488"/>
                <a:gd name="connsiteY1147" fmla="*/ 147799 h 470547"/>
                <a:gd name="connsiteX1148" fmla="*/ 238294 w 578488"/>
                <a:gd name="connsiteY1148" fmla="*/ 144220 h 470547"/>
                <a:gd name="connsiteX1149" fmla="*/ 240855 w 578488"/>
                <a:gd name="connsiteY1149" fmla="*/ 141304 h 470547"/>
                <a:gd name="connsiteX1150" fmla="*/ 240188 w 578488"/>
                <a:gd name="connsiteY1150" fmla="*/ 140497 h 470547"/>
                <a:gd name="connsiteX1151" fmla="*/ 236340 w 578488"/>
                <a:gd name="connsiteY1151" fmla="*/ 141552 h 470547"/>
                <a:gd name="connsiteX1152" fmla="*/ 233392 w 578488"/>
                <a:gd name="connsiteY1152" fmla="*/ 140455 h 470547"/>
                <a:gd name="connsiteX1153" fmla="*/ 231065 w 578488"/>
                <a:gd name="connsiteY1153" fmla="*/ 138262 h 470547"/>
                <a:gd name="connsiteX1154" fmla="*/ 230399 w 578488"/>
                <a:gd name="connsiteY1154" fmla="*/ 136255 h 470547"/>
                <a:gd name="connsiteX1155" fmla="*/ 231846 w 578488"/>
                <a:gd name="connsiteY1155" fmla="*/ 134270 h 470547"/>
                <a:gd name="connsiteX1156" fmla="*/ 233211 w 578488"/>
                <a:gd name="connsiteY1156" fmla="*/ 133270 h 470547"/>
                <a:gd name="connsiteX1157" fmla="*/ 232285 w 578488"/>
                <a:gd name="connsiteY1157" fmla="*/ 132104 h 470547"/>
                <a:gd name="connsiteX1158" fmla="*/ 226467 w 578488"/>
                <a:gd name="connsiteY1158" fmla="*/ 135229 h 470547"/>
                <a:gd name="connsiteX1159" fmla="*/ 222352 w 578488"/>
                <a:gd name="connsiteY1159" fmla="*/ 135955 h 470547"/>
                <a:gd name="connsiteX1160" fmla="*/ 220730 w 578488"/>
                <a:gd name="connsiteY1160" fmla="*/ 135518 h 470547"/>
                <a:gd name="connsiteX1161" fmla="*/ 221609 w 578488"/>
                <a:gd name="connsiteY1161" fmla="*/ 132687 h 470547"/>
                <a:gd name="connsiteX1162" fmla="*/ 221119 w 578488"/>
                <a:gd name="connsiteY1162" fmla="*/ 130438 h 470547"/>
                <a:gd name="connsiteX1163" fmla="*/ 226636 w 578488"/>
                <a:gd name="connsiteY1163" fmla="*/ 124888 h 470547"/>
                <a:gd name="connsiteX1164" fmla="*/ 228534 w 578488"/>
                <a:gd name="connsiteY1164" fmla="*/ 124245 h 470547"/>
                <a:gd name="connsiteX1165" fmla="*/ 231632 w 578488"/>
                <a:gd name="connsiteY1165" fmla="*/ 124691 h 470547"/>
                <a:gd name="connsiteX1166" fmla="*/ 234429 w 578488"/>
                <a:gd name="connsiteY1166" fmla="*/ 126259 h 470547"/>
                <a:gd name="connsiteX1167" fmla="*/ 236768 w 578488"/>
                <a:gd name="connsiteY1167" fmla="*/ 126009 h 470547"/>
                <a:gd name="connsiteX1168" fmla="*/ 239305 w 578488"/>
                <a:gd name="connsiteY1168" fmla="*/ 125172 h 470547"/>
                <a:gd name="connsiteX1169" fmla="*/ 238959 w 578488"/>
                <a:gd name="connsiteY1169" fmla="*/ 123668 h 470547"/>
                <a:gd name="connsiteX1170" fmla="*/ 233457 w 578488"/>
                <a:gd name="connsiteY1170" fmla="*/ 123071 h 470547"/>
                <a:gd name="connsiteX1171" fmla="*/ 232041 w 578488"/>
                <a:gd name="connsiteY1171" fmla="*/ 121822 h 470547"/>
                <a:gd name="connsiteX1172" fmla="*/ 232552 w 578488"/>
                <a:gd name="connsiteY1172" fmla="*/ 120595 h 470547"/>
                <a:gd name="connsiteX1173" fmla="*/ 236329 w 578488"/>
                <a:gd name="connsiteY1173" fmla="*/ 119298 h 470547"/>
                <a:gd name="connsiteX1174" fmla="*/ 240085 w 578488"/>
                <a:gd name="connsiteY1174" fmla="*/ 116955 h 470547"/>
                <a:gd name="connsiteX1175" fmla="*/ 244388 w 578488"/>
                <a:gd name="connsiteY1175" fmla="*/ 116276 h 470547"/>
                <a:gd name="connsiteX1176" fmla="*/ 247852 w 578488"/>
                <a:gd name="connsiteY1176" fmla="*/ 114501 h 470547"/>
                <a:gd name="connsiteX1177" fmla="*/ 248519 w 578488"/>
                <a:gd name="connsiteY1177" fmla="*/ 114904 h 470547"/>
                <a:gd name="connsiteX1178" fmla="*/ 249104 w 578488"/>
                <a:gd name="connsiteY1178" fmla="*/ 115600 h 470547"/>
                <a:gd name="connsiteX1179" fmla="*/ 250348 w 578488"/>
                <a:gd name="connsiteY1179" fmla="*/ 122169 h 470547"/>
                <a:gd name="connsiteX1180" fmla="*/ 253442 w 578488"/>
                <a:gd name="connsiteY1180" fmla="*/ 127512 h 470547"/>
                <a:gd name="connsiteX1181" fmla="*/ 254582 w 578488"/>
                <a:gd name="connsiteY1181" fmla="*/ 127706 h 470547"/>
                <a:gd name="connsiteX1182" fmla="*/ 253395 w 578488"/>
                <a:gd name="connsiteY1182" fmla="*/ 123162 h 470547"/>
                <a:gd name="connsiteX1183" fmla="*/ 254503 w 578488"/>
                <a:gd name="connsiteY1183" fmla="*/ 121854 h 470547"/>
                <a:gd name="connsiteX1184" fmla="*/ 255906 w 578488"/>
                <a:gd name="connsiteY1184" fmla="*/ 120859 h 470547"/>
                <a:gd name="connsiteX1185" fmla="*/ 256344 w 578488"/>
                <a:gd name="connsiteY1185" fmla="*/ 119726 h 470547"/>
                <a:gd name="connsiteX1186" fmla="*/ 254736 w 578488"/>
                <a:gd name="connsiteY1186" fmla="*/ 119339 h 470547"/>
                <a:gd name="connsiteX1187" fmla="*/ 253421 w 578488"/>
                <a:gd name="connsiteY1187" fmla="*/ 117711 h 470547"/>
                <a:gd name="connsiteX1188" fmla="*/ 251542 w 578488"/>
                <a:gd name="connsiteY1188" fmla="*/ 112496 h 470547"/>
                <a:gd name="connsiteX1189" fmla="*/ 252183 w 578488"/>
                <a:gd name="connsiteY1189" fmla="*/ 111139 h 470547"/>
                <a:gd name="connsiteX1190" fmla="*/ 256254 w 578488"/>
                <a:gd name="connsiteY1190" fmla="*/ 108355 h 470547"/>
                <a:gd name="connsiteX1191" fmla="*/ 261361 w 578488"/>
                <a:gd name="connsiteY1191" fmla="*/ 107713 h 470547"/>
                <a:gd name="connsiteX1192" fmla="*/ 266802 w 578488"/>
                <a:gd name="connsiteY1192" fmla="*/ 109666 h 470547"/>
                <a:gd name="connsiteX1193" fmla="*/ 268713 w 578488"/>
                <a:gd name="connsiteY1193" fmla="*/ 109688 h 470547"/>
                <a:gd name="connsiteX1194" fmla="*/ 271868 w 578488"/>
                <a:gd name="connsiteY1194" fmla="*/ 109164 h 470547"/>
                <a:gd name="connsiteX1195" fmla="*/ 277221 w 578488"/>
                <a:gd name="connsiteY1195" fmla="*/ 107558 h 470547"/>
                <a:gd name="connsiteX1196" fmla="*/ 280370 w 578488"/>
                <a:gd name="connsiteY1196" fmla="*/ 106947 h 470547"/>
                <a:gd name="connsiteX1197" fmla="*/ 282013 w 578488"/>
                <a:gd name="connsiteY1197" fmla="*/ 106949 h 470547"/>
                <a:gd name="connsiteX1198" fmla="*/ 282419 w 578488"/>
                <a:gd name="connsiteY1198" fmla="*/ 106137 h 470547"/>
                <a:gd name="connsiteX1199" fmla="*/ 280897 w 578488"/>
                <a:gd name="connsiteY1199" fmla="*/ 105615 h 470547"/>
                <a:gd name="connsiteX1200" fmla="*/ 280406 w 578488"/>
                <a:gd name="connsiteY1200" fmla="*/ 105107 h 470547"/>
                <a:gd name="connsiteX1201" fmla="*/ 279212 w 578488"/>
                <a:gd name="connsiteY1201" fmla="*/ 104815 h 470547"/>
                <a:gd name="connsiteX1202" fmla="*/ 274263 w 578488"/>
                <a:gd name="connsiteY1202" fmla="*/ 105684 h 470547"/>
                <a:gd name="connsiteX1203" fmla="*/ 260609 w 578488"/>
                <a:gd name="connsiteY1203" fmla="*/ 105409 h 470547"/>
                <a:gd name="connsiteX1204" fmla="*/ 259292 w 578488"/>
                <a:gd name="connsiteY1204" fmla="*/ 104480 h 470547"/>
                <a:gd name="connsiteX1205" fmla="*/ 259050 w 578488"/>
                <a:gd name="connsiteY1205" fmla="*/ 102872 h 470547"/>
                <a:gd name="connsiteX1206" fmla="*/ 260499 w 578488"/>
                <a:gd name="connsiteY1206" fmla="*/ 100564 h 470547"/>
                <a:gd name="connsiteX1207" fmla="*/ 262091 w 578488"/>
                <a:gd name="connsiteY1207" fmla="*/ 99291 h 470547"/>
                <a:gd name="connsiteX1208" fmla="*/ 267239 w 578488"/>
                <a:gd name="connsiteY1208" fmla="*/ 96997 h 470547"/>
                <a:gd name="connsiteX1209" fmla="*/ 272689 w 578488"/>
                <a:gd name="connsiteY1209" fmla="*/ 96687 h 470547"/>
                <a:gd name="connsiteX1210" fmla="*/ 278431 w 578488"/>
                <a:gd name="connsiteY1210" fmla="*/ 92605 h 470547"/>
                <a:gd name="connsiteX1211" fmla="*/ 280625 w 578488"/>
                <a:gd name="connsiteY1211" fmla="*/ 89538 h 470547"/>
                <a:gd name="connsiteX1212" fmla="*/ 281868 w 578488"/>
                <a:gd name="connsiteY1212" fmla="*/ 84803 h 470547"/>
                <a:gd name="connsiteX1213" fmla="*/ 285369 w 578488"/>
                <a:gd name="connsiteY1213" fmla="*/ 80966 h 470547"/>
                <a:gd name="connsiteX1214" fmla="*/ 294144 w 578488"/>
                <a:gd name="connsiteY1214" fmla="*/ 78781 h 470547"/>
                <a:gd name="connsiteX1215" fmla="*/ 294499 w 578488"/>
                <a:gd name="connsiteY1215" fmla="*/ 77813 h 470547"/>
                <a:gd name="connsiteX1216" fmla="*/ 293568 w 578488"/>
                <a:gd name="connsiteY1216" fmla="*/ 75813 h 470547"/>
                <a:gd name="connsiteX1217" fmla="*/ 293641 w 578488"/>
                <a:gd name="connsiteY1217" fmla="*/ 72204 h 470547"/>
                <a:gd name="connsiteX1218" fmla="*/ 296047 w 578488"/>
                <a:gd name="connsiteY1218" fmla="*/ 67992 h 470547"/>
                <a:gd name="connsiteX1219" fmla="*/ 297645 w 578488"/>
                <a:gd name="connsiteY1219" fmla="*/ 66526 h 470547"/>
                <a:gd name="connsiteX1220" fmla="*/ 298383 w 578488"/>
                <a:gd name="connsiteY1220" fmla="*/ 66350 h 470547"/>
                <a:gd name="connsiteX1221" fmla="*/ 300275 w 578488"/>
                <a:gd name="connsiteY1221" fmla="*/ 67729 h 470547"/>
                <a:gd name="connsiteX1222" fmla="*/ 302573 w 578488"/>
                <a:gd name="connsiteY1222" fmla="*/ 70659 h 470547"/>
                <a:gd name="connsiteX1223" fmla="*/ 306175 w 578488"/>
                <a:gd name="connsiteY1223" fmla="*/ 72335 h 470547"/>
                <a:gd name="connsiteX1224" fmla="*/ 310895 w 578488"/>
                <a:gd name="connsiteY1224" fmla="*/ 72624 h 470547"/>
                <a:gd name="connsiteX1225" fmla="*/ 312154 w 578488"/>
                <a:gd name="connsiteY1225" fmla="*/ 71800 h 470547"/>
                <a:gd name="connsiteX1226" fmla="*/ 308485 w 578488"/>
                <a:gd name="connsiteY1226" fmla="*/ 70129 h 470547"/>
                <a:gd name="connsiteX1227" fmla="*/ 305708 w 578488"/>
                <a:gd name="connsiteY1227" fmla="*/ 67943 h 470547"/>
                <a:gd name="connsiteX1228" fmla="*/ 305488 w 578488"/>
                <a:gd name="connsiteY1228" fmla="*/ 65745 h 470547"/>
                <a:gd name="connsiteX1229" fmla="*/ 306805 w 578488"/>
                <a:gd name="connsiteY1229" fmla="*/ 64579 h 470547"/>
                <a:gd name="connsiteX1230" fmla="*/ 308852 w 578488"/>
                <a:gd name="connsiteY1230" fmla="*/ 64709 h 470547"/>
                <a:gd name="connsiteX1231" fmla="*/ 311422 w 578488"/>
                <a:gd name="connsiteY1231" fmla="*/ 64462 h 470547"/>
                <a:gd name="connsiteX1232" fmla="*/ 313816 w 578488"/>
                <a:gd name="connsiteY1232" fmla="*/ 62982 h 470547"/>
                <a:gd name="connsiteX1233" fmla="*/ 314164 w 578488"/>
                <a:gd name="connsiteY1233" fmla="*/ 61941 h 470547"/>
                <a:gd name="connsiteX1234" fmla="*/ 314264 w 578488"/>
                <a:gd name="connsiteY1234" fmla="*/ 60527 h 470547"/>
                <a:gd name="connsiteX1235" fmla="*/ 314862 w 578488"/>
                <a:gd name="connsiteY1235" fmla="*/ 59088 h 470547"/>
                <a:gd name="connsiteX1236" fmla="*/ 318375 w 578488"/>
                <a:gd name="connsiteY1236" fmla="*/ 55651 h 470547"/>
                <a:gd name="connsiteX1237" fmla="*/ 329204 w 578488"/>
                <a:gd name="connsiteY1237" fmla="*/ 53412 h 470547"/>
                <a:gd name="connsiteX1238" fmla="*/ 329988 w 578488"/>
                <a:gd name="connsiteY1238" fmla="*/ 54321 h 470547"/>
                <a:gd name="connsiteX1239" fmla="*/ 329403 w 578488"/>
                <a:gd name="connsiteY1239" fmla="*/ 60951 h 470547"/>
                <a:gd name="connsiteX1240" fmla="*/ 328159 w 578488"/>
                <a:gd name="connsiteY1240" fmla="*/ 65227 h 470547"/>
                <a:gd name="connsiteX1241" fmla="*/ 328198 w 578488"/>
                <a:gd name="connsiteY1241" fmla="*/ 68347 h 470547"/>
                <a:gd name="connsiteX1242" fmla="*/ 330306 w 578488"/>
                <a:gd name="connsiteY1242" fmla="*/ 65227 h 470547"/>
                <a:gd name="connsiteX1243" fmla="*/ 333132 w 578488"/>
                <a:gd name="connsiteY1243" fmla="*/ 56663 h 470547"/>
                <a:gd name="connsiteX1244" fmla="*/ 335253 w 578488"/>
                <a:gd name="connsiteY1244" fmla="*/ 52629 h 470547"/>
                <a:gd name="connsiteX1245" fmla="*/ 337650 w 578488"/>
                <a:gd name="connsiteY1245" fmla="*/ 50309 h 470547"/>
                <a:gd name="connsiteX1246" fmla="*/ 339362 w 578488"/>
                <a:gd name="connsiteY1246" fmla="*/ 49785 h 470547"/>
                <a:gd name="connsiteX1247" fmla="*/ 341057 w 578488"/>
                <a:gd name="connsiteY1247" fmla="*/ 48583 h 470547"/>
                <a:gd name="connsiteX1248" fmla="*/ 343295 w 578488"/>
                <a:gd name="connsiteY1248" fmla="*/ 47867 h 470547"/>
                <a:gd name="connsiteX1249" fmla="*/ 343979 w 578488"/>
                <a:gd name="connsiteY1249" fmla="*/ 48791 h 470547"/>
                <a:gd name="connsiteX1250" fmla="*/ 344687 w 578488"/>
                <a:gd name="connsiteY1250" fmla="*/ 50933 h 470547"/>
                <a:gd name="connsiteX1251" fmla="*/ 343482 w 578488"/>
                <a:gd name="connsiteY1251" fmla="*/ 58438 h 470547"/>
                <a:gd name="connsiteX1252" fmla="*/ 343603 w 578488"/>
                <a:gd name="connsiteY1252" fmla="*/ 60805 h 470547"/>
                <a:gd name="connsiteX1253" fmla="*/ 342253 w 578488"/>
                <a:gd name="connsiteY1253" fmla="*/ 63973 h 470547"/>
                <a:gd name="connsiteX1254" fmla="*/ 337093 w 578488"/>
                <a:gd name="connsiteY1254" fmla="*/ 71017 h 470547"/>
                <a:gd name="connsiteX1255" fmla="*/ 337330 w 578488"/>
                <a:gd name="connsiteY1255" fmla="*/ 71914 h 470547"/>
                <a:gd name="connsiteX1256" fmla="*/ 338496 w 578488"/>
                <a:gd name="connsiteY1256" fmla="*/ 71581 h 470547"/>
                <a:gd name="connsiteX1257" fmla="*/ 340496 w 578488"/>
                <a:gd name="connsiteY1257" fmla="*/ 70420 h 470547"/>
                <a:gd name="connsiteX1258" fmla="*/ 346888 w 578488"/>
                <a:gd name="connsiteY1258" fmla="*/ 63728 h 470547"/>
                <a:gd name="connsiteX1259" fmla="*/ 352476 w 578488"/>
                <a:gd name="connsiteY1259" fmla="*/ 64573 h 470547"/>
                <a:gd name="connsiteX1260" fmla="*/ 352545 w 578488"/>
                <a:gd name="connsiteY1260" fmla="*/ 64024 h 470547"/>
                <a:gd name="connsiteX1261" fmla="*/ 350753 w 578488"/>
                <a:gd name="connsiteY1261" fmla="*/ 62058 h 470547"/>
                <a:gd name="connsiteX1262" fmla="*/ 348563 w 578488"/>
                <a:gd name="connsiteY1262" fmla="*/ 60171 h 470547"/>
                <a:gd name="connsiteX1263" fmla="*/ 347905 w 578488"/>
                <a:gd name="connsiteY1263" fmla="*/ 57833 h 470547"/>
                <a:gd name="connsiteX1264" fmla="*/ 348198 w 578488"/>
                <a:gd name="connsiteY1264" fmla="*/ 51586 h 470547"/>
                <a:gd name="connsiteX1265" fmla="*/ 349881 w 578488"/>
                <a:gd name="connsiteY1265" fmla="*/ 49107 h 470547"/>
                <a:gd name="connsiteX1266" fmla="*/ 354707 w 578488"/>
                <a:gd name="connsiteY1266" fmla="*/ 49367 h 470547"/>
                <a:gd name="connsiteX1267" fmla="*/ 357598 w 578488"/>
                <a:gd name="connsiteY1267" fmla="*/ 49024 h 470547"/>
                <a:gd name="connsiteX1268" fmla="*/ 358948 w 578488"/>
                <a:gd name="connsiteY1268" fmla="*/ 50151 h 470547"/>
                <a:gd name="connsiteX1269" fmla="*/ 361843 w 578488"/>
                <a:gd name="connsiteY1269" fmla="*/ 50070 h 470547"/>
                <a:gd name="connsiteX1270" fmla="*/ 363848 w 578488"/>
                <a:gd name="connsiteY1270" fmla="*/ 45579 h 470547"/>
                <a:gd name="connsiteX1271" fmla="*/ 367810 w 578488"/>
                <a:gd name="connsiteY1271" fmla="*/ 45185 h 470547"/>
                <a:gd name="connsiteX1272" fmla="*/ 371289 w 578488"/>
                <a:gd name="connsiteY1272" fmla="*/ 48155 h 470547"/>
                <a:gd name="connsiteX1273" fmla="*/ 375476 w 578488"/>
                <a:gd name="connsiteY1273" fmla="*/ 50151 h 470547"/>
                <a:gd name="connsiteX1274" fmla="*/ 378840 w 578488"/>
                <a:gd name="connsiteY1274" fmla="*/ 53019 h 470547"/>
                <a:gd name="connsiteX1275" fmla="*/ 379790 w 578488"/>
                <a:gd name="connsiteY1275" fmla="*/ 52236 h 470547"/>
                <a:gd name="connsiteX1276" fmla="*/ 377974 w 578488"/>
                <a:gd name="connsiteY1276" fmla="*/ 45538 h 470547"/>
                <a:gd name="connsiteX1277" fmla="*/ 375987 w 578488"/>
                <a:gd name="connsiteY1277" fmla="*/ 43092 h 470547"/>
                <a:gd name="connsiteX1278" fmla="*/ 371677 w 578488"/>
                <a:gd name="connsiteY1278" fmla="*/ 41819 h 470547"/>
                <a:gd name="connsiteX1279" fmla="*/ 367091 w 578488"/>
                <a:gd name="connsiteY1279" fmla="*/ 38795 h 470547"/>
                <a:gd name="connsiteX1280" fmla="*/ 365895 w 578488"/>
                <a:gd name="connsiteY1280" fmla="*/ 37453 h 470547"/>
                <a:gd name="connsiteX1281" fmla="*/ 366104 w 578488"/>
                <a:gd name="connsiteY1281" fmla="*/ 36454 h 470547"/>
                <a:gd name="connsiteX1282" fmla="*/ 370151 w 578488"/>
                <a:gd name="connsiteY1282" fmla="*/ 35490 h 470547"/>
                <a:gd name="connsiteX1283" fmla="*/ 375491 w 578488"/>
                <a:gd name="connsiteY1283" fmla="*/ 36594 h 470547"/>
                <a:gd name="connsiteX1284" fmla="*/ 380250 w 578488"/>
                <a:gd name="connsiteY1284" fmla="*/ 34070 h 470547"/>
                <a:gd name="connsiteX1285" fmla="*/ 381552 w 578488"/>
                <a:gd name="connsiteY1285" fmla="*/ 34762 h 470547"/>
                <a:gd name="connsiteX1286" fmla="*/ 385202 w 578488"/>
                <a:gd name="connsiteY1286" fmla="*/ 33441 h 470547"/>
                <a:gd name="connsiteX1287" fmla="*/ 387469 w 578488"/>
                <a:gd name="connsiteY1287" fmla="*/ 35218 h 470547"/>
                <a:gd name="connsiteX1288" fmla="*/ 388857 w 578488"/>
                <a:gd name="connsiteY1288" fmla="*/ 34692 h 470547"/>
                <a:gd name="connsiteX1289" fmla="*/ 389663 w 578488"/>
                <a:gd name="connsiteY1289" fmla="*/ 32309 h 470547"/>
                <a:gd name="connsiteX1290" fmla="*/ 395487 w 578488"/>
                <a:gd name="connsiteY1290" fmla="*/ 30829 h 470547"/>
                <a:gd name="connsiteX1291" fmla="*/ 399181 w 578488"/>
                <a:gd name="connsiteY1291" fmla="*/ 32195 h 470547"/>
                <a:gd name="connsiteX1292" fmla="*/ 401162 w 578488"/>
                <a:gd name="connsiteY1292" fmla="*/ 33608 h 470547"/>
                <a:gd name="connsiteX1293" fmla="*/ 402082 w 578488"/>
                <a:gd name="connsiteY1293" fmla="*/ 36320 h 470547"/>
                <a:gd name="connsiteX1294" fmla="*/ 403489 w 578488"/>
                <a:gd name="connsiteY1294" fmla="*/ 41674 h 470547"/>
                <a:gd name="connsiteX1295" fmla="*/ 406374 w 578488"/>
                <a:gd name="connsiteY1295" fmla="*/ 44557 h 470547"/>
                <a:gd name="connsiteX1296" fmla="*/ 408165 w 578488"/>
                <a:gd name="connsiteY1296" fmla="*/ 45971 h 470547"/>
                <a:gd name="connsiteX1297" fmla="*/ 410287 w 578488"/>
                <a:gd name="connsiteY1297" fmla="*/ 46362 h 470547"/>
                <a:gd name="connsiteX1298" fmla="*/ 411311 w 578488"/>
                <a:gd name="connsiteY1298" fmla="*/ 44924 h 470547"/>
                <a:gd name="connsiteX1299" fmla="*/ 409322 w 578488"/>
                <a:gd name="connsiteY1299" fmla="*/ 43190 h 470547"/>
                <a:gd name="connsiteX1300" fmla="*/ 408786 w 578488"/>
                <a:gd name="connsiteY1300" fmla="*/ 41556 h 470547"/>
                <a:gd name="connsiteX1301" fmla="*/ 409739 w 578488"/>
                <a:gd name="connsiteY1301" fmla="*/ 37494 h 470547"/>
                <a:gd name="connsiteX1302" fmla="*/ 410851 w 578488"/>
                <a:gd name="connsiteY1302" fmla="*/ 35896 h 470547"/>
                <a:gd name="connsiteX1303" fmla="*/ 417083 w 578488"/>
                <a:gd name="connsiteY1303" fmla="*/ 29833 h 470547"/>
                <a:gd name="connsiteX1304" fmla="*/ 422300 w 578488"/>
                <a:gd name="connsiteY1304" fmla="*/ 26680 h 470547"/>
                <a:gd name="connsiteX1305" fmla="*/ 425424 w 578488"/>
                <a:gd name="connsiteY1305" fmla="*/ 26417 h 470547"/>
                <a:gd name="connsiteX1306" fmla="*/ 430888 w 578488"/>
                <a:gd name="connsiteY1306" fmla="*/ 19331 h 470547"/>
                <a:gd name="connsiteX1307" fmla="*/ 432436 w 578488"/>
                <a:gd name="connsiteY1307" fmla="*/ 18040 h 470547"/>
                <a:gd name="connsiteX1308" fmla="*/ 433861 w 578488"/>
                <a:gd name="connsiteY1308" fmla="*/ 17743 h 470547"/>
                <a:gd name="connsiteX1309" fmla="*/ 433496 w 578488"/>
                <a:gd name="connsiteY1309" fmla="*/ 16004 h 470547"/>
                <a:gd name="connsiteX1310" fmla="*/ 430503 w 578488"/>
                <a:gd name="connsiteY1310" fmla="*/ 14903 h 470547"/>
                <a:gd name="connsiteX1311" fmla="*/ 430400 w 578488"/>
                <a:gd name="connsiteY1311" fmla="*/ 12748 h 470547"/>
                <a:gd name="connsiteX1312" fmla="*/ 434343 w 578488"/>
                <a:gd name="connsiteY1312" fmla="*/ 10121 h 470547"/>
                <a:gd name="connsiteX1313" fmla="*/ 439124 w 578488"/>
                <a:gd name="connsiteY1313" fmla="*/ 5706 h 470547"/>
                <a:gd name="connsiteX1314" fmla="*/ 441484 w 578488"/>
                <a:gd name="connsiteY1314" fmla="*/ 5406 h 470547"/>
                <a:gd name="connsiteX1315" fmla="*/ 442963 w 578488"/>
                <a:gd name="connsiteY1315" fmla="*/ 6634 h 470547"/>
                <a:gd name="connsiteX1316" fmla="*/ 447619 w 578488"/>
                <a:gd name="connsiteY1316" fmla="*/ 8627 h 470547"/>
                <a:gd name="connsiteX1317" fmla="*/ 450471 w 578488"/>
                <a:gd name="connsiteY1317" fmla="*/ 10908 h 470547"/>
                <a:gd name="connsiteX1318" fmla="*/ 452538 w 578488"/>
                <a:gd name="connsiteY1318" fmla="*/ 12056 h 470547"/>
                <a:gd name="connsiteX1319" fmla="*/ 453881 w 578488"/>
                <a:gd name="connsiteY1319" fmla="*/ 11818 h 470547"/>
                <a:gd name="connsiteX1320" fmla="*/ 454991 w 578488"/>
                <a:gd name="connsiteY1320" fmla="*/ 10105 h 470547"/>
                <a:gd name="connsiteX1321" fmla="*/ 456325 w 578488"/>
                <a:gd name="connsiteY1321" fmla="*/ 9303 h 470547"/>
                <a:gd name="connsiteX1322" fmla="*/ 459286 w 578488"/>
                <a:gd name="connsiteY1322" fmla="*/ 9753 h 470547"/>
                <a:gd name="connsiteX1323" fmla="*/ 461052 w 578488"/>
                <a:gd name="connsiteY1323" fmla="*/ 10855 h 470547"/>
                <a:gd name="connsiteX1324" fmla="*/ 462428 w 578488"/>
                <a:gd name="connsiteY1324" fmla="*/ 11000 h 470547"/>
                <a:gd name="connsiteX1325" fmla="*/ 463672 w 578488"/>
                <a:gd name="connsiteY1325" fmla="*/ 11667 h 470547"/>
                <a:gd name="connsiteX1326" fmla="*/ 463965 w 578488"/>
                <a:gd name="connsiteY1326" fmla="*/ 13131 h 470547"/>
                <a:gd name="connsiteX1327" fmla="*/ 461404 w 578488"/>
                <a:gd name="connsiteY1327" fmla="*/ 14725 h 470547"/>
                <a:gd name="connsiteX1328" fmla="*/ 457040 w 578488"/>
                <a:gd name="connsiteY1328" fmla="*/ 18947 h 470547"/>
                <a:gd name="connsiteX1329" fmla="*/ 452734 w 578488"/>
                <a:gd name="connsiteY1329" fmla="*/ 23737 h 470547"/>
                <a:gd name="connsiteX1330" fmla="*/ 451314 w 578488"/>
                <a:gd name="connsiteY1330" fmla="*/ 26255 h 470547"/>
                <a:gd name="connsiteX1331" fmla="*/ 449923 w 578488"/>
                <a:gd name="connsiteY1331" fmla="*/ 32850 h 470547"/>
                <a:gd name="connsiteX1332" fmla="*/ 446558 w 578488"/>
                <a:gd name="connsiteY1332" fmla="*/ 37058 h 470547"/>
                <a:gd name="connsiteX1333" fmla="*/ 446304 w 578488"/>
                <a:gd name="connsiteY1333" fmla="*/ 40003 h 470547"/>
                <a:gd name="connsiteX1334" fmla="*/ 447655 w 578488"/>
                <a:gd name="connsiteY1334" fmla="*/ 41390 h 470547"/>
                <a:gd name="connsiteX1335" fmla="*/ 451369 w 578488"/>
                <a:gd name="connsiteY1335" fmla="*/ 40302 h 470547"/>
                <a:gd name="connsiteX1336" fmla="*/ 455947 w 578488"/>
                <a:gd name="connsiteY1336" fmla="*/ 36371 h 470547"/>
                <a:gd name="connsiteX1337" fmla="*/ 457090 w 578488"/>
                <a:gd name="connsiteY1337" fmla="*/ 32191 h 470547"/>
                <a:gd name="connsiteX1338" fmla="*/ 468535 w 578488"/>
                <a:gd name="connsiteY1338" fmla="*/ 20815 h 470547"/>
                <a:gd name="connsiteX1339" fmla="*/ 473903 w 578488"/>
                <a:gd name="connsiteY1339" fmla="*/ 14505 h 470547"/>
                <a:gd name="connsiteX1340" fmla="*/ 480007 w 578488"/>
                <a:gd name="connsiteY1340" fmla="*/ 9265 h 470547"/>
                <a:gd name="connsiteX1341" fmla="*/ 483421 w 578488"/>
                <a:gd name="connsiteY1341" fmla="*/ 8179 h 470547"/>
                <a:gd name="connsiteX1342" fmla="*/ 485028 w 578488"/>
                <a:gd name="connsiteY1342" fmla="*/ 11651 h 470547"/>
                <a:gd name="connsiteX1343" fmla="*/ 483734 w 578488"/>
                <a:gd name="connsiteY1343" fmla="*/ 16179 h 470547"/>
                <a:gd name="connsiteX1344" fmla="*/ 481141 w 578488"/>
                <a:gd name="connsiteY1344" fmla="*/ 19061 h 470547"/>
                <a:gd name="connsiteX1345" fmla="*/ 483052 w 578488"/>
                <a:gd name="connsiteY1345" fmla="*/ 20380 h 470547"/>
                <a:gd name="connsiteX1346" fmla="*/ 482687 w 578488"/>
                <a:gd name="connsiteY1346" fmla="*/ 23797 h 470547"/>
                <a:gd name="connsiteX1347" fmla="*/ 482091 w 578488"/>
                <a:gd name="connsiteY1347" fmla="*/ 25693 h 470547"/>
                <a:gd name="connsiteX1348" fmla="*/ 481711 w 578488"/>
                <a:gd name="connsiteY1348" fmla="*/ 27676 h 470547"/>
                <a:gd name="connsiteX1349" fmla="*/ 481735 w 578488"/>
                <a:gd name="connsiteY1349" fmla="*/ 29424 h 470547"/>
                <a:gd name="connsiteX1350" fmla="*/ 483527 w 578488"/>
                <a:gd name="connsiteY1350" fmla="*/ 28958 h 470547"/>
                <a:gd name="connsiteX1351" fmla="*/ 490675 w 578488"/>
                <a:gd name="connsiteY1351" fmla="*/ 25377 h 470547"/>
                <a:gd name="connsiteX1352" fmla="*/ 492486 w 578488"/>
                <a:gd name="connsiteY1352" fmla="*/ 21493 h 470547"/>
                <a:gd name="connsiteX1353" fmla="*/ 494166 w 578488"/>
                <a:gd name="connsiteY1353" fmla="*/ 18577 h 470547"/>
                <a:gd name="connsiteX1354" fmla="*/ 494972 w 578488"/>
                <a:gd name="connsiteY1354" fmla="*/ 16055 h 470547"/>
                <a:gd name="connsiteX1355" fmla="*/ 497751 w 578488"/>
                <a:gd name="connsiteY1355" fmla="*/ 13663 h 470547"/>
                <a:gd name="connsiteX1356" fmla="*/ 502994 w 578488"/>
                <a:gd name="connsiteY1356" fmla="*/ 13645 h 470547"/>
                <a:gd name="connsiteX1357" fmla="*/ 503197 w 578488"/>
                <a:gd name="connsiteY1357" fmla="*/ 12704 h 470547"/>
                <a:gd name="connsiteX1358" fmla="*/ 496859 w 578488"/>
                <a:gd name="connsiteY1358" fmla="*/ 9377 h 470547"/>
                <a:gd name="connsiteX1359" fmla="*/ 496112 w 578488"/>
                <a:gd name="connsiteY1359" fmla="*/ 7877 h 470547"/>
                <a:gd name="connsiteX1360" fmla="*/ 498243 w 578488"/>
                <a:gd name="connsiteY1360" fmla="*/ 5879 h 470547"/>
                <a:gd name="connsiteX1361" fmla="*/ 459651 w 578488"/>
                <a:gd name="connsiteY1361" fmla="*/ 0 h 470547"/>
                <a:gd name="connsiteX1362" fmla="*/ 465559 w 578488"/>
                <a:gd name="connsiteY1362" fmla="*/ 1548 h 470547"/>
                <a:gd name="connsiteX1363" fmla="*/ 467582 w 578488"/>
                <a:gd name="connsiteY1363" fmla="*/ 1516 h 470547"/>
                <a:gd name="connsiteX1364" fmla="*/ 470515 w 578488"/>
                <a:gd name="connsiteY1364" fmla="*/ 4407 h 470547"/>
                <a:gd name="connsiteX1365" fmla="*/ 472046 w 578488"/>
                <a:gd name="connsiteY1365" fmla="*/ 4151 h 470547"/>
                <a:gd name="connsiteX1366" fmla="*/ 471756 w 578488"/>
                <a:gd name="connsiteY1366" fmla="*/ 5916 h 470547"/>
                <a:gd name="connsiteX1367" fmla="*/ 468792 w 578488"/>
                <a:gd name="connsiteY1367" fmla="*/ 6752 h 470547"/>
                <a:gd name="connsiteX1368" fmla="*/ 464183 w 578488"/>
                <a:gd name="connsiteY1368" fmla="*/ 7260 h 470547"/>
                <a:gd name="connsiteX1369" fmla="*/ 463495 w 578488"/>
                <a:gd name="connsiteY1369" fmla="*/ 7611 h 470547"/>
                <a:gd name="connsiteX1370" fmla="*/ 459556 w 578488"/>
                <a:gd name="connsiteY1370" fmla="*/ 7329 h 470547"/>
                <a:gd name="connsiteX1371" fmla="*/ 457345 w 578488"/>
                <a:gd name="connsiteY1371" fmla="*/ 4956 h 470547"/>
                <a:gd name="connsiteX1372" fmla="*/ 453650 w 578488"/>
                <a:gd name="connsiteY1372" fmla="*/ 4368 h 470547"/>
                <a:gd name="connsiteX1373" fmla="*/ 453656 w 578488"/>
                <a:gd name="connsiteY1373" fmla="*/ 3606 h 470547"/>
                <a:gd name="connsiteX1374" fmla="*/ 456049 w 578488"/>
                <a:gd name="connsiteY1374" fmla="*/ 1809 h 47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Lst>
              <a:rect l="l" t="t" r="r" b="b"/>
              <a:pathLst>
                <a:path w="578488" h="470547">
                  <a:moveTo>
                    <a:pt x="4236" y="391131"/>
                  </a:moveTo>
                  <a:lnTo>
                    <a:pt x="5553" y="393229"/>
                  </a:lnTo>
                  <a:lnTo>
                    <a:pt x="6342" y="395934"/>
                  </a:lnTo>
                  <a:lnTo>
                    <a:pt x="6413" y="399875"/>
                  </a:lnTo>
                  <a:lnTo>
                    <a:pt x="4376" y="399577"/>
                  </a:lnTo>
                  <a:lnTo>
                    <a:pt x="3461" y="398066"/>
                  </a:lnTo>
                  <a:lnTo>
                    <a:pt x="3196" y="397101"/>
                  </a:lnTo>
                  <a:lnTo>
                    <a:pt x="3355" y="394818"/>
                  </a:lnTo>
                  <a:lnTo>
                    <a:pt x="2897" y="392461"/>
                  </a:lnTo>
                  <a:lnTo>
                    <a:pt x="3498" y="391290"/>
                  </a:lnTo>
                  <a:close/>
                  <a:moveTo>
                    <a:pt x="2573" y="366113"/>
                  </a:moveTo>
                  <a:lnTo>
                    <a:pt x="3852" y="367834"/>
                  </a:lnTo>
                  <a:lnTo>
                    <a:pt x="3530" y="369975"/>
                  </a:lnTo>
                  <a:lnTo>
                    <a:pt x="1572" y="370400"/>
                  </a:lnTo>
                  <a:lnTo>
                    <a:pt x="0" y="370038"/>
                  </a:lnTo>
                  <a:lnTo>
                    <a:pt x="561" y="366825"/>
                  </a:lnTo>
                  <a:lnTo>
                    <a:pt x="1384" y="366299"/>
                  </a:lnTo>
                  <a:close/>
                  <a:moveTo>
                    <a:pt x="72406" y="288176"/>
                  </a:moveTo>
                  <a:lnTo>
                    <a:pt x="73790" y="289555"/>
                  </a:lnTo>
                  <a:lnTo>
                    <a:pt x="73896" y="291823"/>
                  </a:lnTo>
                  <a:lnTo>
                    <a:pt x="73052" y="292828"/>
                  </a:lnTo>
                  <a:lnTo>
                    <a:pt x="70884" y="292852"/>
                  </a:lnTo>
                  <a:lnTo>
                    <a:pt x="68309" y="292314"/>
                  </a:lnTo>
                  <a:lnTo>
                    <a:pt x="66697" y="291172"/>
                  </a:lnTo>
                  <a:lnTo>
                    <a:pt x="66446" y="290164"/>
                  </a:lnTo>
                  <a:lnTo>
                    <a:pt x="69417" y="288910"/>
                  </a:lnTo>
                  <a:close/>
                  <a:moveTo>
                    <a:pt x="87688" y="276468"/>
                  </a:moveTo>
                  <a:lnTo>
                    <a:pt x="88672" y="277636"/>
                  </a:lnTo>
                  <a:lnTo>
                    <a:pt x="88798" y="279233"/>
                  </a:lnTo>
                  <a:lnTo>
                    <a:pt x="88172" y="280023"/>
                  </a:lnTo>
                  <a:lnTo>
                    <a:pt x="81190" y="281299"/>
                  </a:lnTo>
                  <a:lnTo>
                    <a:pt x="78655" y="281381"/>
                  </a:lnTo>
                  <a:lnTo>
                    <a:pt x="77129" y="280596"/>
                  </a:lnTo>
                  <a:lnTo>
                    <a:pt x="80758" y="279027"/>
                  </a:lnTo>
                  <a:lnTo>
                    <a:pt x="86455" y="277535"/>
                  </a:lnTo>
                  <a:lnTo>
                    <a:pt x="86997" y="276585"/>
                  </a:lnTo>
                  <a:close/>
                  <a:moveTo>
                    <a:pt x="137580" y="234750"/>
                  </a:moveTo>
                  <a:lnTo>
                    <a:pt x="140049" y="234842"/>
                  </a:lnTo>
                  <a:lnTo>
                    <a:pt x="142560" y="237291"/>
                  </a:lnTo>
                  <a:lnTo>
                    <a:pt x="142234" y="238798"/>
                  </a:lnTo>
                  <a:lnTo>
                    <a:pt x="141074" y="239795"/>
                  </a:lnTo>
                  <a:lnTo>
                    <a:pt x="138498" y="238994"/>
                  </a:lnTo>
                  <a:lnTo>
                    <a:pt x="133413" y="239613"/>
                  </a:lnTo>
                  <a:lnTo>
                    <a:pt x="131364" y="238638"/>
                  </a:lnTo>
                  <a:lnTo>
                    <a:pt x="132992" y="236741"/>
                  </a:lnTo>
                  <a:close/>
                  <a:moveTo>
                    <a:pt x="156473" y="208471"/>
                  </a:moveTo>
                  <a:lnTo>
                    <a:pt x="158617" y="208629"/>
                  </a:lnTo>
                  <a:lnTo>
                    <a:pt x="159300" y="209433"/>
                  </a:lnTo>
                  <a:lnTo>
                    <a:pt x="158520" y="211357"/>
                  </a:lnTo>
                  <a:lnTo>
                    <a:pt x="157058" y="212476"/>
                  </a:lnTo>
                  <a:lnTo>
                    <a:pt x="154327" y="212155"/>
                  </a:lnTo>
                  <a:lnTo>
                    <a:pt x="154035" y="211196"/>
                  </a:lnTo>
                  <a:lnTo>
                    <a:pt x="154815" y="209272"/>
                  </a:lnTo>
                  <a:close/>
                  <a:moveTo>
                    <a:pt x="175748" y="197328"/>
                  </a:moveTo>
                  <a:lnTo>
                    <a:pt x="176449" y="198048"/>
                  </a:lnTo>
                  <a:lnTo>
                    <a:pt x="175119" y="199065"/>
                  </a:lnTo>
                  <a:lnTo>
                    <a:pt x="170496" y="201327"/>
                  </a:lnTo>
                  <a:lnTo>
                    <a:pt x="168725" y="201432"/>
                  </a:lnTo>
                  <a:lnTo>
                    <a:pt x="168740" y="199939"/>
                  </a:lnTo>
                  <a:lnTo>
                    <a:pt x="169755" y="198582"/>
                  </a:lnTo>
                  <a:lnTo>
                    <a:pt x="171364" y="197674"/>
                  </a:lnTo>
                  <a:lnTo>
                    <a:pt x="173433" y="197432"/>
                  </a:lnTo>
                  <a:close/>
                  <a:moveTo>
                    <a:pt x="170891" y="190029"/>
                  </a:moveTo>
                  <a:lnTo>
                    <a:pt x="172956" y="191226"/>
                  </a:lnTo>
                  <a:lnTo>
                    <a:pt x="172996" y="193260"/>
                  </a:lnTo>
                  <a:lnTo>
                    <a:pt x="171973" y="195112"/>
                  </a:lnTo>
                  <a:lnTo>
                    <a:pt x="168514" y="196161"/>
                  </a:lnTo>
                  <a:lnTo>
                    <a:pt x="166467" y="196404"/>
                  </a:lnTo>
                  <a:lnTo>
                    <a:pt x="166808" y="194788"/>
                  </a:lnTo>
                  <a:lnTo>
                    <a:pt x="168464" y="193253"/>
                  </a:lnTo>
                  <a:lnTo>
                    <a:pt x="169099" y="192202"/>
                  </a:lnTo>
                  <a:lnTo>
                    <a:pt x="169429" y="190966"/>
                  </a:lnTo>
                  <a:close/>
                  <a:moveTo>
                    <a:pt x="182845" y="120497"/>
                  </a:moveTo>
                  <a:lnTo>
                    <a:pt x="184057" y="121330"/>
                  </a:lnTo>
                  <a:lnTo>
                    <a:pt x="183502" y="123106"/>
                  </a:lnTo>
                  <a:lnTo>
                    <a:pt x="183513" y="124862"/>
                  </a:lnTo>
                  <a:lnTo>
                    <a:pt x="182990" y="125692"/>
                  </a:lnTo>
                  <a:lnTo>
                    <a:pt x="180716" y="127984"/>
                  </a:lnTo>
                  <a:lnTo>
                    <a:pt x="177449" y="129987"/>
                  </a:lnTo>
                  <a:lnTo>
                    <a:pt x="178641" y="126329"/>
                  </a:lnTo>
                  <a:lnTo>
                    <a:pt x="180405" y="122620"/>
                  </a:lnTo>
                  <a:close/>
                  <a:moveTo>
                    <a:pt x="198678" y="112691"/>
                  </a:moveTo>
                  <a:lnTo>
                    <a:pt x="200641" y="113103"/>
                  </a:lnTo>
                  <a:lnTo>
                    <a:pt x="201956" y="113756"/>
                  </a:lnTo>
                  <a:lnTo>
                    <a:pt x="205392" y="113566"/>
                  </a:lnTo>
                  <a:lnTo>
                    <a:pt x="206080" y="113810"/>
                  </a:lnTo>
                  <a:lnTo>
                    <a:pt x="205592" y="114887"/>
                  </a:lnTo>
                  <a:lnTo>
                    <a:pt x="204100" y="116071"/>
                  </a:lnTo>
                  <a:lnTo>
                    <a:pt x="200969" y="116797"/>
                  </a:lnTo>
                  <a:lnTo>
                    <a:pt x="199561" y="118603"/>
                  </a:lnTo>
                  <a:lnTo>
                    <a:pt x="198553" y="119216"/>
                  </a:lnTo>
                  <a:lnTo>
                    <a:pt x="195849" y="119224"/>
                  </a:lnTo>
                  <a:lnTo>
                    <a:pt x="194254" y="119640"/>
                  </a:lnTo>
                  <a:lnTo>
                    <a:pt x="192291" y="121245"/>
                  </a:lnTo>
                  <a:lnTo>
                    <a:pt x="190721" y="120062"/>
                  </a:lnTo>
                  <a:lnTo>
                    <a:pt x="190283" y="120902"/>
                  </a:lnTo>
                  <a:lnTo>
                    <a:pt x="189997" y="122401"/>
                  </a:lnTo>
                  <a:lnTo>
                    <a:pt x="189125" y="122841"/>
                  </a:lnTo>
                  <a:lnTo>
                    <a:pt x="186413" y="123384"/>
                  </a:lnTo>
                  <a:lnTo>
                    <a:pt x="185752" y="119891"/>
                  </a:lnTo>
                  <a:lnTo>
                    <a:pt x="187000" y="118622"/>
                  </a:lnTo>
                  <a:lnTo>
                    <a:pt x="187978" y="117104"/>
                  </a:lnTo>
                  <a:lnTo>
                    <a:pt x="189477" y="116872"/>
                  </a:lnTo>
                  <a:lnTo>
                    <a:pt x="190820" y="116998"/>
                  </a:lnTo>
                  <a:lnTo>
                    <a:pt x="193237" y="113726"/>
                  </a:lnTo>
                  <a:lnTo>
                    <a:pt x="196547" y="112796"/>
                  </a:lnTo>
                  <a:close/>
                  <a:moveTo>
                    <a:pt x="227817" y="84536"/>
                  </a:moveTo>
                  <a:lnTo>
                    <a:pt x="228398" y="84693"/>
                  </a:lnTo>
                  <a:lnTo>
                    <a:pt x="229447" y="85561"/>
                  </a:lnTo>
                  <a:lnTo>
                    <a:pt x="230145" y="87049"/>
                  </a:lnTo>
                  <a:lnTo>
                    <a:pt x="233021" y="90942"/>
                  </a:lnTo>
                  <a:lnTo>
                    <a:pt x="234334" y="93213"/>
                  </a:lnTo>
                  <a:lnTo>
                    <a:pt x="233269" y="97497"/>
                  </a:lnTo>
                  <a:lnTo>
                    <a:pt x="230475" y="99655"/>
                  </a:lnTo>
                  <a:lnTo>
                    <a:pt x="226163" y="100039"/>
                  </a:lnTo>
                  <a:lnTo>
                    <a:pt x="223138" y="99860"/>
                  </a:lnTo>
                  <a:lnTo>
                    <a:pt x="221231" y="98822"/>
                  </a:lnTo>
                  <a:lnTo>
                    <a:pt x="220993" y="97657"/>
                  </a:lnTo>
                  <a:lnTo>
                    <a:pt x="219892" y="97313"/>
                  </a:lnTo>
                  <a:lnTo>
                    <a:pt x="216987" y="98809"/>
                  </a:lnTo>
                  <a:lnTo>
                    <a:pt x="214969" y="99011"/>
                  </a:lnTo>
                  <a:lnTo>
                    <a:pt x="212401" y="97851"/>
                  </a:lnTo>
                  <a:lnTo>
                    <a:pt x="211710" y="95995"/>
                  </a:lnTo>
                  <a:lnTo>
                    <a:pt x="214435" y="93665"/>
                  </a:lnTo>
                  <a:lnTo>
                    <a:pt x="215696" y="91852"/>
                  </a:lnTo>
                  <a:lnTo>
                    <a:pt x="218720" y="92012"/>
                  </a:lnTo>
                  <a:lnTo>
                    <a:pt x="219475" y="92576"/>
                  </a:lnTo>
                  <a:lnTo>
                    <a:pt x="221183" y="92928"/>
                  </a:lnTo>
                  <a:lnTo>
                    <a:pt x="222222" y="90744"/>
                  </a:lnTo>
                  <a:lnTo>
                    <a:pt x="221982" y="89232"/>
                  </a:lnTo>
                  <a:lnTo>
                    <a:pt x="222742" y="88181"/>
                  </a:lnTo>
                  <a:lnTo>
                    <a:pt x="226394" y="88938"/>
                  </a:lnTo>
                  <a:lnTo>
                    <a:pt x="226400" y="84826"/>
                  </a:lnTo>
                  <a:close/>
                  <a:moveTo>
                    <a:pt x="246910" y="73108"/>
                  </a:moveTo>
                  <a:lnTo>
                    <a:pt x="248739" y="73108"/>
                  </a:lnTo>
                  <a:lnTo>
                    <a:pt x="250540" y="74204"/>
                  </a:lnTo>
                  <a:lnTo>
                    <a:pt x="250216" y="76443"/>
                  </a:lnTo>
                  <a:lnTo>
                    <a:pt x="247515" y="80477"/>
                  </a:lnTo>
                  <a:lnTo>
                    <a:pt x="243513" y="83908"/>
                  </a:lnTo>
                  <a:lnTo>
                    <a:pt x="244001" y="86367"/>
                  </a:lnTo>
                  <a:lnTo>
                    <a:pt x="245595" y="88389"/>
                  </a:lnTo>
                  <a:lnTo>
                    <a:pt x="245986" y="91839"/>
                  </a:lnTo>
                  <a:lnTo>
                    <a:pt x="246083" y="95156"/>
                  </a:lnTo>
                  <a:lnTo>
                    <a:pt x="243049" y="99627"/>
                  </a:lnTo>
                  <a:lnTo>
                    <a:pt x="242378" y="101772"/>
                  </a:lnTo>
                  <a:lnTo>
                    <a:pt x="242643" y="102042"/>
                  </a:lnTo>
                  <a:lnTo>
                    <a:pt x="245656" y="98341"/>
                  </a:lnTo>
                  <a:lnTo>
                    <a:pt x="248994" y="97185"/>
                  </a:lnTo>
                  <a:lnTo>
                    <a:pt x="249201" y="95895"/>
                  </a:lnTo>
                  <a:lnTo>
                    <a:pt x="250495" y="94646"/>
                  </a:lnTo>
                  <a:lnTo>
                    <a:pt x="250348" y="92605"/>
                  </a:lnTo>
                  <a:lnTo>
                    <a:pt x="251006" y="90944"/>
                  </a:lnTo>
                  <a:lnTo>
                    <a:pt x="252708" y="90504"/>
                  </a:lnTo>
                  <a:lnTo>
                    <a:pt x="253771" y="89942"/>
                  </a:lnTo>
                  <a:lnTo>
                    <a:pt x="254950" y="89632"/>
                  </a:lnTo>
                  <a:lnTo>
                    <a:pt x="257079" y="90976"/>
                  </a:lnTo>
                  <a:lnTo>
                    <a:pt x="258284" y="92467"/>
                  </a:lnTo>
                  <a:lnTo>
                    <a:pt x="259780" y="95797"/>
                  </a:lnTo>
                  <a:lnTo>
                    <a:pt x="259158" y="99013"/>
                  </a:lnTo>
                  <a:lnTo>
                    <a:pt x="255150" y="101517"/>
                  </a:lnTo>
                  <a:lnTo>
                    <a:pt x="251965" y="102646"/>
                  </a:lnTo>
                  <a:lnTo>
                    <a:pt x="248748" y="105516"/>
                  </a:lnTo>
                  <a:lnTo>
                    <a:pt x="247131" y="107859"/>
                  </a:lnTo>
                  <a:lnTo>
                    <a:pt x="245742" y="108366"/>
                  </a:lnTo>
                  <a:lnTo>
                    <a:pt x="244863" y="108175"/>
                  </a:lnTo>
                  <a:lnTo>
                    <a:pt x="244082" y="107609"/>
                  </a:lnTo>
                  <a:lnTo>
                    <a:pt x="242451" y="107607"/>
                  </a:lnTo>
                  <a:lnTo>
                    <a:pt x="240657" y="109638"/>
                  </a:lnTo>
                  <a:lnTo>
                    <a:pt x="235239" y="111288"/>
                  </a:lnTo>
                  <a:lnTo>
                    <a:pt x="233114" y="110812"/>
                  </a:lnTo>
                  <a:lnTo>
                    <a:pt x="233017" y="108788"/>
                  </a:lnTo>
                  <a:lnTo>
                    <a:pt x="231749" y="108956"/>
                  </a:lnTo>
                  <a:lnTo>
                    <a:pt x="229719" y="111382"/>
                  </a:lnTo>
                  <a:lnTo>
                    <a:pt x="227733" y="112191"/>
                  </a:lnTo>
                  <a:lnTo>
                    <a:pt x="226398" y="112440"/>
                  </a:lnTo>
                  <a:lnTo>
                    <a:pt x="223947" y="111527"/>
                  </a:lnTo>
                  <a:lnTo>
                    <a:pt x="217359" y="115654"/>
                  </a:lnTo>
                  <a:lnTo>
                    <a:pt x="211181" y="116425"/>
                  </a:lnTo>
                  <a:lnTo>
                    <a:pt x="209147" y="115948"/>
                  </a:lnTo>
                  <a:lnTo>
                    <a:pt x="209140" y="113424"/>
                  </a:lnTo>
                  <a:lnTo>
                    <a:pt x="213133" y="110191"/>
                  </a:lnTo>
                  <a:lnTo>
                    <a:pt x="216407" y="107941"/>
                  </a:lnTo>
                  <a:lnTo>
                    <a:pt x="227672" y="106369"/>
                  </a:lnTo>
                  <a:lnTo>
                    <a:pt x="234688" y="99674"/>
                  </a:lnTo>
                  <a:lnTo>
                    <a:pt x="236383" y="92374"/>
                  </a:lnTo>
                  <a:lnTo>
                    <a:pt x="238042" y="89732"/>
                  </a:lnTo>
                  <a:lnTo>
                    <a:pt x="237262" y="88238"/>
                  </a:lnTo>
                  <a:lnTo>
                    <a:pt x="235375" y="87975"/>
                  </a:lnTo>
                  <a:lnTo>
                    <a:pt x="235260" y="85677"/>
                  </a:lnTo>
                  <a:lnTo>
                    <a:pt x="236245" y="83162"/>
                  </a:lnTo>
                  <a:lnTo>
                    <a:pt x="239927" y="79703"/>
                  </a:lnTo>
                  <a:lnTo>
                    <a:pt x="241972" y="78229"/>
                  </a:lnTo>
                  <a:lnTo>
                    <a:pt x="245304" y="74050"/>
                  </a:lnTo>
                  <a:close/>
                  <a:moveTo>
                    <a:pt x="280912" y="61606"/>
                  </a:moveTo>
                  <a:lnTo>
                    <a:pt x="283570" y="63847"/>
                  </a:lnTo>
                  <a:lnTo>
                    <a:pt x="284766" y="63162"/>
                  </a:lnTo>
                  <a:lnTo>
                    <a:pt x="287118" y="62907"/>
                  </a:lnTo>
                  <a:lnTo>
                    <a:pt x="288867" y="63693"/>
                  </a:lnTo>
                  <a:lnTo>
                    <a:pt x="290297" y="65116"/>
                  </a:lnTo>
                  <a:lnTo>
                    <a:pt x="291992" y="65181"/>
                  </a:lnTo>
                  <a:lnTo>
                    <a:pt x="293056" y="67038"/>
                  </a:lnTo>
                  <a:lnTo>
                    <a:pt x="293598" y="69452"/>
                  </a:lnTo>
                  <a:lnTo>
                    <a:pt x="292367" y="71253"/>
                  </a:lnTo>
                  <a:lnTo>
                    <a:pt x="290621" y="72068"/>
                  </a:lnTo>
                  <a:lnTo>
                    <a:pt x="290148" y="74189"/>
                  </a:lnTo>
                  <a:lnTo>
                    <a:pt x="290811" y="77154"/>
                  </a:lnTo>
                  <a:lnTo>
                    <a:pt x="286893" y="78170"/>
                  </a:lnTo>
                  <a:lnTo>
                    <a:pt x="282352" y="78622"/>
                  </a:lnTo>
                  <a:lnTo>
                    <a:pt x="280577" y="77205"/>
                  </a:lnTo>
                  <a:lnTo>
                    <a:pt x="276945" y="79802"/>
                  </a:lnTo>
                  <a:lnTo>
                    <a:pt x="273348" y="83842"/>
                  </a:lnTo>
                  <a:lnTo>
                    <a:pt x="271614" y="84317"/>
                  </a:lnTo>
                  <a:lnTo>
                    <a:pt x="271493" y="83039"/>
                  </a:lnTo>
                  <a:lnTo>
                    <a:pt x="268908" y="82156"/>
                  </a:lnTo>
                  <a:lnTo>
                    <a:pt x="265598" y="82105"/>
                  </a:lnTo>
                  <a:lnTo>
                    <a:pt x="265708" y="81158"/>
                  </a:lnTo>
                  <a:lnTo>
                    <a:pt x="266308" y="80489"/>
                  </a:lnTo>
                  <a:lnTo>
                    <a:pt x="269165" y="79496"/>
                  </a:lnTo>
                  <a:lnTo>
                    <a:pt x="269735" y="77447"/>
                  </a:lnTo>
                  <a:lnTo>
                    <a:pt x="269216" y="73784"/>
                  </a:lnTo>
                  <a:lnTo>
                    <a:pt x="269720" y="72004"/>
                  </a:lnTo>
                  <a:lnTo>
                    <a:pt x="269828" y="70773"/>
                  </a:lnTo>
                  <a:lnTo>
                    <a:pt x="271624" y="69332"/>
                  </a:lnTo>
                  <a:lnTo>
                    <a:pt x="277768" y="70009"/>
                  </a:lnTo>
                  <a:lnTo>
                    <a:pt x="278513" y="68633"/>
                  </a:lnTo>
                  <a:lnTo>
                    <a:pt x="278047" y="67767"/>
                  </a:lnTo>
                  <a:lnTo>
                    <a:pt x="274872" y="66249"/>
                  </a:lnTo>
                  <a:lnTo>
                    <a:pt x="275360" y="65227"/>
                  </a:lnTo>
                  <a:lnTo>
                    <a:pt x="277651" y="64313"/>
                  </a:lnTo>
                  <a:lnTo>
                    <a:pt x="279819" y="64195"/>
                  </a:lnTo>
                  <a:lnTo>
                    <a:pt x="280471" y="62647"/>
                  </a:lnTo>
                  <a:lnTo>
                    <a:pt x="280584" y="61973"/>
                  </a:lnTo>
                  <a:close/>
                  <a:moveTo>
                    <a:pt x="553617" y="49437"/>
                  </a:moveTo>
                  <a:lnTo>
                    <a:pt x="555344" y="49560"/>
                  </a:lnTo>
                  <a:lnTo>
                    <a:pt x="557091" y="50712"/>
                  </a:lnTo>
                  <a:lnTo>
                    <a:pt x="558466" y="52086"/>
                  </a:lnTo>
                  <a:lnTo>
                    <a:pt x="556277" y="53725"/>
                  </a:lnTo>
                  <a:lnTo>
                    <a:pt x="552077" y="54876"/>
                  </a:lnTo>
                  <a:lnTo>
                    <a:pt x="551591" y="53929"/>
                  </a:lnTo>
                  <a:lnTo>
                    <a:pt x="552513" y="52454"/>
                  </a:lnTo>
                  <a:close/>
                  <a:moveTo>
                    <a:pt x="350606" y="36555"/>
                  </a:moveTo>
                  <a:lnTo>
                    <a:pt x="353506" y="37006"/>
                  </a:lnTo>
                  <a:lnTo>
                    <a:pt x="354245" y="37564"/>
                  </a:lnTo>
                  <a:lnTo>
                    <a:pt x="353355" y="42154"/>
                  </a:lnTo>
                  <a:lnTo>
                    <a:pt x="352163" y="43074"/>
                  </a:lnTo>
                  <a:lnTo>
                    <a:pt x="350334" y="43450"/>
                  </a:lnTo>
                  <a:lnTo>
                    <a:pt x="349349" y="42879"/>
                  </a:lnTo>
                  <a:lnTo>
                    <a:pt x="347948" y="42504"/>
                  </a:lnTo>
                  <a:lnTo>
                    <a:pt x="346391" y="42676"/>
                  </a:lnTo>
                  <a:lnTo>
                    <a:pt x="345082" y="40989"/>
                  </a:lnTo>
                  <a:lnTo>
                    <a:pt x="345229" y="39572"/>
                  </a:lnTo>
                  <a:lnTo>
                    <a:pt x="347021" y="37649"/>
                  </a:lnTo>
                  <a:close/>
                  <a:moveTo>
                    <a:pt x="318716" y="35896"/>
                  </a:moveTo>
                  <a:lnTo>
                    <a:pt x="319528" y="38632"/>
                  </a:lnTo>
                  <a:lnTo>
                    <a:pt x="319653" y="43078"/>
                  </a:lnTo>
                  <a:lnTo>
                    <a:pt x="321614" y="45233"/>
                  </a:lnTo>
                  <a:lnTo>
                    <a:pt x="323350" y="45026"/>
                  </a:lnTo>
                  <a:lnTo>
                    <a:pt x="323873" y="44213"/>
                  </a:lnTo>
                  <a:lnTo>
                    <a:pt x="325058" y="43811"/>
                  </a:lnTo>
                  <a:lnTo>
                    <a:pt x="327453" y="44949"/>
                  </a:lnTo>
                  <a:lnTo>
                    <a:pt x="327110" y="46885"/>
                  </a:lnTo>
                  <a:lnTo>
                    <a:pt x="323795" y="49325"/>
                  </a:lnTo>
                  <a:lnTo>
                    <a:pt x="321416" y="52800"/>
                  </a:lnTo>
                  <a:lnTo>
                    <a:pt x="318371" y="53606"/>
                  </a:lnTo>
                  <a:lnTo>
                    <a:pt x="316907" y="53187"/>
                  </a:lnTo>
                  <a:lnTo>
                    <a:pt x="314186" y="55190"/>
                  </a:lnTo>
                  <a:lnTo>
                    <a:pt x="312005" y="57269"/>
                  </a:lnTo>
                  <a:lnTo>
                    <a:pt x="309744" y="59895"/>
                  </a:lnTo>
                  <a:lnTo>
                    <a:pt x="309606" y="61247"/>
                  </a:lnTo>
                  <a:lnTo>
                    <a:pt x="309254" y="62281"/>
                  </a:lnTo>
                  <a:lnTo>
                    <a:pt x="300973" y="63307"/>
                  </a:lnTo>
                  <a:lnTo>
                    <a:pt x="297962" y="63986"/>
                  </a:lnTo>
                  <a:lnTo>
                    <a:pt x="294773" y="63110"/>
                  </a:lnTo>
                  <a:lnTo>
                    <a:pt x="293262" y="61376"/>
                  </a:lnTo>
                  <a:lnTo>
                    <a:pt x="293747" y="60433"/>
                  </a:lnTo>
                  <a:lnTo>
                    <a:pt x="296930" y="60056"/>
                  </a:lnTo>
                  <a:lnTo>
                    <a:pt x="297032" y="58445"/>
                  </a:lnTo>
                  <a:lnTo>
                    <a:pt x="297837" y="57461"/>
                  </a:lnTo>
                  <a:lnTo>
                    <a:pt x="298867" y="56924"/>
                  </a:lnTo>
                  <a:lnTo>
                    <a:pt x="299625" y="54863"/>
                  </a:lnTo>
                  <a:lnTo>
                    <a:pt x="300884" y="54325"/>
                  </a:lnTo>
                  <a:lnTo>
                    <a:pt x="303231" y="54832"/>
                  </a:lnTo>
                  <a:lnTo>
                    <a:pt x="304814" y="53338"/>
                  </a:lnTo>
                  <a:lnTo>
                    <a:pt x="305706" y="53085"/>
                  </a:lnTo>
                  <a:lnTo>
                    <a:pt x="306805" y="54321"/>
                  </a:lnTo>
                  <a:lnTo>
                    <a:pt x="307334" y="52619"/>
                  </a:lnTo>
                  <a:lnTo>
                    <a:pt x="306805" y="51064"/>
                  </a:lnTo>
                  <a:lnTo>
                    <a:pt x="307082" y="50015"/>
                  </a:lnTo>
                  <a:lnTo>
                    <a:pt x="310117" y="47283"/>
                  </a:lnTo>
                  <a:lnTo>
                    <a:pt x="311431" y="45289"/>
                  </a:lnTo>
                  <a:lnTo>
                    <a:pt x="313320" y="44004"/>
                  </a:lnTo>
                  <a:lnTo>
                    <a:pt x="315140" y="44209"/>
                  </a:lnTo>
                  <a:lnTo>
                    <a:pt x="315669" y="42315"/>
                  </a:lnTo>
                  <a:lnTo>
                    <a:pt x="315140" y="40373"/>
                  </a:lnTo>
                  <a:lnTo>
                    <a:pt x="315341" y="39107"/>
                  </a:lnTo>
                  <a:lnTo>
                    <a:pt x="316948" y="36027"/>
                  </a:lnTo>
                  <a:close/>
                  <a:moveTo>
                    <a:pt x="329133" y="34857"/>
                  </a:moveTo>
                  <a:lnTo>
                    <a:pt x="330984" y="37118"/>
                  </a:lnTo>
                  <a:lnTo>
                    <a:pt x="332109" y="37583"/>
                  </a:lnTo>
                  <a:lnTo>
                    <a:pt x="333221" y="37294"/>
                  </a:lnTo>
                  <a:lnTo>
                    <a:pt x="334145" y="37705"/>
                  </a:lnTo>
                  <a:lnTo>
                    <a:pt x="335996" y="39794"/>
                  </a:lnTo>
                  <a:lnTo>
                    <a:pt x="337989" y="40615"/>
                  </a:lnTo>
                  <a:lnTo>
                    <a:pt x="338082" y="41666"/>
                  </a:lnTo>
                  <a:lnTo>
                    <a:pt x="336257" y="42690"/>
                  </a:lnTo>
                  <a:lnTo>
                    <a:pt x="333854" y="42997"/>
                  </a:lnTo>
                  <a:lnTo>
                    <a:pt x="331280" y="42641"/>
                  </a:lnTo>
                  <a:lnTo>
                    <a:pt x="330524" y="41332"/>
                  </a:lnTo>
                  <a:lnTo>
                    <a:pt x="329731" y="39157"/>
                  </a:lnTo>
                  <a:lnTo>
                    <a:pt x="327578" y="37023"/>
                  </a:lnTo>
                  <a:lnTo>
                    <a:pt x="327259" y="35152"/>
                  </a:lnTo>
                  <a:close/>
                  <a:moveTo>
                    <a:pt x="414550" y="21147"/>
                  </a:moveTo>
                  <a:lnTo>
                    <a:pt x="415263" y="22086"/>
                  </a:lnTo>
                  <a:lnTo>
                    <a:pt x="416068" y="23860"/>
                  </a:lnTo>
                  <a:lnTo>
                    <a:pt x="416480" y="25730"/>
                  </a:lnTo>
                  <a:lnTo>
                    <a:pt x="416636" y="27271"/>
                  </a:lnTo>
                  <a:lnTo>
                    <a:pt x="414573" y="29498"/>
                  </a:lnTo>
                  <a:lnTo>
                    <a:pt x="409821" y="32415"/>
                  </a:lnTo>
                  <a:lnTo>
                    <a:pt x="410093" y="33198"/>
                  </a:lnTo>
                  <a:lnTo>
                    <a:pt x="408448" y="33946"/>
                  </a:lnTo>
                  <a:lnTo>
                    <a:pt x="405981" y="34498"/>
                  </a:lnTo>
                  <a:lnTo>
                    <a:pt x="404679" y="33962"/>
                  </a:lnTo>
                  <a:lnTo>
                    <a:pt x="404859" y="31463"/>
                  </a:lnTo>
                  <a:lnTo>
                    <a:pt x="404466" y="30714"/>
                  </a:lnTo>
                  <a:lnTo>
                    <a:pt x="402593" y="31705"/>
                  </a:lnTo>
                  <a:lnTo>
                    <a:pt x="400646" y="30434"/>
                  </a:lnTo>
                  <a:lnTo>
                    <a:pt x="400643" y="29155"/>
                  </a:lnTo>
                  <a:lnTo>
                    <a:pt x="401157" y="28044"/>
                  </a:lnTo>
                  <a:lnTo>
                    <a:pt x="402958" y="26354"/>
                  </a:lnTo>
                  <a:lnTo>
                    <a:pt x="405964" y="25189"/>
                  </a:lnTo>
                  <a:lnTo>
                    <a:pt x="407946" y="25626"/>
                  </a:lnTo>
                  <a:close/>
                  <a:moveTo>
                    <a:pt x="419674" y="15922"/>
                  </a:moveTo>
                  <a:lnTo>
                    <a:pt x="420959" y="16643"/>
                  </a:lnTo>
                  <a:lnTo>
                    <a:pt x="421302" y="17247"/>
                  </a:lnTo>
                  <a:lnTo>
                    <a:pt x="423611" y="17839"/>
                  </a:lnTo>
                  <a:lnTo>
                    <a:pt x="426305" y="19805"/>
                  </a:lnTo>
                  <a:lnTo>
                    <a:pt x="424962" y="23137"/>
                  </a:lnTo>
                  <a:lnTo>
                    <a:pt x="420751" y="24733"/>
                  </a:lnTo>
                  <a:lnTo>
                    <a:pt x="418307" y="23358"/>
                  </a:lnTo>
                  <a:lnTo>
                    <a:pt x="417279" y="21949"/>
                  </a:lnTo>
                  <a:lnTo>
                    <a:pt x="417128" y="18816"/>
                  </a:lnTo>
                  <a:lnTo>
                    <a:pt x="417700" y="16908"/>
                  </a:lnTo>
                  <a:close/>
                  <a:moveTo>
                    <a:pt x="411209" y="12093"/>
                  </a:moveTo>
                  <a:lnTo>
                    <a:pt x="412202" y="13172"/>
                  </a:lnTo>
                  <a:lnTo>
                    <a:pt x="411769" y="14432"/>
                  </a:lnTo>
                  <a:lnTo>
                    <a:pt x="411021" y="15659"/>
                  </a:lnTo>
                  <a:lnTo>
                    <a:pt x="409209" y="16953"/>
                  </a:lnTo>
                  <a:lnTo>
                    <a:pt x="403969" y="22068"/>
                  </a:lnTo>
                  <a:lnTo>
                    <a:pt x="400889" y="22891"/>
                  </a:lnTo>
                  <a:lnTo>
                    <a:pt x="399914" y="23692"/>
                  </a:lnTo>
                  <a:lnTo>
                    <a:pt x="398683" y="24170"/>
                  </a:lnTo>
                  <a:lnTo>
                    <a:pt x="394856" y="23471"/>
                  </a:lnTo>
                  <a:lnTo>
                    <a:pt x="393736" y="24506"/>
                  </a:lnTo>
                  <a:lnTo>
                    <a:pt x="392678" y="25197"/>
                  </a:lnTo>
                  <a:lnTo>
                    <a:pt x="389907" y="25465"/>
                  </a:lnTo>
                  <a:lnTo>
                    <a:pt x="388281" y="25240"/>
                  </a:lnTo>
                  <a:lnTo>
                    <a:pt x="384081" y="23348"/>
                  </a:lnTo>
                  <a:lnTo>
                    <a:pt x="381582" y="21298"/>
                  </a:lnTo>
                  <a:lnTo>
                    <a:pt x="380229" y="19542"/>
                  </a:lnTo>
                  <a:lnTo>
                    <a:pt x="384109" y="19576"/>
                  </a:lnTo>
                  <a:lnTo>
                    <a:pt x="385493" y="19151"/>
                  </a:lnTo>
                  <a:lnTo>
                    <a:pt x="388095" y="19521"/>
                  </a:lnTo>
                  <a:lnTo>
                    <a:pt x="389658" y="17719"/>
                  </a:lnTo>
                  <a:lnTo>
                    <a:pt x="392969" y="17937"/>
                  </a:lnTo>
                  <a:lnTo>
                    <a:pt x="399324" y="16682"/>
                  </a:lnTo>
                  <a:lnTo>
                    <a:pt x="401656" y="17382"/>
                  </a:lnTo>
                  <a:lnTo>
                    <a:pt x="406988" y="13184"/>
                  </a:lnTo>
                  <a:lnTo>
                    <a:pt x="408657" y="13294"/>
                  </a:lnTo>
                  <a:close/>
                  <a:moveTo>
                    <a:pt x="504113" y="2056"/>
                  </a:moveTo>
                  <a:lnTo>
                    <a:pt x="507129" y="2479"/>
                  </a:lnTo>
                  <a:lnTo>
                    <a:pt x="508932" y="3348"/>
                  </a:lnTo>
                  <a:lnTo>
                    <a:pt x="516155" y="4009"/>
                  </a:lnTo>
                  <a:lnTo>
                    <a:pt x="521696" y="6744"/>
                  </a:lnTo>
                  <a:lnTo>
                    <a:pt x="521485" y="11012"/>
                  </a:lnTo>
                  <a:lnTo>
                    <a:pt x="520250" y="12793"/>
                  </a:lnTo>
                  <a:lnTo>
                    <a:pt x="519034" y="13889"/>
                  </a:lnTo>
                  <a:lnTo>
                    <a:pt x="511938" y="17118"/>
                  </a:lnTo>
                  <a:lnTo>
                    <a:pt x="510768" y="18708"/>
                  </a:lnTo>
                  <a:lnTo>
                    <a:pt x="512996" y="19257"/>
                  </a:lnTo>
                  <a:lnTo>
                    <a:pt x="517790" y="17649"/>
                  </a:lnTo>
                  <a:lnTo>
                    <a:pt x="519032" y="19108"/>
                  </a:lnTo>
                  <a:lnTo>
                    <a:pt x="517505" y="22756"/>
                  </a:lnTo>
                  <a:lnTo>
                    <a:pt x="517246" y="28220"/>
                  </a:lnTo>
                  <a:lnTo>
                    <a:pt x="516693" y="31401"/>
                  </a:lnTo>
                  <a:lnTo>
                    <a:pt x="516693" y="34298"/>
                  </a:lnTo>
                  <a:lnTo>
                    <a:pt x="517289" y="35851"/>
                  </a:lnTo>
                  <a:lnTo>
                    <a:pt x="519215" y="29687"/>
                  </a:lnTo>
                  <a:lnTo>
                    <a:pt x="519874" y="28105"/>
                  </a:lnTo>
                  <a:lnTo>
                    <a:pt x="522692" y="25777"/>
                  </a:lnTo>
                  <a:lnTo>
                    <a:pt x="523741" y="21079"/>
                  </a:lnTo>
                  <a:lnTo>
                    <a:pt x="526497" y="15427"/>
                  </a:lnTo>
                  <a:lnTo>
                    <a:pt x="529602" y="12136"/>
                  </a:lnTo>
                  <a:lnTo>
                    <a:pt x="531409" y="11232"/>
                  </a:lnTo>
                  <a:lnTo>
                    <a:pt x="537397" y="11362"/>
                  </a:lnTo>
                  <a:lnTo>
                    <a:pt x="539967" y="12602"/>
                  </a:lnTo>
                  <a:lnTo>
                    <a:pt x="542234" y="15355"/>
                  </a:lnTo>
                  <a:lnTo>
                    <a:pt x="543927" y="16453"/>
                  </a:lnTo>
                  <a:lnTo>
                    <a:pt x="549265" y="17621"/>
                  </a:lnTo>
                  <a:lnTo>
                    <a:pt x="551098" y="19084"/>
                  </a:lnTo>
                  <a:lnTo>
                    <a:pt x="551442" y="19955"/>
                  </a:lnTo>
                  <a:lnTo>
                    <a:pt x="552746" y="20128"/>
                  </a:lnTo>
                  <a:lnTo>
                    <a:pt x="556348" y="18048"/>
                  </a:lnTo>
                  <a:lnTo>
                    <a:pt x="558687" y="17703"/>
                  </a:lnTo>
                  <a:lnTo>
                    <a:pt x="562502" y="20944"/>
                  </a:lnTo>
                  <a:lnTo>
                    <a:pt x="561736" y="23340"/>
                  </a:lnTo>
                  <a:lnTo>
                    <a:pt x="561960" y="24100"/>
                  </a:lnTo>
                  <a:lnTo>
                    <a:pt x="566579" y="23946"/>
                  </a:lnTo>
                  <a:lnTo>
                    <a:pt x="570423" y="24885"/>
                  </a:lnTo>
                  <a:lnTo>
                    <a:pt x="577730" y="29778"/>
                  </a:lnTo>
                  <a:lnTo>
                    <a:pt x="578488" y="32061"/>
                  </a:lnTo>
                  <a:lnTo>
                    <a:pt x="578123" y="34824"/>
                  </a:lnTo>
                  <a:lnTo>
                    <a:pt x="567616" y="37866"/>
                  </a:lnTo>
                  <a:lnTo>
                    <a:pt x="563062" y="40768"/>
                  </a:lnTo>
                  <a:lnTo>
                    <a:pt x="555608" y="41887"/>
                  </a:lnTo>
                  <a:lnTo>
                    <a:pt x="530295" y="39947"/>
                  </a:lnTo>
                  <a:lnTo>
                    <a:pt x="530807" y="42044"/>
                  </a:lnTo>
                  <a:lnTo>
                    <a:pt x="548432" y="46625"/>
                  </a:lnTo>
                  <a:lnTo>
                    <a:pt x="549438" y="47931"/>
                  </a:lnTo>
                  <a:lnTo>
                    <a:pt x="548874" y="50679"/>
                  </a:lnTo>
                  <a:lnTo>
                    <a:pt x="548866" y="52881"/>
                  </a:lnTo>
                  <a:lnTo>
                    <a:pt x="549196" y="54381"/>
                  </a:lnTo>
                  <a:lnTo>
                    <a:pt x="550494" y="55779"/>
                  </a:lnTo>
                  <a:lnTo>
                    <a:pt x="552649" y="56436"/>
                  </a:lnTo>
                  <a:lnTo>
                    <a:pt x="557033" y="56090"/>
                  </a:lnTo>
                  <a:lnTo>
                    <a:pt x="559198" y="56841"/>
                  </a:lnTo>
                  <a:lnTo>
                    <a:pt x="560678" y="55726"/>
                  </a:lnTo>
                  <a:lnTo>
                    <a:pt x="561228" y="51977"/>
                  </a:lnTo>
                  <a:lnTo>
                    <a:pt x="562500" y="51147"/>
                  </a:lnTo>
                  <a:lnTo>
                    <a:pt x="564960" y="52236"/>
                  </a:lnTo>
                  <a:lnTo>
                    <a:pt x="566031" y="56242"/>
                  </a:lnTo>
                  <a:lnTo>
                    <a:pt x="566717" y="56657"/>
                  </a:lnTo>
                  <a:lnTo>
                    <a:pt x="567957" y="53800"/>
                  </a:lnTo>
                  <a:lnTo>
                    <a:pt x="570393" y="54006"/>
                  </a:lnTo>
                  <a:lnTo>
                    <a:pt x="573044" y="53768"/>
                  </a:lnTo>
                  <a:lnTo>
                    <a:pt x="576478" y="54250"/>
                  </a:lnTo>
                  <a:lnTo>
                    <a:pt x="577681" y="59427"/>
                  </a:lnTo>
                  <a:lnTo>
                    <a:pt x="577644" y="61230"/>
                  </a:lnTo>
                  <a:lnTo>
                    <a:pt x="577074" y="62978"/>
                  </a:lnTo>
                  <a:lnTo>
                    <a:pt x="576279" y="63871"/>
                  </a:lnTo>
                  <a:lnTo>
                    <a:pt x="574690" y="64260"/>
                  </a:lnTo>
                  <a:lnTo>
                    <a:pt x="570855" y="64101"/>
                  </a:lnTo>
                  <a:lnTo>
                    <a:pt x="565642" y="62058"/>
                  </a:lnTo>
                  <a:lnTo>
                    <a:pt x="562278" y="60133"/>
                  </a:lnTo>
                  <a:lnTo>
                    <a:pt x="561230" y="60052"/>
                  </a:lnTo>
                  <a:lnTo>
                    <a:pt x="560779" y="60286"/>
                  </a:lnTo>
                  <a:lnTo>
                    <a:pt x="561591" y="62220"/>
                  </a:lnTo>
                  <a:lnTo>
                    <a:pt x="561375" y="63701"/>
                  </a:lnTo>
                  <a:lnTo>
                    <a:pt x="560868" y="65313"/>
                  </a:lnTo>
                  <a:lnTo>
                    <a:pt x="560162" y="66774"/>
                  </a:lnTo>
                  <a:lnTo>
                    <a:pt x="559177" y="68002"/>
                  </a:lnTo>
                  <a:lnTo>
                    <a:pt x="557115" y="69580"/>
                  </a:lnTo>
                  <a:lnTo>
                    <a:pt x="553547" y="70830"/>
                  </a:lnTo>
                  <a:lnTo>
                    <a:pt x="543720" y="73260"/>
                  </a:lnTo>
                  <a:lnTo>
                    <a:pt x="542940" y="74333"/>
                  </a:lnTo>
                  <a:lnTo>
                    <a:pt x="539777" y="81084"/>
                  </a:lnTo>
                  <a:lnTo>
                    <a:pt x="538913" y="82073"/>
                  </a:lnTo>
                  <a:lnTo>
                    <a:pt x="537756" y="82910"/>
                  </a:lnTo>
                  <a:lnTo>
                    <a:pt x="534379" y="83995"/>
                  </a:lnTo>
                  <a:lnTo>
                    <a:pt x="532744" y="82497"/>
                  </a:lnTo>
                  <a:lnTo>
                    <a:pt x="531433" y="80230"/>
                  </a:lnTo>
                  <a:lnTo>
                    <a:pt x="531735" y="77980"/>
                  </a:lnTo>
                  <a:lnTo>
                    <a:pt x="535685" y="73656"/>
                  </a:lnTo>
                  <a:lnTo>
                    <a:pt x="539375" y="70586"/>
                  </a:lnTo>
                  <a:lnTo>
                    <a:pt x="540416" y="69522"/>
                  </a:lnTo>
                  <a:lnTo>
                    <a:pt x="542506" y="66432"/>
                  </a:lnTo>
                  <a:lnTo>
                    <a:pt x="538265" y="58655"/>
                  </a:lnTo>
                  <a:lnTo>
                    <a:pt x="530720" y="56294"/>
                  </a:lnTo>
                  <a:lnTo>
                    <a:pt x="522126" y="52702"/>
                  </a:lnTo>
                  <a:lnTo>
                    <a:pt x="518973" y="50783"/>
                  </a:lnTo>
                  <a:lnTo>
                    <a:pt x="514067" y="46826"/>
                  </a:lnTo>
                  <a:lnTo>
                    <a:pt x="510589" y="43266"/>
                  </a:lnTo>
                  <a:lnTo>
                    <a:pt x="507447" y="43140"/>
                  </a:lnTo>
                  <a:lnTo>
                    <a:pt x="503994" y="44035"/>
                  </a:lnTo>
                  <a:lnTo>
                    <a:pt x="498606" y="47285"/>
                  </a:lnTo>
                  <a:lnTo>
                    <a:pt x="495458" y="48918"/>
                  </a:lnTo>
                  <a:lnTo>
                    <a:pt x="493730" y="49400"/>
                  </a:lnTo>
                  <a:lnTo>
                    <a:pt x="493313" y="49471"/>
                  </a:lnTo>
                  <a:lnTo>
                    <a:pt x="489457" y="48546"/>
                  </a:lnTo>
                  <a:lnTo>
                    <a:pt x="485166" y="48351"/>
                  </a:lnTo>
                  <a:lnTo>
                    <a:pt x="481717" y="48617"/>
                  </a:lnTo>
                  <a:lnTo>
                    <a:pt x="480415" y="49063"/>
                  </a:lnTo>
                  <a:lnTo>
                    <a:pt x="475613" y="54309"/>
                  </a:lnTo>
                  <a:lnTo>
                    <a:pt x="472251" y="56954"/>
                  </a:lnTo>
                  <a:lnTo>
                    <a:pt x="470400" y="57864"/>
                  </a:lnTo>
                  <a:lnTo>
                    <a:pt x="469053" y="59393"/>
                  </a:lnTo>
                  <a:lnTo>
                    <a:pt x="467947" y="61904"/>
                  </a:lnTo>
                  <a:lnTo>
                    <a:pt x="465486" y="70594"/>
                  </a:lnTo>
                  <a:lnTo>
                    <a:pt x="463650" y="73863"/>
                  </a:lnTo>
                  <a:lnTo>
                    <a:pt x="463240" y="75858"/>
                  </a:lnTo>
                  <a:lnTo>
                    <a:pt x="463672" y="81895"/>
                  </a:lnTo>
                  <a:lnTo>
                    <a:pt x="463233" y="85229"/>
                  </a:lnTo>
                  <a:lnTo>
                    <a:pt x="460985" y="87977"/>
                  </a:lnTo>
                  <a:lnTo>
                    <a:pt x="459407" y="89213"/>
                  </a:lnTo>
                  <a:lnTo>
                    <a:pt x="457319" y="89467"/>
                  </a:lnTo>
                  <a:lnTo>
                    <a:pt x="454583" y="90168"/>
                  </a:lnTo>
                  <a:lnTo>
                    <a:pt x="452194" y="91756"/>
                  </a:lnTo>
                  <a:lnTo>
                    <a:pt x="450508" y="93919"/>
                  </a:lnTo>
                  <a:lnTo>
                    <a:pt x="448607" y="98760"/>
                  </a:lnTo>
                  <a:lnTo>
                    <a:pt x="445390" y="100541"/>
                  </a:lnTo>
                  <a:lnTo>
                    <a:pt x="442317" y="100033"/>
                  </a:lnTo>
                  <a:lnTo>
                    <a:pt x="440123" y="98251"/>
                  </a:lnTo>
                  <a:lnTo>
                    <a:pt x="435420" y="96871"/>
                  </a:lnTo>
                  <a:lnTo>
                    <a:pt x="431915" y="95991"/>
                  </a:lnTo>
                  <a:lnTo>
                    <a:pt x="427981" y="94089"/>
                  </a:lnTo>
                  <a:lnTo>
                    <a:pt x="424516" y="92640"/>
                  </a:lnTo>
                  <a:lnTo>
                    <a:pt x="421345" y="92352"/>
                  </a:lnTo>
                  <a:lnTo>
                    <a:pt x="419545" y="94184"/>
                  </a:lnTo>
                  <a:lnTo>
                    <a:pt x="418095" y="95901"/>
                  </a:lnTo>
                  <a:lnTo>
                    <a:pt x="412688" y="97296"/>
                  </a:lnTo>
                  <a:lnTo>
                    <a:pt x="409627" y="98399"/>
                  </a:lnTo>
                  <a:lnTo>
                    <a:pt x="405653" y="98645"/>
                  </a:lnTo>
                  <a:lnTo>
                    <a:pt x="404047" y="97422"/>
                  </a:lnTo>
                  <a:lnTo>
                    <a:pt x="398283" y="96615"/>
                  </a:lnTo>
                  <a:lnTo>
                    <a:pt x="391421" y="95656"/>
                  </a:lnTo>
                  <a:lnTo>
                    <a:pt x="389436" y="95670"/>
                  </a:lnTo>
                  <a:lnTo>
                    <a:pt x="388817" y="93482"/>
                  </a:lnTo>
                  <a:lnTo>
                    <a:pt x="386992" y="90423"/>
                  </a:lnTo>
                  <a:lnTo>
                    <a:pt x="382112" y="85126"/>
                  </a:lnTo>
                  <a:lnTo>
                    <a:pt x="380116" y="83253"/>
                  </a:lnTo>
                  <a:lnTo>
                    <a:pt x="376363" y="78851"/>
                  </a:lnTo>
                  <a:lnTo>
                    <a:pt x="371986" y="74329"/>
                  </a:lnTo>
                  <a:lnTo>
                    <a:pt x="371366" y="74217"/>
                  </a:lnTo>
                  <a:lnTo>
                    <a:pt x="368436" y="74065"/>
                  </a:lnTo>
                  <a:lnTo>
                    <a:pt x="364137" y="74214"/>
                  </a:lnTo>
                  <a:lnTo>
                    <a:pt x="361416" y="75242"/>
                  </a:lnTo>
                  <a:lnTo>
                    <a:pt x="359699" y="76533"/>
                  </a:lnTo>
                  <a:lnTo>
                    <a:pt x="359401" y="77604"/>
                  </a:lnTo>
                  <a:lnTo>
                    <a:pt x="361064" y="81713"/>
                  </a:lnTo>
                  <a:lnTo>
                    <a:pt x="360548" y="82736"/>
                  </a:lnTo>
                  <a:lnTo>
                    <a:pt x="359691" y="83228"/>
                  </a:lnTo>
                  <a:lnTo>
                    <a:pt x="355789" y="82077"/>
                  </a:lnTo>
                  <a:lnTo>
                    <a:pt x="351070" y="82153"/>
                  </a:lnTo>
                  <a:lnTo>
                    <a:pt x="349882" y="83418"/>
                  </a:lnTo>
                  <a:lnTo>
                    <a:pt x="347004" y="83556"/>
                  </a:lnTo>
                  <a:lnTo>
                    <a:pt x="338706" y="84037"/>
                  </a:lnTo>
                  <a:lnTo>
                    <a:pt x="342368" y="87389"/>
                  </a:lnTo>
                  <a:lnTo>
                    <a:pt x="343579" y="88730"/>
                  </a:lnTo>
                  <a:lnTo>
                    <a:pt x="343821" y="90698"/>
                  </a:lnTo>
                  <a:lnTo>
                    <a:pt x="343189" y="94352"/>
                  </a:lnTo>
                  <a:lnTo>
                    <a:pt x="341433" y="97469"/>
                  </a:lnTo>
                  <a:lnTo>
                    <a:pt x="339386" y="100001"/>
                  </a:lnTo>
                  <a:lnTo>
                    <a:pt x="335436" y="102509"/>
                  </a:lnTo>
                  <a:lnTo>
                    <a:pt x="341433" y="104984"/>
                  </a:lnTo>
                  <a:lnTo>
                    <a:pt x="337363" y="108323"/>
                  </a:lnTo>
                  <a:lnTo>
                    <a:pt x="335458" y="109623"/>
                  </a:lnTo>
                  <a:lnTo>
                    <a:pt x="333251" y="109399"/>
                  </a:lnTo>
                  <a:lnTo>
                    <a:pt x="329297" y="108244"/>
                  </a:lnTo>
                  <a:lnTo>
                    <a:pt x="319740" y="105452"/>
                  </a:lnTo>
                  <a:lnTo>
                    <a:pt x="315177" y="104401"/>
                  </a:lnTo>
                  <a:lnTo>
                    <a:pt x="311100" y="104079"/>
                  </a:lnTo>
                  <a:lnTo>
                    <a:pt x="308923" y="104120"/>
                  </a:lnTo>
                  <a:lnTo>
                    <a:pt x="300273" y="101727"/>
                  </a:lnTo>
                  <a:lnTo>
                    <a:pt x="298602" y="101995"/>
                  </a:lnTo>
                  <a:lnTo>
                    <a:pt x="295496" y="103032"/>
                  </a:lnTo>
                  <a:lnTo>
                    <a:pt x="295153" y="105358"/>
                  </a:lnTo>
                  <a:lnTo>
                    <a:pt x="295349" y="111135"/>
                  </a:lnTo>
                  <a:lnTo>
                    <a:pt x="295807" y="115572"/>
                  </a:lnTo>
                  <a:lnTo>
                    <a:pt x="294665" y="118133"/>
                  </a:lnTo>
                  <a:lnTo>
                    <a:pt x="293520" y="119869"/>
                  </a:lnTo>
                  <a:lnTo>
                    <a:pt x="290059" y="124542"/>
                  </a:lnTo>
                  <a:lnTo>
                    <a:pt x="282277" y="121367"/>
                  </a:lnTo>
                  <a:lnTo>
                    <a:pt x="276967" y="119261"/>
                  </a:lnTo>
                  <a:lnTo>
                    <a:pt x="273559" y="122064"/>
                  </a:lnTo>
                  <a:lnTo>
                    <a:pt x="265004" y="127192"/>
                  </a:lnTo>
                  <a:lnTo>
                    <a:pt x="260624" y="137276"/>
                  </a:lnTo>
                  <a:lnTo>
                    <a:pt x="260372" y="137605"/>
                  </a:lnTo>
                  <a:lnTo>
                    <a:pt x="257785" y="140161"/>
                  </a:lnTo>
                  <a:lnTo>
                    <a:pt x="254468" y="141334"/>
                  </a:lnTo>
                  <a:lnTo>
                    <a:pt x="251957" y="141914"/>
                  </a:lnTo>
                  <a:lnTo>
                    <a:pt x="250495" y="144897"/>
                  </a:lnTo>
                  <a:lnTo>
                    <a:pt x="253902" y="149167"/>
                  </a:lnTo>
                  <a:lnTo>
                    <a:pt x="255651" y="151417"/>
                  </a:lnTo>
                  <a:lnTo>
                    <a:pt x="257280" y="155042"/>
                  </a:lnTo>
                  <a:lnTo>
                    <a:pt x="256979" y="157347"/>
                  </a:lnTo>
                  <a:lnTo>
                    <a:pt x="256599" y="158780"/>
                  </a:lnTo>
                  <a:lnTo>
                    <a:pt x="252933" y="161708"/>
                  </a:lnTo>
                  <a:lnTo>
                    <a:pt x="245116" y="169424"/>
                  </a:lnTo>
                  <a:lnTo>
                    <a:pt x="237882" y="177449"/>
                  </a:lnTo>
                  <a:lnTo>
                    <a:pt x="234917" y="179747"/>
                  </a:lnTo>
                  <a:lnTo>
                    <a:pt x="236262" y="186523"/>
                  </a:lnTo>
                  <a:lnTo>
                    <a:pt x="233855" y="188504"/>
                  </a:lnTo>
                  <a:lnTo>
                    <a:pt x="228955" y="190744"/>
                  </a:lnTo>
                  <a:lnTo>
                    <a:pt x="226450" y="191608"/>
                  </a:lnTo>
                  <a:lnTo>
                    <a:pt x="223751" y="192114"/>
                  </a:lnTo>
                  <a:lnTo>
                    <a:pt x="215465" y="193008"/>
                  </a:lnTo>
                  <a:lnTo>
                    <a:pt x="216940" y="200220"/>
                  </a:lnTo>
                  <a:lnTo>
                    <a:pt x="217497" y="203404"/>
                  </a:lnTo>
                  <a:lnTo>
                    <a:pt x="217484" y="205291"/>
                  </a:lnTo>
                  <a:lnTo>
                    <a:pt x="216627" y="207126"/>
                  </a:lnTo>
                  <a:lnTo>
                    <a:pt x="215603" y="210635"/>
                  </a:lnTo>
                  <a:lnTo>
                    <a:pt x="214059" y="223129"/>
                  </a:lnTo>
                  <a:lnTo>
                    <a:pt x="212878" y="224469"/>
                  </a:lnTo>
                  <a:lnTo>
                    <a:pt x="211246" y="227840"/>
                  </a:lnTo>
                  <a:lnTo>
                    <a:pt x="205999" y="235919"/>
                  </a:lnTo>
                  <a:lnTo>
                    <a:pt x="201790" y="241272"/>
                  </a:lnTo>
                  <a:lnTo>
                    <a:pt x="195720" y="248960"/>
                  </a:lnTo>
                  <a:lnTo>
                    <a:pt x="200656" y="251381"/>
                  </a:lnTo>
                  <a:lnTo>
                    <a:pt x="205169" y="253145"/>
                  </a:lnTo>
                  <a:lnTo>
                    <a:pt x="206104" y="255857"/>
                  </a:lnTo>
                  <a:lnTo>
                    <a:pt x="206726" y="260380"/>
                  </a:lnTo>
                  <a:lnTo>
                    <a:pt x="206575" y="263453"/>
                  </a:lnTo>
                  <a:lnTo>
                    <a:pt x="204852" y="266213"/>
                  </a:lnTo>
                  <a:lnTo>
                    <a:pt x="203513" y="268148"/>
                  </a:lnTo>
                  <a:lnTo>
                    <a:pt x="202580" y="269091"/>
                  </a:lnTo>
                  <a:lnTo>
                    <a:pt x="196171" y="268152"/>
                  </a:lnTo>
                  <a:lnTo>
                    <a:pt x="187966" y="266945"/>
                  </a:lnTo>
                  <a:lnTo>
                    <a:pt x="185841" y="266934"/>
                  </a:lnTo>
                  <a:lnTo>
                    <a:pt x="181066" y="267803"/>
                  </a:lnTo>
                  <a:lnTo>
                    <a:pt x="176758" y="269586"/>
                  </a:lnTo>
                  <a:lnTo>
                    <a:pt x="174487" y="271088"/>
                  </a:lnTo>
                  <a:lnTo>
                    <a:pt x="173878" y="271685"/>
                  </a:lnTo>
                  <a:lnTo>
                    <a:pt x="171008" y="275099"/>
                  </a:lnTo>
                  <a:lnTo>
                    <a:pt x="165905" y="281156"/>
                  </a:lnTo>
                  <a:lnTo>
                    <a:pt x="163102" y="283795"/>
                  </a:lnTo>
                  <a:lnTo>
                    <a:pt x="163919" y="287426"/>
                  </a:lnTo>
                  <a:lnTo>
                    <a:pt x="159226" y="294429"/>
                  </a:lnTo>
                  <a:lnTo>
                    <a:pt x="162295" y="301478"/>
                  </a:lnTo>
                  <a:lnTo>
                    <a:pt x="162426" y="301709"/>
                  </a:lnTo>
                  <a:lnTo>
                    <a:pt x="164052" y="304551"/>
                  </a:lnTo>
                  <a:lnTo>
                    <a:pt x="162347" y="306381"/>
                  </a:lnTo>
                  <a:lnTo>
                    <a:pt x="161630" y="307364"/>
                  </a:lnTo>
                  <a:lnTo>
                    <a:pt x="161873" y="310603"/>
                  </a:lnTo>
                  <a:lnTo>
                    <a:pt x="162321" y="314217"/>
                  </a:lnTo>
                  <a:lnTo>
                    <a:pt x="161923" y="316334"/>
                  </a:lnTo>
                  <a:lnTo>
                    <a:pt x="161761" y="318682"/>
                  </a:lnTo>
                  <a:lnTo>
                    <a:pt x="165940" y="329208"/>
                  </a:lnTo>
                  <a:lnTo>
                    <a:pt x="165892" y="331669"/>
                  </a:lnTo>
                  <a:lnTo>
                    <a:pt x="165685" y="333254"/>
                  </a:lnTo>
                  <a:lnTo>
                    <a:pt x="164396" y="339764"/>
                  </a:lnTo>
                  <a:lnTo>
                    <a:pt x="162664" y="348480"/>
                  </a:lnTo>
                  <a:lnTo>
                    <a:pt x="165687" y="350764"/>
                  </a:lnTo>
                  <a:lnTo>
                    <a:pt x="169993" y="353492"/>
                  </a:lnTo>
                  <a:lnTo>
                    <a:pt x="172409" y="354565"/>
                  </a:lnTo>
                  <a:lnTo>
                    <a:pt x="175979" y="357800"/>
                  </a:lnTo>
                  <a:lnTo>
                    <a:pt x="178704" y="360956"/>
                  </a:lnTo>
                  <a:lnTo>
                    <a:pt x="178326" y="363049"/>
                  </a:lnTo>
                  <a:lnTo>
                    <a:pt x="177542" y="365356"/>
                  </a:lnTo>
                  <a:lnTo>
                    <a:pt x="176395" y="366968"/>
                  </a:lnTo>
                  <a:lnTo>
                    <a:pt x="175322" y="369179"/>
                  </a:lnTo>
                  <a:lnTo>
                    <a:pt x="174841" y="370806"/>
                  </a:lnTo>
                  <a:lnTo>
                    <a:pt x="174331" y="371244"/>
                  </a:lnTo>
                  <a:lnTo>
                    <a:pt x="169568" y="371422"/>
                  </a:lnTo>
                  <a:lnTo>
                    <a:pt x="167049" y="372037"/>
                  </a:lnTo>
                  <a:lnTo>
                    <a:pt x="165732" y="372726"/>
                  </a:lnTo>
                  <a:lnTo>
                    <a:pt x="166186" y="376434"/>
                  </a:lnTo>
                  <a:lnTo>
                    <a:pt x="169075" y="383209"/>
                  </a:lnTo>
                  <a:lnTo>
                    <a:pt x="171474" y="388013"/>
                  </a:lnTo>
                  <a:lnTo>
                    <a:pt x="172245" y="391175"/>
                  </a:lnTo>
                  <a:lnTo>
                    <a:pt x="171453" y="394375"/>
                  </a:lnTo>
                  <a:lnTo>
                    <a:pt x="170634" y="396012"/>
                  </a:lnTo>
                  <a:lnTo>
                    <a:pt x="170608" y="398214"/>
                  </a:lnTo>
                  <a:lnTo>
                    <a:pt x="169978" y="402590"/>
                  </a:lnTo>
                  <a:lnTo>
                    <a:pt x="168118" y="404799"/>
                  </a:lnTo>
                  <a:lnTo>
                    <a:pt x="165685" y="407204"/>
                  </a:lnTo>
                  <a:lnTo>
                    <a:pt x="162971" y="408999"/>
                  </a:lnTo>
                  <a:lnTo>
                    <a:pt x="160818" y="409503"/>
                  </a:lnTo>
                  <a:lnTo>
                    <a:pt x="158969" y="409711"/>
                  </a:lnTo>
                  <a:lnTo>
                    <a:pt x="157728" y="410622"/>
                  </a:lnTo>
                  <a:lnTo>
                    <a:pt x="156602" y="413299"/>
                  </a:lnTo>
                  <a:lnTo>
                    <a:pt x="155564" y="416106"/>
                  </a:lnTo>
                  <a:lnTo>
                    <a:pt x="152169" y="419553"/>
                  </a:lnTo>
                  <a:lnTo>
                    <a:pt x="152260" y="420752"/>
                  </a:lnTo>
                  <a:lnTo>
                    <a:pt x="153553" y="424829"/>
                  </a:lnTo>
                  <a:lnTo>
                    <a:pt x="154765" y="429460"/>
                  </a:lnTo>
                  <a:lnTo>
                    <a:pt x="153741" y="433781"/>
                  </a:lnTo>
                  <a:lnTo>
                    <a:pt x="152865" y="438308"/>
                  </a:lnTo>
                  <a:lnTo>
                    <a:pt x="151329" y="441320"/>
                  </a:lnTo>
                  <a:lnTo>
                    <a:pt x="149135" y="442395"/>
                  </a:lnTo>
                  <a:lnTo>
                    <a:pt x="147524" y="441858"/>
                  </a:lnTo>
                  <a:lnTo>
                    <a:pt x="145702" y="437727"/>
                  </a:lnTo>
                  <a:lnTo>
                    <a:pt x="145661" y="436776"/>
                  </a:lnTo>
                  <a:lnTo>
                    <a:pt x="145207" y="435511"/>
                  </a:lnTo>
                  <a:lnTo>
                    <a:pt x="140038" y="434250"/>
                  </a:lnTo>
                  <a:lnTo>
                    <a:pt x="139124" y="434296"/>
                  </a:lnTo>
                  <a:lnTo>
                    <a:pt x="137092" y="433557"/>
                  </a:lnTo>
                  <a:lnTo>
                    <a:pt x="135901" y="433348"/>
                  </a:lnTo>
                  <a:lnTo>
                    <a:pt x="133456" y="432921"/>
                  </a:lnTo>
                  <a:lnTo>
                    <a:pt x="131424" y="429261"/>
                  </a:lnTo>
                  <a:lnTo>
                    <a:pt x="129265" y="426212"/>
                  </a:lnTo>
                  <a:lnTo>
                    <a:pt x="128958" y="424936"/>
                  </a:lnTo>
                  <a:lnTo>
                    <a:pt x="129032" y="419218"/>
                  </a:lnTo>
                  <a:lnTo>
                    <a:pt x="128371" y="416670"/>
                  </a:lnTo>
                  <a:lnTo>
                    <a:pt x="128168" y="413889"/>
                  </a:lnTo>
                  <a:lnTo>
                    <a:pt x="126809" y="416151"/>
                  </a:lnTo>
                  <a:lnTo>
                    <a:pt x="127598" y="419723"/>
                  </a:lnTo>
                  <a:lnTo>
                    <a:pt x="125922" y="421220"/>
                  </a:lnTo>
                  <a:lnTo>
                    <a:pt x="123808" y="421947"/>
                  </a:lnTo>
                  <a:lnTo>
                    <a:pt x="124007" y="424035"/>
                  </a:lnTo>
                  <a:lnTo>
                    <a:pt x="124875" y="424430"/>
                  </a:lnTo>
                  <a:lnTo>
                    <a:pt x="125056" y="426595"/>
                  </a:lnTo>
                  <a:lnTo>
                    <a:pt x="124542" y="429796"/>
                  </a:lnTo>
                  <a:lnTo>
                    <a:pt x="120381" y="436895"/>
                  </a:lnTo>
                  <a:lnTo>
                    <a:pt x="119541" y="437657"/>
                  </a:lnTo>
                  <a:lnTo>
                    <a:pt x="118971" y="438614"/>
                  </a:lnTo>
                  <a:lnTo>
                    <a:pt x="116842" y="437978"/>
                  </a:lnTo>
                  <a:lnTo>
                    <a:pt x="114110" y="439950"/>
                  </a:lnTo>
                  <a:lnTo>
                    <a:pt x="111523" y="440266"/>
                  </a:lnTo>
                  <a:lnTo>
                    <a:pt x="110586" y="438035"/>
                  </a:lnTo>
                  <a:lnTo>
                    <a:pt x="106936" y="435079"/>
                  </a:lnTo>
                  <a:lnTo>
                    <a:pt x="105213" y="435245"/>
                  </a:lnTo>
                  <a:lnTo>
                    <a:pt x="106760" y="436704"/>
                  </a:lnTo>
                  <a:lnTo>
                    <a:pt x="108284" y="438599"/>
                  </a:lnTo>
                  <a:lnTo>
                    <a:pt x="107418" y="439853"/>
                  </a:lnTo>
                  <a:lnTo>
                    <a:pt x="106567" y="440671"/>
                  </a:lnTo>
                  <a:lnTo>
                    <a:pt x="105077" y="441095"/>
                  </a:lnTo>
                  <a:lnTo>
                    <a:pt x="99746" y="443570"/>
                  </a:lnTo>
                  <a:lnTo>
                    <a:pt x="101644" y="445231"/>
                  </a:lnTo>
                  <a:lnTo>
                    <a:pt x="100033" y="447116"/>
                  </a:lnTo>
                  <a:lnTo>
                    <a:pt x="98170" y="447393"/>
                  </a:lnTo>
                  <a:lnTo>
                    <a:pt x="97176" y="448273"/>
                  </a:lnTo>
                  <a:lnTo>
                    <a:pt x="96831" y="449467"/>
                  </a:lnTo>
                  <a:lnTo>
                    <a:pt x="91309" y="452866"/>
                  </a:lnTo>
                  <a:lnTo>
                    <a:pt x="82309" y="461559"/>
                  </a:lnTo>
                  <a:lnTo>
                    <a:pt x="77684" y="464009"/>
                  </a:lnTo>
                  <a:lnTo>
                    <a:pt x="74453" y="466554"/>
                  </a:lnTo>
                  <a:lnTo>
                    <a:pt x="71607" y="466491"/>
                  </a:lnTo>
                  <a:lnTo>
                    <a:pt x="68029" y="468652"/>
                  </a:lnTo>
                  <a:lnTo>
                    <a:pt x="58970" y="470547"/>
                  </a:lnTo>
                  <a:lnTo>
                    <a:pt x="52961" y="469690"/>
                  </a:lnTo>
                  <a:lnTo>
                    <a:pt x="48776" y="470442"/>
                  </a:lnTo>
                  <a:lnTo>
                    <a:pt x="46532" y="468957"/>
                  </a:lnTo>
                  <a:lnTo>
                    <a:pt x="46241" y="467936"/>
                  </a:lnTo>
                  <a:lnTo>
                    <a:pt x="46353" y="467343"/>
                  </a:lnTo>
                  <a:lnTo>
                    <a:pt x="46729" y="466632"/>
                  </a:lnTo>
                  <a:lnTo>
                    <a:pt x="45949" y="466380"/>
                  </a:lnTo>
                  <a:lnTo>
                    <a:pt x="44308" y="466257"/>
                  </a:lnTo>
                  <a:lnTo>
                    <a:pt x="43606" y="466974"/>
                  </a:lnTo>
                  <a:lnTo>
                    <a:pt x="43511" y="468602"/>
                  </a:lnTo>
                  <a:lnTo>
                    <a:pt x="42730" y="469027"/>
                  </a:lnTo>
                  <a:lnTo>
                    <a:pt x="39613" y="468096"/>
                  </a:lnTo>
                  <a:lnTo>
                    <a:pt x="38830" y="467257"/>
                  </a:lnTo>
                  <a:lnTo>
                    <a:pt x="39950" y="465556"/>
                  </a:lnTo>
                  <a:lnTo>
                    <a:pt x="41868" y="464023"/>
                  </a:lnTo>
                  <a:lnTo>
                    <a:pt x="41520" y="463709"/>
                  </a:lnTo>
                  <a:lnTo>
                    <a:pt x="41147" y="462777"/>
                  </a:lnTo>
                  <a:lnTo>
                    <a:pt x="40211" y="462659"/>
                  </a:lnTo>
                  <a:lnTo>
                    <a:pt x="37424" y="462884"/>
                  </a:lnTo>
                  <a:lnTo>
                    <a:pt x="35159" y="462609"/>
                  </a:lnTo>
                  <a:lnTo>
                    <a:pt x="27765" y="459156"/>
                  </a:lnTo>
                  <a:lnTo>
                    <a:pt x="26038" y="457312"/>
                  </a:lnTo>
                  <a:lnTo>
                    <a:pt x="20073" y="454363"/>
                  </a:lnTo>
                  <a:lnTo>
                    <a:pt x="17400" y="451234"/>
                  </a:lnTo>
                  <a:lnTo>
                    <a:pt x="15882" y="447798"/>
                  </a:lnTo>
                  <a:lnTo>
                    <a:pt x="15996" y="444680"/>
                  </a:lnTo>
                  <a:lnTo>
                    <a:pt x="16728" y="439723"/>
                  </a:lnTo>
                  <a:lnTo>
                    <a:pt x="17981" y="438496"/>
                  </a:lnTo>
                  <a:lnTo>
                    <a:pt x="23334" y="440234"/>
                  </a:lnTo>
                  <a:lnTo>
                    <a:pt x="28745" y="443134"/>
                  </a:lnTo>
                  <a:lnTo>
                    <a:pt x="29592" y="442991"/>
                  </a:lnTo>
                  <a:lnTo>
                    <a:pt x="31291" y="440715"/>
                  </a:lnTo>
                  <a:lnTo>
                    <a:pt x="34589" y="438885"/>
                  </a:lnTo>
                  <a:lnTo>
                    <a:pt x="33656" y="438380"/>
                  </a:lnTo>
                  <a:lnTo>
                    <a:pt x="28754" y="440479"/>
                  </a:lnTo>
                  <a:lnTo>
                    <a:pt x="26931" y="439316"/>
                  </a:lnTo>
                  <a:lnTo>
                    <a:pt x="24105" y="436946"/>
                  </a:lnTo>
                  <a:lnTo>
                    <a:pt x="24105" y="435725"/>
                  </a:lnTo>
                  <a:lnTo>
                    <a:pt x="25422" y="434503"/>
                  </a:lnTo>
                  <a:lnTo>
                    <a:pt x="25860" y="432849"/>
                  </a:lnTo>
                  <a:lnTo>
                    <a:pt x="25169" y="431287"/>
                  </a:lnTo>
                  <a:lnTo>
                    <a:pt x="25491" y="429160"/>
                  </a:lnTo>
                  <a:lnTo>
                    <a:pt x="27677" y="426901"/>
                  </a:lnTo>
                  <a:lnTo>
                    <a:pt x="30954" y="424611"/>
                  </a:lnTo>
                  <a:lnTo>
                    <a:pt x="33315" y="422399"/>
                  </a:lnTo>
                  <a:lnTo>
                    <a:pt x="35740" y="421036"/>
                  </a:lnTo>
                  <a:lnTo>
                    <a:pt x="35487" y="420581"/>
                  </a:lnTo>
                  <a:lnTo>
                    <a:pt x="32714" y="421449"/>
                  </a:lnTo>
                  <a:lnTo>
                    <a:pt x="30062" y="422921"/>
                  </a:lnTo>
                  <a:lnTo>
                    <a:pt x="26940" y="425385"/>
                  </a:lnTo>
                  <a:lnTo>
                    <a:pt x="23133" y="427381"/>
                  </a:lnTo>
                  <a:lnTo>
                    <a:pt x="20319" y="428155"/>
                  </a:lnTo>
                  <a:lnTo>
                    <a:pt x="18978" y="428795"/>
                  </a:lnTo>
                  <a:lnTo>
                    <a:pt x="16916" y="429417"/>
                  </a:lnTo>
                  <a:lnTo>
                    <a:pt x="14783" y="432273"/>
                  </a:lnTo>
                  <a:lnTo>
                    <a:pt x="12455" y="433495"/>
                  </a:lnTo>
                  <a:lnTo>
                    <a:pt x="8274" y="433619"/>
                  </a:lnTo>
                  <a:lnTo>
                    <a:pt x="7355" y="431533"/>
                  </a:lnTo>
                  <a:lnTo>
                    <a:pt x="8535" y="424101"/>
                  </a:lnTo>
                  <a:lnTo>
                    <a:pt x="9799" y="420472"/>
                  </a:lnTo>
                  <a:lnTo>
                    <a:pt x="11185" y="417901"/>
                  </a:lnTo>
                  <a:lnTo>
                    <a:pt x="13366" y="417468"/>
                  </a:lnTo>
                  <a:lnTo>
                    <a:pt x="14891" y="415582"/>
                  </a:lnTo>
                  <a:lnTo>
                    <a:pt x="16156" y="415582"/>
                  </a:lnTo>
                  <a:lnTo>
                    <a:pt x="17257" y="416453"/>
                  </a:lnTo>
                  <a:lnTo>
                    <a:pt x="21518" y="417297"/>
                  </a:lnTo>
                  <a:lnTo>
                    <a:pt x="23621" y="414895"/>
                  </a:lnTo>
                  <a:lnTo>
                    <a:pt x="26357" y="414543"/>
                  </a:lnTo>
                  <a:lnTo>
                    <a:pt x="31345" y="412116"/>
                  </a:lnTo>
                  <a:lnTo>
                    <a:pt x="31241" y="411674"/>
                  </a:lnTo>
                  <a:lnTo>
                    <a:pt x="27866" y="412208"/>
                  </a:lnTo>
                  <a:lnTo>
                    <a:pt x="25819" y="412287"/>
                  </a:lnTo>
                  <a:lnTo>
                    <a:pt x="22885" y="412896"/>
                  </a:lnTo>
                  <a:lnTo>
                    <a:pt x="21326" y="412461"/>
                  </a:lnTo>
                  <a:lnTo>
                    <a:pt x="20596" y="410642"/>
                  </a:lnTo>
                  <a:lnTo>
                    <a:pt x="21770" y="409002"/>
                  </a:lnTo>
                  <a:lnTo>
                    <a:pt x="26478" y="405081"/>
                  </a:lnTo>
                  <a:lnTo>
                    <a:pt x="28102" y="403361"/>
                  </a:lnTo>
                  <a:lnTo>
                    <a:pt x="29028" y="401753"/>
                  </a:lnTo>
                  <a:lnTo>
                    <a:pt x="28881" y="400658"/>
                  </a:lnTo>
                  <a:lnTo>
                    <a:pt x="29663" y="398392"/>
                  </a:lnTo>
                  <a:lnTo>
                    <a:pt x="34267" y="394426"/>
                  </a:lnTo>
                  <a:lnTo>
                    <a:pt x="38011" y="392611"/>
                  </a:lnTo>
                  <a:lnTo>
                    <a:pt x="39240" y="394173"/>
                  </a:lnTo>
                  <a:lnTo>
                    <a:pt x="38195" y="399051"/>
                  </a:lnTo>
                  <a:lnTo>
                    <a:pt x="38205" y="401062"/>
                  </a:lnTo>
                  <a:lnTo>
                    <a:pt x="41170" y="393952"/>
                  </a:lnTo>
                  <a:lnTo>
                    <a:pt x="42475" y="392258"/>
                  </a:lnTo>
                  <a:lnTo>
                    <a:pt x="43960" y="391063"/>
                  </a:lnTo>
                  <a:lnTo>
                    <a:pt x="47556" y="390260"/>
                  </a:lnTo>
                  <a:lnTo>
                    <a:pt x="48573" y="389136"/>
                  </a:lnTo>
                  <a:lnTo>
                    <a:pt x="44386" y="389508"/>
                  </a:lnTo>
                  <a:lnTo>
                    <a:pt x="34228" y="392228"/>
                  </a:lnTo>
                  <a:lnTo>
                    <a:pt x="29946" y="394649"/>
                  </a:lnTo>
                  <a:lnTo>
                    <a:pt x="28806" y="396513"/>
                  </a:lnTo>
                  <a:lnTo>
                    <a:pt x="25834" y="399318"/>
                  </a:lnTo>
                  <a:lnTo>
                    <a:pt x="24441" y="401138"/>
                  </a:lnTo>
                  <a:lnTo>
                    <a:pt x="23826" y="403807"/>
                  </a:lnTo>
                  <a:lnTo>
                    <a:pt x="22152" y="405256"/>
                  </a:lnTo>
                  <a:lnTo>
                    <a:pt x="19896" y="405791"/>
                  </a:lnTo>
                  <a:lnTo>
                    <a:pt x="16761" y="409168"/>
                  </a:lnTo>
                  <a:lnTo>
                    <a:pt x="15379" y="411878"/>
                  </a:lnTo>
                  <a:lnTo>
                    <a:pt x="12259" y="414035"/>
                  </a:lnTo>
                  <a:lnTo>
                    <a:pt x="10278" y="415692"/>
                  </a:lnTo>
                  <a:lnTo>
                    <a:pt x="9628" y="416283"/>
                  </a:lnTo>
                  <a:lnTo>
                    <a:pt x="8557" y="417911"/>
                  </a:lnTo>
                  <a:lnTo>
                    <a:pt x="7667" y="418025"/>
                  </a:lnTo>
                  <a:lnTo>
                    <a:pt x="6892" y="417071"/>
                  </a:lnTo>
                  <a:lnTo>
                    <a:pt x="6763" y="414970"/>
                  </a:lnTo>
                  <a:lnTo>
                    <a:pt x="7080" y="411611"/>
                  </a:lnTo>
                  <a:lnTo>
                    <a:pt x="8581" y="409191"/>
                  </a:lnTo>
                  <a:lnTo>
                    <a:pt x="9298" y="406824"/>
                  </a:lnTo>
                  <a:lnTo>
                    <a:pt x="8300" y="404611"/>
                  </a:lnTo>
                  <a:lnTo>
                    <a:pt x="8991" y="403214"/>
                  </a:lnTo>
                  <a:lnTo>
                    <a:pt x="10313" y="403262"/>
                  </a:lnTo>
                  <a:lnTo>
                    <a:pt x="12768" y="403899"/>
                  </a:lnTo>
                  <a:lnTo>
                    <a:pt x="15379" y="403797"/>
                  </a:lnTo>
                  <a:lnTo>
                    <a:pt x="19669" y="402047"/>
                  </a:lnTo>
                  <a:lnTo>
                    <a:pt x="18985" y="401024"/>
                  </a:lnTo>
                  <a:lnTo>
                    <a:pt x="17132" y="400878"/>
                  </a:lnTo>
                  <a:lnTo>
                    <a:pt x="13673" y="401024"/>
                  </a:lnTo>
                  <a:lnTo>
                    <a:pt x="10764" y="399313"/>
                  </a:lnTo>
                  <a:lnTo>
                    <a:pt x="8503" y="395906"/>
                  </a:lnTo>
                  <a:lnTo>
                    <a:pt x="7475" y="391346"/>
                  </a:lnTo>
                  <a:lnTo>
                    <a:pt x="8162" y="390040"/>
                  </a:lnTo>
                  <a:lnTo>
                    <a:pt x="16528" y="385382"/>
                  </a:lnTo>
                  <a:lnTo>
                    <a:pt x="18780" y="383264"/>
                  </a:lnTo>
                  <a:lnTo>
                    <a:pt x="17475" y="383054"/>
                  </a:lnTo>
                  <a:lnTo>
                    <a:pt x="14336" y="385623"/>
                  </a:lnTo>
                  <a:lnTo>
                    <a:pt x="9840" y="387216"/>
                  </a:lnTo>
                  <a:lnTo>
                    <a:pt x="7005" y="385001"/>
                  </a:lnTo>
                  <a:lnTo>
                    <a:pt x="5530" y="382612"/>
                  </a:lnTo>
                  <a:lnTo>
                    <a:pt x="4681" y="377560"/>
                  </a:lnTo>
                  <a:lnTo>
                    <a:pt x="4988" y="374959"/>
                  </a:lnTo>
                  <a:lnTo>
                    <a:pt x="4633" y="371534"/>
                  </a:lnTo>
                  <a:lnTo>
                    <a:pt x="6553" y="370420"/>
                  </a:lnTo>
                  <a:lnTo>
                    <a:pt x="8700" y="371012"/>
                  </a:lnTo>
                  <a:lnTo>
                    <a:pt x="10816" y="371232"/>
                  </a:lnTo>
                  <a:lnTo>
                    <a:pt x="15616" y="370932"/>
                  </a:lnTo>
                  <a:lnTo>
                    <a:pt x="26201" y="368874"/>
                  </a:lnTo>
                  <a:lnTo>
                    <a:pt x="33025" y="370097"/>
                  </a:lnTo>
                  <a:lnTo>
                    <a:pt x="35798" y="369985"/>
                  </a:lnTo>
                  <a:lnTo>
                    <a:pt x="40041" y="368212"/>
                  </a:lnTo>
                  <a:lnTo>
                    <a:pt x="43755" y="368029"/>
                  </a:lnTo>
                  <a:lnTo>
                    <a:pt x="46532" y="369384"/>
                  </a:lnTo>
                  <a:lnTo>
                    <a:pt x="48050" y="370937"/>
                  </a:lnTo>
                  <a:lnTo>
                    <a:pt x="48238" y="373013"/>
                  </a:lnTo>
                  <a:lnTo>
                    <a:pt x="49523" y="374396"/>
                  </a:lnTo>
                  <a:lnTo>
                    <a:pt x="50391" y="373947"/>
                  </a:lnTo>
                  <a:lnTo>
                    <a:pt x="49700" y="372303"/>
                  </a:lnTo>
                  <a:lnTo>
                    <a:pt x="49555" y="369753"/>
                  </a:lnTo>
                  <a:lnTo>
                    <a:pt x="60719" y="366861"/>
                  </a:lnTo>
                  <a:lnTo>
                    <a:pt x="62035" y="365736"/>
                  </a:lnTo>
                  <a:lnTo>
                    <a:pt x="57599" y="365345"/>
                  </a:lnTo>
                  <a:lnTo>
                    <a:pt x="56331" y="362701"/>
                  </a:lnTo>
                  <a:lnTo>
                    <a:pt x="58674" y="358695"/>
                  </a:lnTo>
                  <a:lnTo>
                    <a:pt x="58454" y="358175"/>
                  </a:lnTo>
                  <a:lnTo>
                    <a:pt x="55990" y="360290"/>
                  </a:lnTo>
                  <a:lnTo>
                    <a:pt x="54777" y="363263"/>
                  </a:lnTo>
                  <a:lnTo>
                    <a:pt x="55258" y="365633"/>
                  </a:lnTo>
                  <a:lnTo>
                    <a:pt x="54770" y="366733"/>
                  </a:lnTo>
                  <a:lnTo>
                    <a:pt x="52505" y="367237"/>
                  </a:lnTo>
                  <a:lnTo>
                    <a:pt x="47398" y="367420"/>
                  </a:lnTo>
                  <a:lnTo>
                    <a:pt x="44120" y="366415"/>
                  </a:lnTo>
                  <a:lnTo>
                    <a:pt x="41084" y="365869"/>
                  </a:lnTo>
                  <a:lnTo>
                    <a:pt x="40050" y="365111"/>
                  </a:lnTo>
                  <a:lnTo>
                    <a:pt x="40395" y="363419"/>
                  </a:lnTo>
                  <a:lnTo>
                    <a:pt x="39821" y="363070"/>
                  </a:lnTo>
                  <a:lnTo>
                    <a:pt x="38564" y="364591"/>
                  </a:lnTo>
                  <a:lnTo>
                    <a:pt x="37448" y="367620"/>
                  </a:lnTo>
                  <a:lnTo>
                    <a:pt x="35035" y="368317"/>
                  </a:lnTo>
                  <a:lnTo>
                    <a:pt x="28380" y="367193"/>
                  </a:lnTo>
                  <a:lnTo>
                    <a:pt x="18745" y="367855"/>
                  </a:lnTo>
                  <a:lnTo>
                    <a:pt x="14422" y="369378"/>
                  </a:lnTo>
                  <a:lnTo>
                    <a:pt x="11621" y="369179"/>
                  </a:lnTo>
                  <a:lnTo>
                    <a:pt x="6804" y="366511"/>
                  </a:lnTo>
                  <a:lnTo>
                    <a:pt x="4923" y="364387"/>
                  </a:lnTo>
                  <a:lnTo>
                    <a:pt x="4221" y="360099"/>
                  </a:lnTo>
                  <a:lnTo>
                    <a:pt x="4504" y="358210"/>
                  </a:lnTo>
                  <a:lnTo>
                    <a:pt x="8257" y="357414"/>
                  </a:lnTo>
                  <a:lnTo>
                    <a:pt x="10155" y="357470"/>
                  </a:lnTo>
                  <a:lnTo>
                    <a:pt x="11932" y="356454"/>
                  </a:lnTo>
                  <a:lnTo>
                    <a:pt x="10360" y="355794"/>
                  </a:lnTo>
                  <a:lnTo>
                    <a:pt x="8149" y="354496"/>
                  </a:lnTo>
                  <a:lnTo>
                    <a:pt x="6642" y="351893"/>
                  </a:lnTo>
                  <a:lnTo>
                    <a:pt x="4370" y="351044"/>
                  </a:lnTo>
                  <a:lnTo>
                    <a:pt x="2848" y="348822"/>
                  </a:lnTo>
                  <a:lnTo>
                    <a:pt x="2461" y="345461"/>
                  </a:lnTo>
                  <a:lnTo>
                    <a:pt x="2897" y="343122"/>
                  </a:lnTo>
                  <a:lnTo>
                    <a:pt x="4113" y="342369"/>
                  </a:lnTo>
                  <a:lnTo>
                    <a:pt x="7031" y="342881"/>
                  </a:lnTo>
                  <a:lnTo>
                    <a:pt x="14733" y="342488"/>
                  </a:lnTo>
                  <a:lnTo>
                    <a:pt x="21984" y="344865"/>
                  </a:lnTo>
                  <a:lnTo>
                    <a:pt x="26905" y="346212"/>
                  </a:lnTo>
                  <a:lnTo>
                    <a:pt x="36875" y="345535"/>
                  </a:lnTo>
                  <a:lnTo>
                    <a:pt x="42714" y="343413"/>
                  </a:lnTo>
                  <a:lnTo>
                    <a:pt x="41643" y="342826"/>
                  </a:lnTo>
                  <a:lnTo>
                    <a:pt x="35310" y="344053"/>
                  </a:lnTo>
                  <a:lnTo>
                    <a:pt x="29456" y="344003"/>
                  </a:lnTo>
                  <a:lnTo>
                    <a:pt x="19136" y="341603"/>
                  </a:lnTo>
                  <a:lnTo>
                    <a:pt x="14904" y="340829"/>
                  </a:lnTo>
                  <a:lnTo>
                    <a:pt x="10345" y="341171"/>
                  </a:lnTo>
                  <a:lnTo>
                    <a:pt x="7972" y="340442"/>
                  </a:lnTo>
                  <a:lnTo>
                    <a:pt x="6577" y="338065"/>
                  </a:lnTo>
                  <a:lnTo>
                    <a:pt x="7609" y="333512"/>
                  </a:lnTo>
                  <a:lnTo>
                    <a:pt x="9771" y="332528"/>
                  </a:lnTo>
                  <a:lnTo>
                    <a:pt x="10941" y="333717"/>
                  </a:lnTo>
                  <a:lnTo>
                    <a:pt x="12353" y="333792"/>
                  </a:lnTo>
                  <a:lnTo>
                    <a:pt x="13783" y="331887"/>
                  </a:lnTo>
                  <a:lnTo>
                    <a:pt x="15152" y="330801"/>
                  </a:lnTo>
                  <a:lnTo>
                    <a:pt x="16236" y="328341"/>
                  </a:lnTo>
                  <a:lnTo>
                    <a:pt x="20324" y="326007"/>
                  </a:lnTo>
                  <a:lnTo>
                    <a:pt x="22051" y="325809"/>
                  </a:lnTo>
                  <a:lnTo>
                    <a:pt x="24528" y="324733"/>
                  </a:lnTo>
                  <a:lnTo>
                    <a:pt x="26109" y="325038"/>
                  </a:lnTo>
                  <a:lnTo>
                    <a:pt x="27122" y="326118"/>
                  </a:lnTo>
                  <a:lnTo>
                    <a:pt x="28402" y="327012"/>
                  </a:lnTo>
                  <a:lnTo>
                    <a:pt x="31177" y="326903"/>
                  </a:lnTo>
                  <a:lnTo>
                    <a:pt x="39382" y="325033"/>
                  </a:lnTo>
                  <a:lnTo>
                    <a:pt x="40266" y="324483"/>
                  </a:lnTo>
                  <a:lnTo>
                    <a:pt x="41866" y="322944"/>
                  </a:lnTo>
                  <a:lnTo>
                    <a:pt x="36664" y="323630"/>
                  </a:lnTo>
                  <a:lnTo>
                    <a:pt x="32343" y="324723"/>
                  </a:lnTo>
                  <a:lnTo>
                    <a:pt x="29566" y="325026"/>
                  </a:lnTo>
                  <a:lnTo>
                    <a:pt x="29175" y="323662"/>
                  </a:lnTo>
                  <a:lnTo>
                    <a:pt x="30199" y="322450"/>
                  </a:lnTo>
                  <a:lnTo>
                    <a:pt x="31807" y="321160"/>
                  </a:lnTo>
                  <a:lnTo>
                    <a:pt x="32589" y="318959"/>
                  </a:lnTo>
                  <a:lnTo>
                    <a:pt x="34359" y="318019"/>
                  </a:lnTo>
                  <a:lnTo>
                    <a:pt x="36273" y="318069"/>
                  </a:lnTo>
                  <a:lnTo>
                    <a:pt x="40229" y="317669"/>
                  </a:lnTo>
                  <a:lnTo>
                    <a:pt x="43021" y="317096"/>
                  </a:lnTo>
                  <a:lnTo>
                    <a:pt x="47808" y="317480"/>
                  </a:lnTo>
                  <a:lnTo>
                    <a:pt x="54943" y="318323"/>
                  </a:lnTo>
                  <a:lnTo>
                    <a:pt x="59542" y="320372"/>
                  </a:lnTo>
                  <a:lnTo>
                    <a:pt x="61274" y="320187"/>
                  </a:lnTo>
                  <a:lnTo>
                    <a:pt x="63110" y="319642"/>
                  </a:lnTo>
                  <a:lnTo>
                    <a:pt x="63941" y="318899"/>
                  </a:lnTo>
                  <a:lnTo>
                    <a:pt x="60331" y="318048"/>
                  </a:lnTo>
                  <a:lnTo>
                    <a:pt x="60125" y="316834"/>
                  </a:lnTo>
                  <a:lnTo>
                    <a:pt x="60573" y="315918"/>
                  </a:lnTo>
                  <a:lnTo>
                    <a:pt x="66461" y="314229"/>
                  </a:lnTo>
                  <a:lnTo>
                    <a:pt x="72892" y="313855"/>
                  </a:lnTo>
                  <a:lnTo>
                    <a:pt x="71786" y="312494"/>
                  </a:lnTo>
                  <a:lnTo>
                    <a:pt x="57698" y="314548"/>
                  </a:lnTo>
                  <a:lnTo>
                    <a:pt x="54021" y="313146"/>
                  </a:lnTo>
                  <a:lnTo>
                    <a:pt x="51119" y="313158"/>
                  </a:lnTo>
                  <a:lnTo>
                    <a:pt x="49218" y="313959"/>
                  </a:lnTo>
                  <a:lnTo>
                    <a:pt x="43803" y="314929"/>
                  </a:lnTo>
                  <a:lnTo>
                    <a:pt x="42807" y="314239"/>
                  </a:lnTo>
                  <a:lnTo>
                    <a:pt x="43837" y="311857"/>
                  </a:lnTo>
                  <a:lnTo>
                    <a:pt x="47081" y="307944"/>
                  </a:lnTo>
                  <a:lnTo>
                    <a:pt x="47351" y="306984"/>
                  </a:lnTo>
                  <a:lnTo>
                    <a:pt x="48856" y="306041"/>
                  </a:lnTo>
                  <a:lnTo>
                    <a:pt x="57271" y="303765"/>
                  </a:lnTo>
                  <a:lnTo>
                    <a:pt x="61313" y="301118"/>
                  </a:lnTo>
                  <a:lnTo>
                    <a:pt x="63136" y="300782"/>
                  </a:lnTo>
                  <a:lnTo>
                    <a:pt x="64943" y="300967"/>
                  </a:lnTo>
                  <a:lnTo>
                    <a:pt x="67692" y="300657"/>
                  </a:lnTo>
                  <a:lnTo>
                    <a:pt x="73004" y="301415"/>
                  </a:lnTo>
                  <a:lnTo>
                    <a:pt x="75448" y="304729"/>
                  </a:lnTo>
                  <a:lnTo>
                    <a:pt x="77647" y="305769"/>
                  </a:lnTo>
                  <a:lnTo>
                    <a:pt x="84559" y="309900"/>
                  </a:lnTo>
                  <a:lnTo>
                    <a:pt x="84250" y="308712"/>
                  </a:lnTo>
                  <a:lnTo>
                    <a:pt x="78267" y="303109"/>
                  </a:lnTo>
                  <a:lnTo>
                    <a:pt x="75980" y="301720"/>
                  </a:lnTo>
                  <a:lnTo>
                    <a:pt x="74274" y="298962"/>
                  </a:lnTo>
                  <a:lnTo>
                    <a:pt x="74859" y="296352"/>
                  </a:lnTo>
                  <a:lnTo>
                    <a:pt x="76783" y="294608"/>
                  </a:lnTo>
                  <a:lnTo>
                    <a:pt x="83609" y="293673"/>
                  </a:lnTo>
                  <a:lnTo>
                    <a:pt x="84833" y="292663"/>
                  </a:lnTo>
                  <a:lnTo>
                    <a:pt x="84954" y="290926"/>
                  </a:lnTo>
                  <a:lnTo>
                    <a:pt x="83909" y="289737"/>
                  </a:lnTo>
                  <a:lnTo>
                    <a:pt x="81398" y="289806"/>
                  </a:lnTo>
                  <a:lnTo>
                    <a:pt x="79327" y="289069"/>
                  </a:lnTo>
                  <a:lnTo>
                    <a:pt x="78757" y="287194"/>
                  </a:lnTo>
                  <a:lnTo>
                    <a:pt x="79584" y="285926"/>
                  </a:lnTo>
                  <a:lnTo>
                    <a:pt x="83520" y="283612"/>
                  </a:lnTo>
                  <a:lnTo>
                    <a:pt x="85675" y="282860"/>
                  </a:lnTo>
                  <a:lnTo>
                    <a:pt x="89407" y="282044"/>
                  </a:lnTo>
                  <a:lnTo>
                    <a:pt x="95896" y="283876"/>
                  </a:lnTo>
                  <a:lnTo>
                    <a:pt x="96388" y="284835"/>
                  </a:lnTo>
                  <a:lnTo>
                    <a:pt x="94570" y="287141"/>
                  </a:lnTo>
                  <a:lnTo>
                    <a:pt x="94753" y="288434"/>
                  </a:lnTo>
                  <a:lnTo>
                    <a:pt x="96343" y="288577"/>
                  </a:lnTo>
                  <a:lnTo>
                    <a:pt x="100048" y="284691"/>
                  </a:lnTo>
                  <a:lnTo>
                    <a:pt x="104406" y="284154"/>
                  </a:lnTo>
                  <a:lnTo>
                    <a:pt x="106209" y="283318"/>
                  </a:lnTo>
                  <a:lnTo>
                    <a:pt x="108301" y="282792"/>
                  </a:lnTo>
                  <a:lnTo>
                    <a:pt x="111294" y="286309"/>
                  </a:lnTo>
                  <a:lnTo>
                    <a:pt x="112605" y="287433"/>
                  </a:lnTo>
                  <a:lnTo>
                    <a:pt x="113590" y="287894"/>
                  </a:lnTo>
                  <a:lnTo>
                    <a:pt x="114544" y="290815"/>
                  </a:lnTo>
                  <a:lnTo>
                    <a:pt x="115468" y="290971"/>
                  </a:lnTo>
                  <a:lnTo>
                    <a:pt x="116785" y="289507"/>
                  </a:lnTo>
                  <a:lnTo>
                    <a:pt x="119174" y="288736"/>
                  </a:lnTo>
                  <a:lnTo>
                    <a:pt x="122523" y="288227"/>
                  </a:lnTo>
                  <a:lnTo>
                    <a:pt x="128070" y="289000"/>
                  </a:lnTo>
                  <a:lnTo>
                    <a:pt x="130582" y="288429"/>
                  </a:lnTo>
                  <a:lnTo>
                    <a:pt x="131813" y="288509"/>
                  </a:lnTo>
                  <a:lnTo>
                    <a:pt x="130632" y="285883"/>
                  </a:lnTo>
                  <a:lnTo>
                    <a:pt x="129899" y="285124"/>
                  </a:lnTo>
                  <a:lnTo>
                    <a:pt x="131042" y="282777"/>
                  </a:lnTo>
                  <a:lnTo>
                    <a:pt x="132234" y="281859"/>
                  </a:lnTo>
                  <a:lnTo>
                    <a:pt x="136067" y="280209"/>
                  </a:lnTo>
                  <a:lnTo>
                    <a:pt x="139722" y="279472"/>
                  </a:lnTo>
                  <a:lnTo>
                    <a:pt x="142109" y="277904"/>
                  </a:lnTo>
                  <a:lnTo>
                    <a:pt x="145313" y="276462"/>
                  </a:lnTo>
                  <a:lnTo>
                    <a:pt x="144810" y="275306"/>
                  </a:lnTo>
                  <a:lnTo>
                    <a:pt x="143918" y="273967"/>
                  </a:lnTo>
                  <a:lnTo>
                    <a:pt x="141845" y="273882"/>
                  </a:lnTo>
                  <a:lnTo>
                    <a:pt x="140999" y="273151"/>
                  </a:lnTo>
                  <a:lnTo>
                    <a:pt x="143631" y="271414"/>
                  </a:lnTo>
                  <a:lnTo>
                    <a:pt x="147235" y="269481"/>
                  </a:lnTo>
                  <a:lnTo>
                    <a:pt x="146607" y="268721"/>
                  </a:lnTo>
                  <a:lnTo>
                    <a:pt x="143897" y="267861"/>
                  </a:lnTo>
                  <a:lnTo>
                    <a:pt x="141839" y="268509"/>
                  </a:lnTo>
                  <a:lnTo>
                    <a:pt x="138779" y="270005"/>
                  </a:lnTo>
                  <a:lnTo>
                    <a:pt x="135220" y="272369"/>
                  </a:lnTo>
                  <a:lnTo>
                    <a:pt x="136380" y="273057"/>
                  </a:lnTo>
                  <a:lnTo>
                    <a:pt x="138161" y="275041"/>
                  </a:lnTo>
                  <a:lnTo>
                    <a:pt x="135676" y="277679"/>
                  </a:lnTo>
                  <a:lnTo>
                    <a:pt x="122504" y="284668"/>
                  </a:lnTo>
                  <a:lnTo>
                    <a:pt x="116222" y="286710"/>
                  </a:lnTo>
                  <a:lnTo>
                    <a:pt x="113324" y="286392"/>
                  </a:lnTo>
                  <a:lnTo>
                    <a:pt x="112633" y="284486"/>
                  </a:lnTo>
                  <a:lnTo>
                    <a:pt x="111296" y="283074"/>
                  </a:lnTo>
                  <a:lnTo>
                    <a:pt x="109863" y="280162"/>
                  </a:lnTo>
                  <a:lnTo>
                    <a:pt x="107425" y="280240"/>
                  </a:lnTo>
                  <a:lnTo>
                    <a:pt x="106040" y="280884"/>
                  </a:lnTo>
                  <a:lnTo>
                    <a:pt x="105436" y="279929"/>
                  </a:lnTo>
                  <a:lnTo>
                    <a:pt x="106485" y="276814"/>
                  </a:lnTo>
                  <a:lnTo>
                    <a:pt x="108548" y="274348"/>
                  </a:lnTo>
                  <a:lnTo>
                    <a:pt x="112007" y="272484"/>
                  </a:lnTo>
                  <a:lnTo>
                    <a:pt x="113665" y="270230"/>
                  </a:lnTo>
                  <a:lnTo>
                    <a:pt x="115224" y="266650"/>
                  </a:lnTo>
                  <a:lnTo>
                    <a:pt x="120228" y="263237"/>
                  </a:lnTo>
                  <a:lnTo>
                    <a:pt x="127511" y="254770"/>
                  </a:lnTo>
                  <a:lnTo>
                    <a:pt x="133445" y="252061"/>
                  </a:lnTo>
                  <a:lnTo>
                    <a:pt x="135620" y="249095"/>
                  </a:lnTo>
                  <a:lnTo>
                    <a:pt x="139116" y="247783"/>
                  </a:lnTo>
                  <a:lnTo>
                    <a:pt x="142100" y="245465"/>
                  </a:lnTo>
                  <a:lnTo>
                    <a:pt x="144443" y="245235"/>
                  </a:lnTo>
                  <a:lnTo>
                    <a:pt x="148699" y="243146"/>
                  </a:lnTo>
                  <a:lnTo>
                    <a:pt x="151111" y="240658"/>
                  </a:lnTo>
                  <a:lnTo>
                    <a:pt x="149537" y="240503"/>
                  </a:lnTo>
                  <a:lnTo>
                    <a:pt x="145795" y="242123"/>
                  </a:lnTo>
                  <a:lnTo>
                    <a:pt x="143678" y="242774"/>
                  </a:lnTo>
                  <a:lnTo>
                    <a:pt x="143828" y="240104"/>
                  </a:lnTo>
                  <a:lnTo>
                    <a:pt x="144853" y="237363"/>
                  </a:lnTo>
                  <a:lnTo>
                    <a:pt x="147937" y="234854"/>
                  </a:lnTo>
                  <a:lnTo>
                    <a:pt x="162759" y="227548"/>
                  </a:lnTo>
                  <a:lnTo>
                    <a:pt x="164238" y="228758"/>
                  </a:lnTo>
                  <a:lnTo>
                    <a:pt x="166006" y="230895"/>
                  </a:lnTo>
                  <a:lnTo>
                    <a:pt x="170470" y="230412"/>
                  </a:lnTo>
                  <a:lnTo>
                    <a:pt x="175556" y="226271"/>
                  </a:lnTo>
                  <a:lnTo>
                    <a:pt x="179473" y="221764"/>
                  </a:lnTo>
                  <a:lnTo>
                    <a:pt x="177356" y="222551"/>
                  </a:lnTo>
                  <a:lnTo>
                    <a:pt x="175046" y="224397"/>
                  </a:lnTo>
                  <a:lnTo>
                    <a:pt x="170543" y="226959"/>
                  </a:lnTo>
                  <a:lnTo>
                    <a:pt x="168462" y="227364"/>
                  </a:lnTo>
                  <a:lnTo>
                    <a:pt x="167274" y="227031"/>
                  </a:lnTo>
                  <a:lnTo>
                    <a:pt x="166613" y="225322"/>
                  </a:lnTo>
                  <a:lnTo>
                    <a:pt x="165052" y="224767"/>
                  </a:lnTo>
                  <a:lnTo>
                    <a:pt x="163642" y="225151"/>
                  </a:lnTo>
                  <a:lnTo>
                    <a:pt x="162189" y="223935"/>
                  </a:lnTo>
                  <a:lnTo>
                    <a:pt x="161930" y="220930"/>
                  </a:lnTo>
                  <a:lnTo>
                    <a:pt x="163789" y="216446"/>
                  </a:lnTo>
                  <a:lnTo>
                    <a:pt x="165262" y="213475"/>
                  </a:lnTo>
                  <a:lnTo>
                    <a:pt x="166853" y="211224"/>
                  </a:lnTo>
                  <a:lnTo>
                    <a:pt x="173109" y="204821"/>
                  </a:lnTo>
                  <a:lnTo>
                    <a:pt x="174461" y="201318"/>
                  </a:lnTo>
                  <a:lnTo>
                    <a:pt x="177290" y="199467"/>
                  </a:lnTo>
                  <a:lnTo>
                    <a:pt x="180964" y="199879"/>
                  </a:lnTo>
                  <a:lnTo>
                    <a:pt x="182073" y="199344"/>
                  </a:lnTo>
                  <a:lnTo>
                    <a:pt x="180811" y="197042"/>
                  </a:lnTo>
                  <a:lnTo>
                    <a:pt x="176806" y="195215"/>
                  </a:lnTo>
                  <a:lnTo>
                    <a:pt x="176560" y="194067"/>
                  </a:lnTo>
                  <a:lnTo>
                    <a:pt x="189900" y="191049"/>
                  </a:lnTo>
                  <a:lnTo>
                    <a:pt x="196253" y="191151"/>
                  </a:lnTo>
                  <a:lnTo>
                    <a:pt x="198138" y="189643"/>
                  </a:lnTo>
                  <a:lnTo>
                    <a:pt x="201591" y="188677"/>
                  </a:lnTo>
                  <a:lnTo>
                    <a:pt x="204208" y="186831"/>
                  </a:lnTo>
                  <a:lnTo>
                    <a:pt x="202859" y="186016"/>
                  </a:lnTo>
                  <a:lnTo>
                    <a:pt x="196407" y="187713"/>
                  </a:lnTo>
                  <a:lnTo>
                    <a:pt x="192373" y="188510"/>
                  </a:lnTo>
                  <a:lnTo>
                    <a:pt x="190548" y="188485"/>
                  </a:lnTo>
                  <a:lnTo>
                    <a:pt x="189125" y="189068"/>
                  </a:lnTo>
                  <a:lnTo>
                    <a:pt x="183969" y="189290"/>
                  </a:lnTo>
                  <a:lnTo>
                    <a:pt x="182848" y="181925"/>
                  </a:lnTo>
                  <a:lnTo>
                    <a:pt x="183655" y="177918"/>
                  </a:lnTo>
                  <a:lnTo>
                    <a:pt x="185577" y="178001"/>
                  </a:lnTo>
                  <a:lnTo>
                    <a:pt x="186015" y="174168"/>
                  </a:lnTo>
                  <a:lnTo>
                    <a:pt x="188235" y="171907"/>
                  </a:lnTo>
                  <a:lnTo>
                    <a:pt x="191300" y="171401"/>
                  </a:lnTo>
                  <a:lnTo>
                    <a:pt x="192844" y="170432"/>
                  </a:lnTo>
                  <a:lnTo>
                    <a:pt x="195074" y="168460"/>
                  </a:lnTo>
                  <a:lnTo>
                    <a:pt x="198765" y="168918"/>
                  </a:lnTo>
                  <a:lnTo>
                    <a:pt x="202556" y="168478"/>
                  </a:lnTo>
                  <a:lnTo>
                    <a:pt x="201617" y="167548"/>
                  </a:lnTo>
                  <a:lnTo>
                    <a:pt x="196910" y="166349"/>
                  </a:lnTo>
                  <a:lnTo>
                    <a:pt x="195748" y="164288"/>
                  </a:lnTo>
                  <a:lnTo>
                    <a:pt x="197408" y="163137"/>
                  </a:lnTo>
                  <a:lnTo>
                    <a:pt x="199216" y="162289"/>
                  </a:lnTo>
                  <a:lnTo>
                    <a:pt x="200803" y="162137"/>
                  </a:lnTo>
                  <a:lnTo>
                    <a:pt x="203947" y="158104"/>
                  </a:lnTo>
                  <a:lnTo>
                    <a:pt x="205858" y="156381"/>
                  </a:lnTo>
                  <a:lnTo>
                    <a:pt x="207998" y="156680"/>
                  </a:lnTo>
                  <a:lnTo>
                    <a:pt x="210978" y="154898"/>
                  </a:lnTo>
                  <a:lnTo>
                    <a:pt x="213904" y="155506"/>
                  </a:lnTo>
                  <a:lnTo>
                    <a:pt x="216735" y="154339"/>
                  </a:lnTo>
                  <a:lnTo>
                    <a:pt x="220602" y="153569"/>
                  </a:lnTo>
                  <a:lnTo>
                    <a:pt x="234757" y="153271"/>
                  </a:lnTo>
                  <a:lnTo>
                    <a:pt x="235178" y="151616"/>
                  </a:lnTo>
                  <a:lnTo>
                    <a:pt x="232201" y="151232"/>
                  </a:lnTo>
                  <a:lnTo>
                    <a:pt x="221682" y="150806"/>
                  </a:lnTo>
                  <a:lnTo>
                    <a:pt x="216312" y="150839"/>
                  </a:lnTo>
                  <a:lnTo>
                    <a:pt x="214051" y="151268"/>
                  </a:lnTo>
                  <a:lnTo>
                    <a:pt x="213220" y="150691"/>
                  </a:lnTo>
                  <a:lnTo>
                    <a:pt x="213366" y="149699"/>
                  </a:lnTo>
                  <a:lnTo>
                    <a:pt x="215318" y="148129"/>
                  </a:lnTo>
                  <a:lnTo>
                    <a:pt x="216245" y="146392"/>
                  </a:lnTo>
                  <a:lnTo>
                    <a:pt x="220147" y="142146"/>
                  </a:lnTo>
                  <a:lnTo>
                    <a:pt x="224722" y="139313"/>
                  </a:lnTo>
                  <a:lnTo>
                    <a:pt x="228229" y="140038"/>
                  </a:lnTo>
                  <a:lnTo>
                    <a:pt x="231959" y="142743"/>
                  </a:lnTo>
                  <a:lnTo>
                    <a:pt x="234617" y="143081"/>
                  </a:lnTo>
                  <a:lnTo>
                    <a:pt x="235854" y="143954"/>
                  </a:lnTo>
                  <a:lnTo>
                    <a:pt x="237791" y="147678"/>
                  </a:lnTo>
                  <a:lnTo>
                    <a:pt x="238709" y="147799"/>
                  </a:lnTo>
                  <a:lnTo>
                    <a:pt x="238294" y="144220"/>
                  </a:lnTo>
                  <a:lnTo>
                    <a:pt x="240855" y="141304"/>
                  </a:lnTo>
                  <a:lnTo>
                    <a:pt x="240188" y="140497"/>
                  </a:lnTo>
                  <a:lnTo>
                    <a:pt x="236340" y="141552"/>
                  </a:lnTo>
                  <a:lnTo>
                    <a:pt x="233392" y="140455"/>
                  </a:lnTo>
                  <a:lnTo>
                    <a:pt x="231065" y="138262"/>
                  </a:lnTo>
                  <a:lnTo>
                    <a:pt x="230399" y="136255"/>
                  </a:lnTo>
                  <a:lnTo>
                    <a:pt x="231846" y="134270"/>
                  </a:lnTo>
                  <a:lnTo>
                    <a:pt x="233211" y="133270"/>
                  </a:lnTo>
                  <a:lnTo>
                    <a:pt x="232285" y="132104"/>
                  </a:lnTo>
                  <a:lnTo>
                    <a:pt x="226467" y="135229"/>
                  </a:lnTo>
                  <a:lnTo>
                    <a:pt x="222352" y="135955"/>
                  </a:lnTo>
                  <a:lnTo>
                    <a:pt x="220730" y="135518"/>
                  </a:lnTo>
                  <a:lnTo>
                    <a:pt x="221609" y="132687"/>
                  </a:lnTo>
                  <a:lnTo>
                    <a:pt x="221119" y="130438"/>
                  </a:lnTo>
                  <a:lnTo>
                    <a:pt x="226636" y="124888"/>
                  </a:lnTo>
                  <a:lnTo>
                    <a:pt x="228534" y="124245"/>
                  </a:lnTo>
                  <a:lnTo>
                    <a:pt x="231632" y="124691"/>
                  </a:lnTo>
                  <a:lnTo>
                    <a:pt x="234429" y="126259"/>
                  </a:lnTo>
                  <a:lnTo>
                    <a:pt x="236768" y="126009"/>
                  </a:lnTo>
                  <a:lnTo>
                    <a:pt x="239305" y="125172"/>
                  </a:lnTo>
                  <a:lnTo>
                    <a:pt x="238959" y="123668"/>
                  </a:lnTo>
                  <a:lnTo>
                    <a:pt x="233457" y="123071"/>
                  </a:lnTo>
                  <a:lnTo>
                    <a:pt x="232041" y="121822"/>
                  </a:lnTo>
                  <a:lnTo>
                    <a:pt x="232552" y="120595"/>
                  </a:lnTo>
                  <a:lnTo>
                    <a:pt x="236329" y="119298"/>
                  </a:lnTo>
                  <a:lnTo>
                    <a:pt x="240085" y="116955"/>
                  </a:lnTo>
                  <a:lnTo>
                    <a:pt x="244388" y="116276"/>
                  </a:lnTo>
                  <a:lnTo>
                    <a:pt x="247852" y="114501"/>
                  </a:lnTo>
                  <a:lnTo>
                    <a:pt x="248519" y="114904"/>
                  </a:lnTo>
                  <a:lnTo>
                    <a:pt x="249104" y="115600"/>
                  </a:lnTo>
                  <a:lnTo>
                    <a:pt x="250348" y="122169"/>
                  </a:lnTo>
                  <a:lnTo>
                    <a:pt x="253442" y="127512"/>
                  </a:lnTo>
                  <a:lnTo>
                    <a:pt x="254582" y="127706"/>
                  </a:lnTo>
                  <a:lnTo>
                    <a:pt x="253395" y="123162"/>
                  </a:lnTo>
                  <a:lnTo>
                    <a:pt x="254503" y="121854"/>
                  </a:lnTo>
                  <a:lnTo>
                    <a:pt x="255906" y="120859"/>
                  </a:lnTo>
                  <a:lnTo>
                    <a:pt x="256344" y="119726"/>
                  </a:lnTo>
                  <a:lnTo>
                    <a:pt x="254736" y="119339"/>
                  </a:lnTo>
                  <a:lnTo>
                    <a:pt x="253421" y="117711"/>
                  </a:lnTo>
                  <a:lnTo>
                    <a:pt x="251542" y="112496"/>
                  </a:lnTo>
                  <a:lnTo>
                    <a:pt x="252183" y="111139"/>
                  </a:lnTo>
                  <a:lnTo>
                    <a:pt x="256254" y="108355"/>
                  </a:lnTo>
                  <a:lnTo>
                    <a:pt x="261361" y="107713"/>
                  </a:lnTo>
                  <a:lnTo>
                    <a:pt x="266802" y="109666"/>
                  </a:lnTo>
                  <a:lnTo>
                    <a:pt x="268713" y="109688"/>
                  </a:lnTo>
                  <a:lnTo>
                    <a:pt x="271868" y="109164"/>
                  </a:lnTo>
                  <a:lnTo>
                    <a:pt x="277221" y="107558"/>
                  </a:lnTo>
                  <a:lnTo>
                    <a:pt x="280370" y="106947"/>
                  </a:lnTo>
                  <a:lnTo>
                    <a:pt x="282013" y="106949"/>
                  </a:lnTo>
                  <a:lnTo>
                    <a:pt x="282419" y="106137"/>
                  </a:lnTo>
                  <a:lnTo>
                    <a:pt x="280897" y="105615"/>
                  </a:lnTo>
                  <a:lnTo>
                    <a:pt x="280406" y="105107"/>
                  </a:lnTo>
                  <a:lnTo>
                    <a:pt x="279212" y="104815"/>
                  </a:lnTo>
                  <a:lnTo>
                    <a:pt x="274263" y="105684"/>
                  </a:lnTo>
                  <a:lnTo>
                    <a:pt x="260609" y="105409"/>
                  </a:lnTo>
                  <a:lnTo>
                    <a:pt x="259292" y="104480"/>
                  </a:lnTo>
                  <a:lnTo>
                    <a:pt x="259050" y="102872"/>
                  </a:lnTo>
                  <a:lnTo>
                    <a:pt x="260499" y="100564"/>
                  </a:lnTo>
                  <a:lnTo>
                    <a:pt x="262091" y="99291"/>
                  </a:lnTo>
                  <a:lnTo>
                    <a:pt x="267239" y="96997"/>
                  </a:lnTo>
                  <a:lnTo>
                    <a:pt x="272689" y="96687"/>
                  </a:lnTo>
                  <a:lnTo>
                    <a:pt x="278431" y="92605"/>
                  </a:lnTo>
                  <a:lnTo>
                    <a:pt x="280625" y="89538"/>
                  </a:lnTo>
                  <a:lnTo>
                    <a:pt x="281868" y="84803"/>
                  </a:lnTo>
                  <a:lnTo>
                    <a:pt x="285369" y="80966"/>
                  </a:lnTo>
                  <a:lnTo>
                    <a:pt x="294144" y="78781"/>
                  </a:lnTo>
                  <a:lnTo>
                    <a:pt x="294499" y="77813"/>
                  </a:lnTo>
                  <a:lnTo>
                    <a:pt x="293568" y="75813"/>
                  </a:lnTo>
                  <a:lnTo>
                    <a:pt x="293641" y="72204"/>
                  </a:lnTo>
                  <a:lnTo>
                    <a:pt x="296047" y="67992"/>
                  </a:lnTo>
                  <a:lnTo>
                    <a:pt x="297645" y="66526"/>
                  </a:lnTo>
                  <a:lnTo>
                    <a:pt x="298383" y="66350"/>
                  </a:lnTo>
                  <a:lnTo>
                    <a:pt x="300275" y="67729"/>
                  </a:lnTo>
                  <a:lnTo>
                    <a:pt x="302573" y="70659"/>
                  </a:lnTo>
                  <a:lnTo>
                    <a:pt x="306175" y="72335"/>
                  </a:lnTo>
                  <a:lnTo>
                    <a:pt x="310895" y="72624"/>
                  </a:lnTo>
                  <a:lnTo>
                    <a:pt x="312154" y="71800"/>
                  </a:lnTo>
                  <a:lnTo>
                    <a:pt x="308485" y="70129"/>
                  </a:lnTo>
                  <a:lnTo>
                    <a:pt x="305708" y="67943"/>
                  </a:lnTo>
                  <a:lnTo>
                    <a:pt x="305488" y="65745"/>
                  </a:lnTo>
                  <a:lnTo>
                    <a:pt x="306805" y="64579"/>
                  </a:lnTo>
                  <a:lnTo>
                    <a:pt x="308852" y="64709"/>
                  </a:lnTo>
                  <a:lnTo>
                    <a:pt x="311422" y="64462"/>
                  </a:lnTo>
                  <a:lnTo>
                    <a:pt x="313816" y="62982"/>
                  </a:lnTo>
                  <a:lnTo>
                    <a:pt x="314164" y="61941"/>
                  </a:lnTo>
                  <a:lnTo>
                    <a:pt x="314264" y="60527"/>
                  </a:lnTo>
                  <a:lnTo>
                    <a:pt x="314862" y="59088"/>
                  </a:lnTo>
                  <a:lnTo>
                    <a:pt x="318375" y="55651"/>
                  </a:lnTo>
                  <a:lnTo>
                    <a:pt x="329204" y="53412"/>
                  </a:lnTo>
                  <a:lnTo>
                    <a:pt x="329988" y="54321"/>
                  </a:lnTo>
                  <a:lnTo>
                    <a:pt x="329403" y="60951"/>
                  </a:lnTo>
                  <a:lnTo>
                    <a:pt x="328159" y="65227"/>
                  </a:lnTo>
                  <a:lnTo>
                    <a:pt x="328198" y="68347"/>
                  </a:lnTo>
                  <a:lnTo>
                    <a:pt x="330306" y="65227"/>
                  </a:lnTo>
                  <a:lnTo>
                    <a:pt x="333132" y="56663"/>
                  </a:lnTo>
                  <a:lnTo>
                    <a:pt x="335253" y="52629"/>
                  </a:lnTo>
                  <a:lnTo>
                    <a:pt x="337650" y="50309"/>
                  </a:lnTo>
                  <a:lnTo>
                    <a:pt x="339362" y="49785"/>
                  </a:lnTo>
                  <a:lnTo>
                    <a:pt x="341057" y="48583"/>
                  </a:lnTo>
                  <a:lnTo>
                    <a:pt x="343295" y="47867"/>
                  </a:lnTo>
                  <a:lnTo>
                    <a:pt x="343979" y="48791"/>
                  </a:lnTo>
                  <a:lnTo>
                    <a:pt x="344687" y="50933"/>
                  </a:lnTo>
                  <a:lnTo>
                    <a:pt x="343482" y="58438"/>
                  </a:lnTo>
                  <a:lnTo>
                    <a:pt x="343603" y="60805"/>
                  </a:lnTo>
                  <a:lnTo>
                    <a:pt x="342253" y="63973"/>
                  </a:lnTo>
                  <a:lnTo>
                    <a:pt x="337093" y="71017"/>
                  </a:lnTo>
                  <a:lnTo>
                    <a:pt x="337330" y="71914"/>
                  </a:lnTo>
                  <a:lnTo>
                    <a:pt x="338496" y="71581"/>
                  </a:lnTo>
                  <a:lnTo>
                    <a:pt x="340496" y="70420"/>
                  </a:lnTo>
                  <a:lnTo>
                    <a:pt x="346888" y="63728"/>
                  </a:lnTo>
                  <a:lnTo>
                    <a:pt x="352476" y="64573"/>
                  </a:lnTo>
                  <a:lnTo>
                    <a:pt x="352545" y="64024"/>
                  </a:lnTo>
                  <a:lnTo>
                    <a:pt x="350753" y="62058"/>
                  </a:lnTo>
                  <a:lnTo>
                    <a:pt x="348563" y="60171"/>
                  </a:lnTo>
                  <a:lnTo>
                    <a:pt x="347905" y="57833"/>
                  </a:lnTo>
                  <a:lnTo>
                    <a:pt x="348198" y="51586"/>
                  </a:lnTo>
                  <a:lnTo>
                    <a:pt x="349881" y="49107"/>
                  </a:lnTo>
                  <a:lnTo>
                    <a:pt x="354707" y="49367"/>
                  </a:lnTo>
                  <a:lnTo>
                    <a:pt x="357598" y="49024"/>
                  </a:lnTo>
                  <a:lnTo>
                    <a:pt x="358948" y="50151"/>
                  </a:lnTo>
                  <a:lnTo>
                    <a:pt x="361843" y="50070"/>
                  </a:lnTo>
                  <a:lnTo>
                    <a:pt x="363848" y="45579"/>
                  </a:lnTo>
                  <a:lnTo>
                    <a:pt x="367810" y="45185"/>
                  </a:lnTo>
                  <a:lnTo>
                    <a:pt x="371289" y="48155"/>
                  </a:lnTo>
                  <a:lnTo>
                    <a:pt x="375476" y="50151"/>
                  </a:lnTo>
                  <a:lnTo>
                    <a:pt x="378840" y="53019"/>
                  </a:lnTo>
                  <a:lnTo>
                    <a:pt x="379790" y="52236"/>
                  </a:lnTo>
                  <a:lnTo>
                    <a:pt x="377974" y="45538"/>
                  </a:lnTo>
                  <a:lnTo>
                    <a:pt x="375987" y="43092"/>
                  </a:lnTo>
                  <a:lnTo>
                    <a:pt x="371677" y="41819"/>
                  </a:lnTo>
                  <a:lnTo>
                    <a:pt x="367091" y="38795"/>
                  </a:lnTo>
                  <a:lnTo>
                    <a:pt x="365895" y="37453"/>
                  </a:lnTo>
                  <a:lnTo>
                    <a:pt x="366104" y="36454"/>
                  </a:lnTo>
                  <a:lnTo>
                    <a:pt x="370151" y="35490"/>
                  </a:lnTo>
                  <a:lnTo>
                    <a:pt x="375491" y="36594"/>
                  </a:lnTo>
                  <a:lnTo>
                    <a:pt x="380250" y="34070"/>
                  </a:lnTo>
                  <a:lnTo>
                    <a:pt x="381552" y="34762"/>
                  </a:lnTo>
                  <a:lnTo>
                    <a:pt x="385202" y="33441"/>
                  </a:lnTo>
                  <a:lnTo>
                    <a:pt x="387469" y="35218"/>
                  </a:lnTo>
                  <a:lnTo>
                    <a:pt x="388857" y="34692"/>
                  </a:lnTo>
                  <a:lnTo>
                    <a:pt x="389663" y="32309"/>
                  </a:lnTo>
                  <a:lnTo>
                    <a:pt x="395487" y="30829"/>
                  </a:lnTo>
                  <a:lnTo>
                    <a:pt x="399181" y="32195"/>
                  </a:lnTo>
                  <a:lnTo>
                    <a:pt x="401162" y="33608"/>
                  </a:lnTo>
                  <a:lnTo>
                    <a:pt x="402082" y="36320"/>
                  </a:lnTo>
                  <a:lnTo>
                    <a:pt x="403489" y="41674"/>
                  </a:lnTo>
                  <a:lnTo>
                    <a:pt x="406374" y="44557"/>
                  </a:lnTo>
                  <a:lnTo>
                    <a:pt x="408165" y="45971"/>
                  </a:lnTo>
                  <a:lnTo>
                    <a:pt x="410287" y="46362"/>
                  </a:lnTo>
                  <a:lnTo>
                    <a:pt x="411311" y="44924"/>
                  </a:lnTo>
                  <a:lnTo>
                    <a:pt x="409322" y="43190"/>
                  </a:lnTo>
                  <a:lnTo>
                    <a:pt x="408786" y="41556"/>
                  </a:lnTo>
                  <a:lnTo>
                    <a:pt x="409739" y="37494"/>
                  </a:lnTo>
                  <a:lnTo>
                    <a:pt x="410851" y="35896"/>
                  </a:lnTo>
                  <a:lnTo>
                    <a:pt x="417083" y="29833"/>
                  </a:lnTo>
                  <a:lnTo>
                    <a:pt x="422300" y="26680"/>
                  </a:lnTo>
                  <a:lnTo>
                    <a:pt x="425424" y="26417"/>
                  </a:lnTo>
                  <a:lnTo>
                    <a:pt x="430888" y="19331"/>
                  </a:lnTo>
                  <a:lnTo>
                    <a:pt x="432436" y="18040"/>
                  </a:lnTo>
                  <a:lnTo>
                    <a:pt x="433861" y="17743"/>
                  </a:lnTo>
                  <a:lnTo>
                    <a:pt x="433496" y="16004"/>
                  </a:lnTo>
                  <a:lnTo>
                    <a:pt x="430503" y="14903"/>
                  </a:lnTo>
                  <a:lnTo>
                    <a:pt x="430400" y="12748"/>
                  </a:lnTo>
                  <a:lnTo>
                    <a:pt x="434343" y="10121"/>
                  </a:lnTo>
                  <a:lnTo>
                    <a:pt x="439124" y="5706"/>
                  </a:lnTo>
                  <a:lnTo>
                    <a:pt x="441484" y="5406"/>
                  </a:lnTo>
                  <a:lnTo>
                    <a:pt x="442963" y="6634"/>
                  </a:lnTo>
                  <a:lnTo>
                    <a:pt x="447619" y="8627"/>
                  </a:lnTo>
                  <a:lnTo>
                    <a:pt x="450471" y="10908"/>
                  </a:lnTo>
                  <a:lnTo>
                    <a:pt x="452538" y="12056"/>
                  </a:lnTo>
                  <a:lnTo>
                    <a:pt x="453881" y="11818"/>
                  </a:lnTo>
                  <a:lnTo>
                    <a:pt x="454991" y="10105"/>
                  </a:lnTo>
                  <a:lnTo>
                    <a:pt x="456325" y="9303"/>
                  </a:lnTo>
                  <a:lnTo>
                    <a:pt x="459286" y="9753"/>
                  </a:lnTo>
                  <a:lnTo>
                    <a:pt x="461052" y="10855"/>
                  </a:lnTo>
                  <a:lnTo>
                    <a:pt x="462428" y="11000"/>
                  </a:lnTo>
                  <a:lnTo>
                    <a:pt x="463672" y="11667"/>
                  </a:lnTo>
                  <a:lnTo>
                    <a:pt x="463965" y="13131"/>
                  </a:lnTo>
                  <a:lnTo>
                    <a:pt x="461404" y="14725"/>
                  </a:lnTo>
                  <a:lnTo>
                    <a:pt x="457040" y="18947"/>
                  </a:lnTo>
                  <a:lnTo>
                    <a:pt x="452734" y="23737"/>
                  </a:lnTo>
                  <a:lnTo>
                    <a:pt x="451314" y="26255"/>
                  </a:lnTo>
                  <a:lnTo>
                    <a:pt x="449923" y="32850"/>
                  </a:lnTo>
                  <a:lnTo>
                    <a:pt x="446558" y="37058"/>
                  </a:lnTo>
                  <a:lnTo>
                    <a:pt x="446304" y="40003"/>
                  </a:lnTo>
                  <a:lnTo>
                    <a:pt x="447655" y="41390"/>
                  </a:lnTo>
                  <a:lnTo>
                    <a:pt x="451369" y="40302"/>
                  </a:lnTo>
                  <a:lnTo>
                    <a:pt x="455947" y="36371"/>
                  </a:lnTo>
                  <a:lnTo>
                    <a:pt x="457090" y="32191"/>
                  </a:lnTo>
                  <a:lnTo>
                    <a:pt x="468535" y="20815"/>
                  </a:lnTo>
                  <a:lnTo>
                    <a:pt x="473903" y="14505"/>
                  </a:lnTo>
                  <a:lnTo>
                    <a:pt x="480007" y="9265"/>
                  </a:lnTo>
                  <a:lnTo>
                    <a:pt x="483421" y="8179"/>
                  </a:lnTo>
                  <a:lnTo>
                    <a:pt x="485028" y="11651"/>
                  </a:lnTo>
                  <a:lnTo>
                    <a:pt x="483734" y="16179"/>
                  </a:lnTo>
                  <a:lnTo>
                    <a:pt x="481141" y="19061"/>
                  </a:lnTo>
                  <a:lnTo>
                    <a:pt x="483052" y="20380"/>
                  </a:lnTo>
                  <a:lnTo>
                    <a:pt x="482687" y="23797"/>
                  </a:lnTo>
                  <a:lnTo>
                    <a:pt x="482091" y="25693"/>
                  </a:lnTo>
                  <a:lnTo>
                    <a:pt x="481711" y="27676"/>
                  </a:lnTo>
                  <a:lnTo>
                    <a:pt x="481735" y="29424"/>
                  </a:lnTo>
                  <a:lnTo>
                    <a:pt x="483527" y="28958"/>
                  </a:lnTo>
                  <a:lnTo>
                    <a:pt x="490675" y="25377"/>
                  </a:lnTo>
                  <a:lnTo>
                    <a:pt x="492486" y="21493"/>
                  </a:lnTo>
                  <a:lnTo>
                    <a:pt x="494166" y="18577"/>
                  </a:lnTo>
                  <a:lnTo>
                    <a:pt x="494972" y="16055"/>
                  </a:lnTo>
                  <a:lnTo>
                    <a:pt x="497751" y="13663"/>
                  </a:lnTo>
                  <a:lnTo>
                    <a:pt x="502994" y="13645"/>
                  </a:lnTo>
                  <a:lnTo>
                    <a:pt x="503197" y="12704"/>
                  </a:lnTo>
                  <a:lnTo>
                    <a:pt x="496859" y="9377"/>
                  </a:lnTo>
                  <a:lnTo>
                    <a:pt x="496112" y="7877"/>
                  </a:lnTo>
                  <a:lnTo>
                    <a:pt x="498243" y="5879"/>
                  </a:lnTo>
                  <a:close/>
                  <a:moveTo>
                    <a:pt x="459651" y="0"/>
                  </a:moveTo>
                  <a:lnTo>
                    <a:pt x="465559" y="1548"/>
                  </a:lnTo>
                  <a:lnTo>
                    <a:pt x="467582" y="1516"/>
                  </a:lnTo>
                  <a:lnTo>
                    <a:pt x="470515" y="4407"/>
                  </a:lnTo>
                  <a:lnTo>
                    <a:pt x="472046" y="4151"/>
                  </a:lnTo>
                  <a:lnTo>
                    <a:pt x="471756" y="5916"/>
                  </a:lnTo>
                  <a:lnTo>
                    <a:pt x="468792" y="6752"/>
                  </a:lnTo>
                  <a:lnTo>
                    <a:pt x="464183" y="7260"/>
                  </a:lnTo>
                  <a:lnTo>
                    <a:pt x="463495" y="7611"/>
                  </a:lnTo>
                  <a:lnTo>
                    <a:pt x="459556" y="7329"/>
                  </a:lnTo>
                  <a:lnTo>
                    <a:pt x="457345" y="4956"/>
                  </a:lnTo>
                  <a:lnTo>
                    <a:pt x="453650" y="4368"/>
                  </a:lnTo>
                  <a:lnTo>
                    <a:pt x="453656" y="3606"/>
                  </a:lnTo>
                  <a:lnTo>
                    <a:pt x="456049" y="180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0" name="ee4p_PL_1_15912">
              <a:extLst>
                <a:ext uri="{FF2B5EF4-FFF2-40B4-BE49-F238E27FC236}">
                  <a16:creationId xmlns:a16="http://schemas.microsoft.com/office/drawing/2014/main" id="{62954A06-F26D-4157-5681-A652656D8291}"/>
                </a:ext>
              </a:extLst>
            </p:cNvPr>
            <p:cNvSpPr>
              <a:spLocks noChangeAspect="1"/>
            </p:cNvSpPr>
            <p:nvPr>
              <p:custDataLst>
                <p:tags r:id="rId52"/>
              </p:custDataLst>
            </p:nvPr>
          </p:nvSpPr>
          <p:spPr>
            <a:xfrm>
              <a:off x="5010188" y="3961215"/>
              <a:ext cx="874577" cy="681812"/>
            </a:xfrm>
            <a:custGeom>
              <a:avLst/>
              <a:gdLst/>
              <a:ahLst/>
              <a:cxnLst/>
              <a:rect l="0" t="0" r="0" b="0"/>
              <a:pathLst>
                <a:path w="220617" h="171991">
                  <a:moveTo>
                    <a:pt x="121082" y="11596"/>
                  </a:moveTo>
                  <a:lnTo>
                    <a:pt x="121963" y="11965"/>
                  </a:lnTo>
                  <a:lnTo>
                    <a:pt x="128156" y="12364"/>
                  </a:lnTo>
                  <a:lnTo>
                    <a:pt x="134433" y="12768"/>
                  </a:lnTo>
                  <a:lnTo>
                    <a:pt x="144528" y="13198"/>
                  </a:lnTo>
                  <a:lnTo>
                    <a:pt x="155049" y="13651"/>
                  </a:lnTo>
                  <a:lnTo>
                    <a:pt x="165965" y="14118"/>
                  </a:lnTo>
                  <a:lnTo>
                    <a:pt x="177778" y="14624"/>
                  </a:lnTo>
                  <a:lnTo>
                    <a:pt x="190236" y="14922"/>
                  </a:lnTo>
                  <a:lnTo>
                    <a:pt x="190996" y="14718"/>
                  </a:lnTo>
                  <a:lnTo>
                    <a:pt x="192268" y="13529"/>
                  </a:lnTo>
                  <a:lnTo>
                    <a:pt x="193821" y="13690"/>
                  </a:lnTo>
                  <a:lnTo>
                    <a:pt x="195652" y="14427"/>
                  </a:lnTo>
                  <a:lnTo>
                    <a:pt x="196509" y="14976"/>
                  </a:lnTo>
                  <a:lnTo>
                    <a:pt x="196872" y="15599"/>
                  </a:lnTo>
                  <a:lnTo>
                    <a:pt x="197098" y="16320"/>
                  </a:lnTo>
                  <a:lnTo>
                    <a:pt x="198100" y="16464"/>
                  </a:lnTo>
                  <a:lnTo>
                    <a:pt x="199931" y="17013"/>
                  </a:lnTo>
                  <a:lnTo>
                    <a:pt x="202408" y="18265"/>
                  </a:lnTo>
                  <a:lnTo>
                    <a:pt x="204349" y="19477"/>
                  </a:lnTo>
                  <a:lnTo>
                    <a:pt x="206196" y="21210"/>
                  </a:lnTo>
                  <a:lnTo>
                    <a:pt x="206809" y="23168"/>
                  </a:lnTo>
                  <a:lnTo>
                    <a:pt x="206846" y="25385"/>
                  </a:lnTo>
                  <a:lnTo>
                    <a:pt x="206727" y="26811"/>
                  </a:lnTo>
                  <a:lnTo>
                    <a:pt x="206883" y="27391"/>
                  </a:lnTo>
                  <a:lnTo>
                    <a:pt x="209409" y="37691"/>
                  </a:lnTo>
                  <a:lnTo>
                    <a:pt x="213618" y="47576"/>
                  </a:lnTo>
                  <a:lnTo>
                    <a:pt x="215164" y="52344"/>
                  </a:lnTo>
                  <a:lnTo>
                    <a:pt x="215781" y="54879"/>
                  </a:lnTo>
                  <a:lnTo>
                    <a:pt x="216274" y="58550"/>
                  </a:lnTo>
                  <a:lnTo>
                    <a:pt x="216427" y="61124"/>
                  </a:lnTo>
                  <a:lnTo>
                    <a:pt x="216408" y="62573"/>
                  </a:lnTo>
                  <a:lnTo>
                    <a:pt x="216094" y="64562"/>
                  </a:lnTo>
                  <a:lnTo>
                    <a:pt x="214844" y="65737"/>
                  </a:lnTo>
                  <a:lnTo>
                    <a:pt x="206770" y="69093"/>
                  </a:lnTo>
                  <a:lnTo>
                    <a:pt x="205252" y="70145"/>
                  </a:lnTo>
                  <a:lnTo>
                    <a:pt x="202872" y="72758"/>
                  </a:lnTo>
                  <a:lnTo>
                    <a:pt x="200679" y="75446"/>
                  </a:lnTo>
                  <a:lnTo>
                    <a:pt x="200173" y="76364"/>
                  </a:lnTo>
                  <a:lnTo>
                    <a:pt x="200037" y="76968"/>
                  </a:lnTo>
                  <a:lnTo>
                    <a:pt x="200521" y="77849"/>
                  </a:lnTo>
                  <a:lnTo>
                    <a:pt x="203399" y="79287"/>
                  </a:lnTo>
                  <a:lnTo>
                    <a:pt x="206302" y="80441"/>
                  </a:lnTo>
                  <a:lnTo>
                    <a:pt x="207247" y="81304"/>
                  </a:lnTo>
                  <a:lnTo>
                    <a:pt x="209388" y="82409"/>
                  </a:lnTo>
                  <a:lnTo>
                    <a:pt x="210169" y="83400"/>
                  </a:lnTo>
                  <a:lnTo>
                    <a:pt x="210592" y="84264"/>
                  </a:lnTo>
                  <a:lnTo>
                    <a:pt x="210562" y="86257"/>
                  </a:lnTo>
                  <a:lnTo>
                    <a:pt x="209597" y="89011"/>
                  </a:lnTo>
                  <a:lnTo>
                    <a:pt x="210001" y="91090"/>
                  </a:lnTo>
                  <a:lnTo>
                    <a:pt x="209020" y="92474"/>
                  </a:lnTo>
                  <a:lnTo>
                    <a:pt x="208213" y="94011"/>
                  </a:lnTo>
                  <a:lnTo>
                    <a:pt x="208098" y="96701"/>
                  </a:lnTo>
                  <a:lnTo>
                    <a:pt x="209550" y="99671"/>
                  </a:lnTo>
                  <a:lnTo>
                    <a:pt x="210735" y="101697"/>
                  </a:lnTo>
                  <a:lnTo>
                    <a:pt x="211195" y="103284"/>
                  </a:lnTo>
                  <a:lnTo>
                    <a:pt x="210707" y="104529"/>
                  </a:lnTo>
                  <a:lnTo>
                    <a:pt x="210858" y="105774"/>
                  </a:lnTo>
                  <a:lnTo>
                    <a:pt x="211914" y="107090"/>
                  </a:lnTo>
                  <a:lnTo>
                    <a:pt x="215259" y="111158"/>
                  </a:lnTo>
                  <a:lnTo>
                    <a:pt x="216909" y="115066"/>
                  </a:lnTo>
                  <a:lnTo>
                    <a:pt x="217963" y="116587"/>
                  </a:lnTo>
                  <a:lnTo>
                    <a:pt x="220396" y="118562"/>
                  </a:lnTo>
                  <a:lnTo>
                    <a:pt x="220616" y="119372"/>
                  </a:lnTo>
                  <a:lnTo>
                    <a:pt x="219640" y="120114"/>
                  </a:lnTo>
                  <a:lnTo>
                    <a:pt x="218852" y="120212"/>
                  </a:lnTo>
                  <a:lnTo>
                    <a:pt x="218213" y="120409"/>
                  </a:lnTo>
                  <a:lnTo>
                    <a:pt x="217801" y="121102"/>
                  </a:lnTo>
                  <a:lnTo>
                    <a:pt x="218440" y="121843"/>
                  </a:lnTo>
                  <a:lnTo>
                    <a:pt x="219301" y="122931"/>
                  </a:lnTo>
                  <a:lnTo>
                    <a:pt x="220372" y="126008"/>
                  </a:lnTo>
                  <a:lnTo>
                    <a:pt x="220266" y="128524"/>
                  </a:lnTo>
                  <a:lnTo>
                    <a:pt x="219442" y="129164"/>
                  </a:lnTo>
                  <a:lnTo>
                    <a:pt x="218388" y="130656"/>
                  </a:lnTo>
                  <a:lnTo>
                    <a:pt x="217673" y="132019"/>
                  </a:lnTo>
                  <a:lnTo>
                    <a:pt x="211903" y="132968"/>
                  </a:lnTo>
                  <a:lnTo>
                    <a:pt x="210517" y="134426"/>
                  </a:lnTo>
                  <a:lnTo>
                    <a:pt x="207358" y="137241"/>
                  </a:lnTo>
                  <a:lnTo>
                    <a:pt x="205201" y="138859"/>
                  </a:lnTo>
                  <a:lnTo>
                    <a:pt x="202013" y="141780"/>
                  </a:lnTo>
                  <a:lnTo>
                    <a:pt x="196969" y="146796"/>
                  </a:lnTo>
                  <a:lnTo>
                    <a:pt x="195110" y="148891"/>
                  </a:lnTo>
                  <a:lnTo>
                    <a:pt x="193749" y="150622"/>
                  </a:lnTo>
                  <a:lnTo>
                    <a:pt x="189668" y="155225"/>
                  </a:lnTo>
                  <a:lnTo>
                    <a:pt x="188413" y="157155"/>
                  </a:lnTo>
                  <a:lnTo>
                    <a:pt x="188662" y="158743"/>
                  </a:lnTo>
                  <a:lnTo>
                    <a:pt x="189972" y="162467"/>
                  </a:lnTo>
                  <a:lnTo>
                    <a:pt x="190249" y="164146"/>
                  </a:lnTo>
                  <a:lnTo>
                    <a:pt x="190018" y="165698"/>
                  </a:lnTo>
                  <a:lnTo>
                    <a:pt x="189584" y="167078"/>
                  </a:lnTo>
                  <a:lnTo>
                    <a:pt x="189657" y="167693"/>
                  </a:lnTo>
                  <a:lnTo>
                    <a:pt x="190862" y="168693"/>
                  </a:lnTo>
                  <a:lnTo>
                    <a:pt x="192784" y="170263"/>
                  </a:lnTo>
                  <a:lnTo>
                    <a:pt x="192894" y="170792"/>
                  </a:lnTo>
                  <a:lnTo>
                    <a:pt x="192622" y="171472"/>
                  </a:lnTo>
                  <a:lnTo>
                    <a:pt x="191959" y="171990"/>
                  </a:lnTo>
                  <a:lnTo>
                    <a:pt x="189560" y="171443"/>
                  </a:lnTo>
                  <a:lnTo>
                    <a:pt x="186878" y="170379"/>
                  </a:lnTo>
                  <a:lnTo>
                    <a:pt x="185965" y="170507"/>
                  </a:lnTo>
                  <a:lnTo>
                    <a:pt x="184513" y="170262"/>
                  </a:lnTo>
                  <a:lnTo>
                    <a:pt x="178532" y="168207"/>
                  </a:lnTo>
                  <a:lnTo>
                    <a:pt x="174498" y="166597"/>
                  </a:lnTo>
                  <a:lnTo>
                    <a:pt x="174101" y="165551"/>
                  </a:lnTo>
                  <a:lnTo>
                    <a:pt x="173339" y="164034"/>
                  </a:lnTo>
                  <a:lnTo>
                    <a:pt x="171624" y="162763"/>
                  </a:lnTo>
                  <a:lnTo>
                    <a:pt x="167688" y="161661"/>
                  </a:lnTo>
                  <a:lnTo>
                    <a:pt x="166085" y="160800"/>
                  </a:lnTo>
                  <a:lnTo>
                    <a:pt x="159691" y="160319"/>
                  </a:lnTo>
                  <a:lnTo>
                    <a:pt x="156917" y="160299"/>
                  </a:lnTo>
                  <a:lnTo>
                    <a:pt x="154952" y="160655"/>
                  </a:lnTo>
                  <a:lnTo>
                    <a:pt x="153697" y="160619"/>
                  </a:lnTo>
                  <a:lnTo>
                    <a:pt x="151967" y="162867"/>
                  </a:lnTo>
                  <a:lnTo>
                    <a:pt x="150775" y="163518"/>
                  </a:lnTo>
                  <a:lnTo>
                    <a:pt x="149033" y="163587"/>
                  </a:lnTo>
                  <a:lnTo>
                    <a:pt x="147508" y="163187"/>
                  </a:lnTo>
                  <a:lnTo>
                    <a:pt x="145949" y="162005"/>
                  </a:lnTo>
                  <a:lnTo>
                    <a:pt x="143453" y="161381"/>
                  </a:lnTo>
                  <a:lnTo>
                    <a:pt x="141650" y="161682"/>
                  </a:lnTo>
                  <a:lnTo>
                    <a:pt x="140322" y="161424"/>
                  </a:lnTo>
                  <a:lnTo>
                    <a:pt x="139175" y="161363"/>
                  </a:lnTo>
                  <a:lnTo>
                    <a:pt x="138778" y="161599"/>
                  </a:lnTo>
                  <a:lnTo>
                    <a:pt x="137856" y="161566"/>
                  </a:lnTo>
                  <a:lnTo>
                    <a:pt x="136519" y="162131"/>
                  </a:lnTo>
                  <a:lnTo>
                    <a:pt x="135059" y="162930"/>
                  </a:lnTo>
                  <a:lnTo>
                    <a:pt x="133448" y="163538"/>
                  </a:lnTo>
                  <a:lnTo>
                    <a:pt x="132209" y="164845"/>
                  </a:lnTo>
                  <a:lnTo>
                    <a:pt x="131103" y="167404"/>
                  </a:lnTo>
                  <a:lnTo>
                    <a:pt x="127974" y="166258"/>
                  </a:lnTo>
                  <a:lnTo>
                    <a:pt x="126931" y="166755"/>
                  </a:lnTo>
                  <a:lnTo>
                    <a:pt x="125457" y="167089"/>
                  </a:lnTo>
                  <a:lnTo>
                    <a:pt x="124448" y="166744"/>
                  </a:lnTo>
                  <a:lnTo>
                    <a:pt x="124686" y="165862"/>
                  </a:lnTo>
                  <a:lnTo>
                    <a:pt x="125141" y="164868"/>
                  </a:lnTo>
                  <a:lnTo>
                    <a:pt x="125120" y="163477"/>
                  </a:lnTo>
                  <a:lnTo>
                    <a:pt x="124830" y="161941"/>
                  </a:lnTo>
                  <a:lnTo>
                    <a:pt x="123861" y="161441"/>
                  </a:lnTo>
                  <a:lnTo>
                    <a:pt x="122403" y="161257"/>
                  </a:lnTo>
                  <a:lnTo>
                    <a:pt x="121654" y="160953"/>
                  </a:lnTo>
                  <a:lnTo>
                    <a:pt x="121574" y="160445"/>
                  </a:lnTo>
                  <a:lnTo>
                    <a:pt x="120831" y="159792"/>
                  </a:lnTo>
                  <a:lnTo>
                    <a:pt x="119542" y="158138"/>
                  </a:lnTo>
                  <a:lnTo>
                    <a:pt x="118324" y="156082"/>
                  </a:lnTo>
                  <a:lnTo>
                    <a:pt x="117482" y="155469"/>
                  </a:lnTo>
                  <a:lnTo>
                    <a:pt x="116258" y="156448"/>
                  </a:lnTo>
                  <a:lnTo>
                    <a:pt x="114403" y="157561"/>
                  </a:lnTo>
                  <a:lnTo>
                    <a:pt x="113250" y="157947"/>
                  </a:lnTo>
                  <a:lnTo>
                    <a:pt x="111021" y="161143"/>
                  </a:lnTo>
                  <a:lnTo>
                    <a:pt x="107017" y="161251"/>
                  </a:lnTo>
                  <a:lnTo>
                    <a:pt x="106771" y="159759"/>
                  </a:lnTo>
                  <a:lnTo>
                    <a:pt x="106350" y="158324"/>
                  </a:lnTo>
                  <a:lnTo>
                    <a:pt x="104007" y="157965"/>
                  </a:lnTo>
                  <a:lnTo>
                    <a:pt x="103942" y="157123"/>
                  </a:lnTo>
                  <a:lnTo>
                    <a:pt x="103448" y="155009"/>
                  </a:lnTo>
                  <a:lnTo>
                    <a:pt x="98754" y="150865"/>
                  </a:lnTo>
                  <a:lnTo>
                    <a:pt x="98183" y="149134"/>
                  </a:lnTo>
                  <a:lnTo>
                    <a:pt x="98367" y="148466"/>
                  </a:lnTo>
                  <a:lnTo>
                    <a:pt x="98041" y="147364"/>
                  </a:lnTo>
                  <a:lnTo>
                    <a:pt x="97020" y="146700"/>
                  </a:lnTo>
                  <a:lnTo>
                    <a:pt x="93310" y="145909"/>
                  </a:lnTo>
                  <a:lnTo>
                    <a:pt x="92355" y="146364"/>
                  </a:lnTo>
                  <a:lnTo>
                    <a:pt x="91494" y="145896"/>
                  </a:lnTo>
                  <a:lnTo>
                    <a:pt x="90144" y="144902"/>
                  </a:lnTo>
                  <a:lnTo>
                    <a:pt x="87799" y="144093"/>
                  </a:lnTo>
                  <a:lnTo>
                    <a:pt x="87544" y="143674"/>
                  </a:lnTo>
                  <a:lnTo>
                    <a:pt x="86700" y="142962"/>
                  </a:lnTo>
                  <a:lnTo>
                    <a:pt x="86231" y="142866"/>
                  </a:lnTo>
                  <a:lnTo>
                    <a:pt x="85929" y="143299"/>
                  </a:lnTo>
                  <a:lnTo>
                    <a:pt x="85247" y="143911"/>
                  </a:lnTo>
                  <a:lnTo>
                    <a:pt x="82837" y="144685"/>
                  </a:lnTo>
                  <a:lnTo>
                    <a:pt x="81874" y="144366"/>
                  </a:lnTo>
                  <a:lnTo>
                    <a:pt x="80999" y="143694"/>
                  </a:lnTo>
                  <a:lnTo>
                    <a:pt x="80001" y="142245"/>
                  </a:lnTo>
                  <a:lnTo>
                    <a:pt x="78552" y="140973"/>
                  </a:lnTo>
                  <a:lnTo>
                    <a:pt x="77358" y="140522"/>
                  </a:lnTo>
                  <a:lnTo>
                    <a:pt x="76678" y="139854"/>
                  </a:lnTo>
                  <a:lnTo>
                    <a:pt x="76525" y="139335"/>
                  </a:lnTo>
                  <a:lnTo>
                    <a:pt x="79176" y="138291"/>
                  </a:lnTo>
                  <a:lnTo>
                    <a:pt x="79755" y="137214"/>
                  </a:lnTo>
                  <a:lnTo>
                    <a:pt x="79416" y="135249"/>
                  </a:lnTo>
                  <a:lnTo>
                    <a:pt x="79021" y="135001"/>
                  </a:lnTo>
                  <a:lnTo>
                    <a:pt x="77970" y="135666"/>
                  </a:lnTo>
                  <a:lnTo>
                    <a:pt x="75756" y="136250"/>
                  </a:lnTo>
                  <a:lnTo>
                    <a:pt x="73716" y="136519"/>
                  </a:lnTo>
                  <a:lnTo>
                    <a:pt x="72675" y="136519"/>
                  </a:lnTo>
                  <a:lnTo>
                    <a:pt x="66853" y="132940"/>
                  </a:lnTo>
                  <a:lnTo>
                    <a:pt x="63067" y="131844"/>
                  </a:lnTo>
                  <a:lnTo>
                    <a:pt x="60841" y="131526"/>
                  </a:lnTo>
                  <a:lnTo>
                    <a:pt x="60599" y="131890"/>
                  </a:lnTo>
                  <a:lnTo>
                    <a:pt x="61608" y="133899"/>
                  </a:lnTo>
                  <a:lnTo>
                    <a:pt x="63346" y="136376"/>
                  </a:lnTo>
                  <a:lnTo>
                    <a:pt x="63264" y="137036"/>
                  </a:lnTo>
                  <a:lnTo>
                    <a:pt x="61178" y="138048"/>
                  </a:lnTo>
                  <a:lnTo>
                    <a:pt x="59995" y="138489"/>
                  </a:lnTo>
                  <a:lnTo>
                    <a:pt x="58597" y="139347"/>
                  </a:lnTo>
                  <a:lnTo>
                    <a:pt x="57418" y="140532"/>
                  </a:lnTo>
                  <a:lnTo>
                    <a:pt x="56397" y="141069"/>
                  </a:lnTo>
                  <a:lnTo>
                    <a:pt x="55514" y="140934"/>
                  </a:lnTo>
                  <a:lnTo>
                    <a:pt x="54574" y="140362"/>
                  </a:lnTo>
                  <a:lnTo>
                    <a:pt x="52163" y="136704"/>
                  </a:lnTo>
                  <a:lnTo>
                    <a:pt x="49131" y="133899"/>
                  </a:lnTo>
                  <a:lnTo>
                    <a:pt x="48770" y="133271"/>
                  </a:lnTo>
                  <a:lnTo>
                    <a:pt x="47822" y="133126"/>
                  </a:lnTo>
                  <a:lnTo>
                    <a:pt x="46483" y="132482"/>
                  </a:lnTo>
                  <a:lnTo>
                    <a:pt x="46032" y="131623"/>
                  </a:lnTo>
                  <a:lnTo>
                    <a:pt x="46704" y="130724"/>
                  </a:lnTo>
                  <a:lnTo>
                    <a:pt x="47628" y="129902"/>
                  </a:lnTo>
                  <a:lnTo>
                    <a:pt x="49267" y="129395"/>
                  </a:lnTo>
                  <a:lnTo>
                    <a:pt x="49764" y="128918"/>
                  </a:lnTo>
                  <a:lnTo>
                    <a:pt x="50055" y="128199"/>
                  </a:lnTo>
                  <a:lnTo>
                    <a:pt x="50662" y="127270"/>
                  </a:lnTo>
                  <a:lnTo>
                    <a:pt x="50502" y="126935"/>
                  </a:lnTo>
                  <a:lnTo>
                    <a:pt x="49340" y="125882"/>
                  </a:lnTo>
                  <a:lnTo>
                    <a:pt x="47621" y="124886"/>
                  </a:lnTo>
                  <a:lnTo>
                    <a:pt x="42849" y="125634"/>
                  </a:lnTo>
                  <a:lnTo>
                    <a:pt x="41540" y="126166"/>
                  </a:lnTo>
                  <a:lnTo>
                    <a:pt x="40802" y="125473"/>
                  </a:lnTo>
                  <a:lnTo>
                    <a:pt x="40243" y="124460"/>
                  </a:lnTo>
                  <a:lnTo>
                    <a:pt x="39035" y="124267"/>
                  </a:lnTo>
                  <a:lnTo>
                    <a:pt x="37384" y="123342"/>
                  </a:lnTo>
                  <a:lnTo>
                    <a:pt x="35423" y="122439"/>
                  </a:lnTo>
                  <a:lnTo>
                    <a:pt x="33508" y="122172"/>
                  </a:lnTo>
                  <a:lnTo>
                    <a:pt x="29528" y="120862"/>
                  </a:lnTo>
                  <a:lnTo>
                    <a:pt x="27995" y="120791"/>
                  </a:lnTo>
                  <a:lnTo>
                    <a:pt x="27105" y="120340"/>
                  </a:lnTo>
                  <a:lnTo>
                    <a:pt x="26181" y="119349"/>
                  </a:lnTo>
                  <a:lnTo>
                    <a:pt x="25395" y="118263"/>
                  </a:lnTo>
                  <a:lnTo>
                    <a:pt x="24987" y="116058"/>
                  </a:lnTo>
                  <a:lnTo>
                    <a:pt x="22054" y="115056"/>
                  </a:lnTo>
                  <a:lnTo>
                    <a:pt x="19131" y="114428"/>
                  </a:lnTo>
                  <a:lnTo>
                    <a:pt x="18925" y="114748"/>
                  </a:lnTo>
                  <a:lnTo>
                    <a:pt x="19046" y="116972"/>
                  </a:lnTo>
                  <a:lnTo>
                    <a:pt x="18891" y="118159"/>
                  </a:lnTo>
                  <a:lnTo>
                    <a:pt x="16965" y="118893"/>
                  </a:lnTo>
                  <a:lnTo>
                    <a:pt x="15054" y="118963"/>
                  </a:lnTo>
                  <a:lnTo>
                    <a:pt x="15161" y="118594"/>
                  </a:lnTo>
                  <a:lnTo>
                    <a:pt x="17444" y="114592"/>
                  </a:lnTo>
                  <a:lnTo>
                    <a:pt x="18470" y="112068"/>
                  </a:lnTo>
                  <a:lnTo>
                    <a:pt x="19636" y="107454"/>
                  </a:lnTo>
                  <a:lnTo>
                    <a:pt x="18232" y="103806"/>
                  </a:lnTo>
                  <a:lnTo>
                    <a:pt x="17843" y="102097"/>
                  </a:lnTo>
                  <a:lnTo>
                    <a:pt x="17189" y="101276"/>
                  </a:lnTo>
                  <a:lnTo>
                    <a:pt x="13181" y="99496"/>
                  </a:lnTo>
                  <a:lnTo>
                    <a:pt x="12877" y="98878"/>
                  </a:lnTo>
                  <a:lnTo>
                    <a:pt x="13490" y="96459"/>
                  </a:lnTo>
                  <a:lnTo>
                    <a:pt x="13186" y="95441"/>
                  </a:lnTo>
                  <a:lnTo>
                    <a:pt x="12222" y="94366"/>
                  </a:lnTo>
                  <a:lnTo>
                    <a:pt x="10953" y="92226"/>
                  </a:lnTo>
                  <a:lnTo>
                    <a:pt x="10460" y="90410"/>
                  </a:lnTo>
                  <a:lnTo>
                    <a:pt x="12080" y="88271"/>
                  </a:lnTo>
                  <a:lnTo>
                    <a:pt x="12479" y="86700"/>
                  </a:lnTo>
                  <a:lnTo>
                    <a:pt x="13184" y="84546"/>
                  </a:lnTo>
                  <a:lnTo>
                    <a:pt x="13699" y="83364"/>
                  </a:lnTo>
                  <a:lnTo>
                    <a:pt x="13797" y="83038"/>
                  </a:lnTo>
                  <a:lnTo>
                    <a:pt x="12736" y="82198"/>
                  </a:lnTo>
                  <a:lnTo>
                    <a:pt x="12467" y="81018"/>
                  </a:lnTo>
                  <a:lnTo>
                    <a:pt x="12754" y="79316"/>
                  </a:lnTo>
                  <a:lnTo>
                    <a:pt x="12190" y="78055"/>
                  </a:lnTo>
                  <a:lnTo>
                    <a:pt x="10769" y="77235"/>
                  </a:lnTo>
                  <a:lnTo>
                    <a:pt x="9847" y="76151"/>
                  </a:lnTo>
                  <a:lnTo>
                    <a:pt x="9420" y="74800"/>
                  </a:lnTo>
                  <a:lnTo>
                    <a:pt x="9754" y="72677"/>
                  </a:lnTo>
                  <a:lnTo>
                    <a:pt x="10853" y="69779"/>
                  </a:lnTo>
                  <a:lnTo>
                    <a:pt x="8523" y="66291"/>
                  </a:lnTo>
                  <a:lnTo>
                    <a:pt x="2767" y="62206"/>
                  </a:lnTo>
                  <a:lnTo>
                    <a:pt x="0" y="59347"/>
                  </a:lnTo>
                  <a:lnTo>
                    <a:pt x="227" y="57713"/>
                  </a:lnTo>
                  <a:lnTo>
                    <a:pt x="1439" y="56233"/>
                  </a:lnTo>
                  <a:lnTo>
                    <a:pt x="3639" y="54902"/>
                  </a:lnTo>
                  <a:lnTo>
                    <a:pt x="5306" y="52540"/>
                  </a:lnTo>
                  <a:lnTo>
                    <a:pt x="6243" y="49736"/>
                  </a:lnTo>
                  <a:lnTo>
                    <a:pt x="6274" y="49204"/>
                  </a:lnTo>
                  <a:lnTo>
                    <a:pt x="6323" y="47199"/>
                  </a:lnTo>
                  <a:lnTo>
                    <a:pt x="3762" y="38982"/>
                  </a:lnTo>
                  <a:lnTo>
                    <a:pt x="3345" y="36921"/>
                  </a:lnTo>
                  <a:lnTo>
                    <a:pt x="3041" y="34433"/>
                  </a:lnTo>
                  <a:lnTo>
                    <a:pt x="2881" y="33753"/>
                  </a:lnTo>
                  <a:lnTo>
                    <a:pt x="7938" y="35498"/>
                  </a:lnTo>
                  <a:lnTo>
                    <a:pt x="10059" y="36480"/>
                  </a:lnTo>
                  <a:lnTo>
                    <a:pt x="9795" y="35377"/>
                  </a:lnTo>
                  <a:lnTo>
                    <a:pt x="9366" y="34427"/>
                  </a:lnTo>
                  <a:lnTo>
                    <a:pt x="9649" y="33031"/>
                  </a:lnTo>
                  <a:lnTo>
                    <a:pt x="9504" y="30923"/>
                  </a:lnTo>
                  <a:lnTo>
                    <a:pt x="4915" y="29847"/>
                  </a:lnTo>
                  <a:lnTo>
                    <a:pt x="1881" y="29483"/>
                  </a:lnTo>
                  <a:lnTo>
                    <a:pt x="1540" y="28020"/>
                  </a:lnTo>
                  <a:lnTo>
                    <a:pt x="1832" y="27072"/>
                  </a:lnTo>
                  <a:lnTo>
                    <a:pt x="2670" y="27630"/>
                  </a:lnTo>
                  <a:lnTo>
                    <a:pt x="5651" y="27849"/>
                  </a:lnTo>
                  <a:lnTo>
                    <a:pt x="12983" y="25011"/>
                  </a:lnTo>
                  <a:lnTo>
                    <a:pt x="25645" y="21319"/>
                  </a:lnTo>
                  <a:lnTo>
                    <a:pt x="39170" y="17850"/>
                  </a:lnTo>
                  <a:lnTo>
                    <a:pt x="42327" y="17472"/>
                  </a:lnTo>
                  <a:lnTo>
                    <a:pt x="45501" y="16741"/>
                  </a:lnTo>
                  <a:lnTo>
                    <a:pt x="46673" y="15441"/>
                  </a:lnTo>
                  <a:lnTo>
                    <a:pt x="47844" y="14571"/>
                  </a:lnTo>
                  <a:lnTo>
                    <a:pt x="49686" y="12276"/>
                  </a:lnTo>
                  <a:lnTo>
                    <a:pt x="53758" y="8706"/>
                  </a:lnTo>
                  <a:lnTo>
                    <a:pt x="60960" y="7404"/>
                  </a:lnTo>
                  <a:lnTo>
                    <a:pt x="63648" y="5708"/>
                  </a:lnTo>
                  <a:lnTo>
                    <a:pt x="69284" y="3330"/>
                  </a:lnTo>
                  <a:lnTo>
                    <a:pt x="82132" y="659"/>
                  </a:lnTo>
                  <a:lnTo>
                    <a:pt x="87499" y="72"/>
                  </a:lnTo>
                  <a:lnTo>
                    <a:pt x="92757" y="0"/>
                  </a:lnTo>
                  <a:lnTo>
                    <a:pt x="97439" y="2108"/>
                  </a:lnTo>
                  <a:lnTo>
                    <a:pt x="102394" y="4707"/>
                  </a:lnTo>
                  <a:lnTo>
                    <a:pt x="103286" y="6274"/>
                  </a:lnTo>
                  <a:lnTo>
                    <a:pt x="100604" y="5297"/>
                  </a:lnTo>
                  <a:lnTo>
                    <a:pt x="96696" y="2963"/>
                  </a:lnTo>
                  <a:lnTo>
                    <a:pt x="95251" y="2864"/>
                  </a:lnTo>
                  <a:lnTo>
                    <a:pt x="98587" y="9956"/>
                  </a:lnTo>
                  <a:lnTo>
                    <a:pt x="100412" y="12458"/>
                  </a:lnTo>
                  <a:lnTo>
                    <a:pt x="104100" y="14328"/>
                  </a:lnTo>
                  <a:lnTo>
                    <a:pt x="107192" y="14958"/>
                  </a:lnTo>
                  <a:lnTo>
                    <a:pt x="116720" y="13825"/>
                  </a:lnTo>
                  <a:lnTo>
                    <a:pt x="120103" y="12345"/>
                  </a:lnTo>
                  <a:close/>
                </a:path>
              </a:pathLst>
            </a:custGeom>
            <a:solidFill>
              <a:schemeClr val="accent3"/>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1" name="ee4p_PT_1_15912">
              <a:extLst>
                <a:ext uri="{FF2B5EF4-FFF2-40B4-BE49-F238E27FC236}">
                  <a16:creationId xmlns:a16="http://schemas.microsoft.com/office/drawing/2014/main" id="{0668EE52-36BC-CFB1-9C40-AE9AB416EEE7}"/>
                </a:ext>
              </a:extLst>
            </p:cNvPr>
            <p:cNvSpPr>
              <a:spLocks noChangeAspect="1"/>
            </p:cNvSpPr>
            <p:nvPr>
              <p:custDataLst>
                <p:tags r:id="rId53"/>
              </p:custDataLst>
            </p:nvPr>
          </p:nvSpPr>
          <p:spPr>
            <a:xfrm>
              <a:off x="2940741" y="5393876"/>
              <a:ext cx="286400" cy="528697"/>
            </a:xfrm>
            <a:custGeom>
              <a:avLst/>
              <a:gdLst/>
              <a:ahLst/>
              <a:cxnLst/>
              <a:rect l="0" t="0" r="0" b="0"/>
              <a:pathLst>
                <a:path w="72246" h="133367">
                  <a:moveTo>
                    <a:pt x="28883" y="8426"/>
                  </a:moveTo>
                  <a:lnTo>
                    <a:pt x="29348" y="8638"/>
                  </a:lnTo>
                  <a:lnTo>
                    <a:pt x="30632" y="8579"/>
                  </a:lnTo>
                  <a:lnTo>
                    <a:pt x="32920" y="7579"/>
                  </a:lnTo>
                  <a:lnTo>
                    <a:pt x="34470" y="6738"/>
                  </a:lnTo>
                  <a:lnTo>
                    <a:pt x="35011" y="7084"/>
                  </a:lnTo>
                  <a:lnTo>
                    <a:pt x="39507" y="6609"/>
                  </a:lnTo>
                  <a:lnTo>
                    <a:pt x="40577" y="6994"/>
                  </a:lnTo>
                  <a:lnTo>
                    <a:pt x="41286" y="7419"/>
                  </a:lnTo>
                  <a:lnTo>
                    <a:pt x="43497" y="8001"/>
                  </a:lnTo>
                  <a:lnTo>
                    <a:pt x="45907" y="8062"/>
                  </a:lnTo>
                  <a:lnTo>
                    <a:pt x="48894" y="7248"/>
                  </a:lnTo>
                  <a:lnTo>
                    <a:pt x="50197" y="6430"/>
                  </a:lnTo>
                  <a:lnTo>
                    <a:pt x="50447" y="5524"/>
                  </a:lnTo>
                  <a:lnTo>
                    <a:pt x="50513" y="4839"/>
                  </a:lnTo>
                  <a:lnTo>
                    <a:pt x="50898" y="4402"/>
                  </a:lnTo>
                  <a:lnTo>
                    <a:pt x="51579" y="4151"/>
                  </a:lnTo>
                  <a:lnTo>
                    <a:pt x="52640" y="4600"/>
                  </a:lnTo>
                  <a:lnTo>
                    <a:pt x="54158" y="4961"/>
                  </a:lnTo>
                  <a:lnTo>
                    <a:pt x="57806" y="5103"/>
                  </a:lnTo>
                  <a:lnTo>
                    <a:pt x="58521" y="4602"/>
                  </a:lnTo>
                  <a:lnTo>
                    <a:pt x="59757" y="4752"/>
                  </a:lnTo>
                  <a:lnTo>
                    <a:pt x="61386" y="5387"/>
                  </a:lnTo>
                  <a:lnTo>
                    <a:pt x="63273" y="5180"/>
                  </a:lnTo>
                  <a:lnTo>
                    <a:pt x="64222" y="5957"/>
                  </a:lnTo>
                  <a:lnTo>
                    <a:pt x="64616" y="6990"/>
                  </a:lnTo>
                  <a:lnTo>
                    <a:pt x="64725" y="9232"/>
                  </a:lnTo>
                  <a:lnTo>
                    <a:pt x="64584" y="11496"/>
                  </a:lnTo>
                  <a:lnTo>
                    <a:pt x="64955" y="12331"/>
                  </a:lnTo>
                  <a:lnTo>
                    <a:pt x="66227" y="12546"/>
                  </a:lnTo>
                  <a:lnTo>
                    <a:pt x="68283" y="12520"/>
                  </a:lnTo>
                  <a:lnTo>
                    <a:pt x="70133" y="13134"/>
                  </a:lnTo>
                  <a:lnTo>
                    <a:pt x="71569" y="14202"/>
                  </a:lnTo>
                  <a:lnTo>
                    <a:pt x="72043" y="15296"/>
                  </a:lnTo>
                  <a:lnTo>
                    <a:pt x="72245" y="16047"/>
                  </a:lnTo>
                  <a:lnTo>
                    <a:pt x="71542" y="16473"/>
                  </a:lnTo>
                  <a:lnTo>
                    <a:pt x="70546" y="18082"/>
                  </a:lnTo>
                  <a:lnTo>
                    <a:pt x="68030" y="20184"/>
                  </a:lnTo>
                  <a:lnTo>
                    <a:pt x="64431" y="22076"/>
                  </a:lnTo>
                  <a:lnTo>
                    <a:pt x="61684" y="24428"/>
                  </a:lnTo>
                  <a:lnTo>
                    <a:pt x="59790" y="27241"/>
                  </a:lnTo>
                  <a:lnTo>
                    <a:pt x="57423" y="28434"/>
                  </a:lnTo>
                  <a:lnTo>
                    <a:pt x="56700" y="29076"/>
                  </a:lnTo>
                  <a:lnTo>
                    <a:pt x="56414" y="29836"/>
                  </a:lnTo>
                  <a:lnTo>
                    <a:pt x="57978" y="33276"/>
                  </a:lnTo>
                  <a:lnTo>
                    <a:pt x="58461" y="35924"/>
                  </a:lnTo>
                  <a:lnTo>
                    <a:pt x="58849" y="39163"/>
                  </a:lnTo>
                  <a:lnTo>
                    <a:pt x="58595" y="40080"/>
                  </a:lnTo>
                  <a:lnTo>
                    <a:pt x="58466" y="43641"/>
                  </a:lnTo>
                  <a:lnTo>
                    <a:pt x="58104" y="44686"/>
                  </a:lnTo>
                  <a:lnTo>
                    <a:pt x="58194" y="45530"/>
                  </a:lnTo>
                  <a:lnTo>
                    <a:pt x="58773" y="46439"/>
                  </a:lnTo>
                  <a:lnTo>
                    <a:pt x="59030" y="47306"/>
                  </a:lnTo>
                  <a:lnTo>
                    <a:pt x="57952" y="48414"/>
                  </a:lnTo>
                  <a:lnTo>
                    <a:pt x="55972" y="49698"/>
                  </a:lnTo>
                  <a:lnTo>
                    <a:pt x="54507" y="50828"/>
                  </a:lnTo>
                  <a:lnTo>
                    <a:pt x="54111" y="51884"/>
                  </a:lnTo>
                  <a:lnTo>
                    <a:pt x="54217" y="52545"/>
                  </a:lnTo>
                  <a:lnTo>
                    <a:pt x="56681" y="54784"/>
                  </a:lnTo>
                  <a:lnTo>
                    <a:pt x="57130" y="55697"/>
                  </a:lnTo>
                  <a:lnTo>
                    <a:pt x="56796" y="57905"/>
                  </a:lnTo>
                  <a:lnTo>
                    <a:pt x="55376" y="61518"/>
                  </a:lnTo>
                  <a:lnTo>
                    <a:pt x="54020" y="63715"/>
                  </a:lnTo>
                  <a:lnTo>
                    <a:pt x="53784" y="63933"/>
                  </a:lnTo>
                  <a:lnTo>
                    <a:pt x="52230" y="64554"/>
                  </a:lnTo>
                  <a:lnTo>
                    <a:pt x="44791" y="64581"/>
                  </a:lnTo>
                  <a:lnTo>
                    <a:pt x="42987" y="65077"/>
                  </a:lnTo>
                  <a:lnTo>
                    <a:pt x="43241" y="65515"/>
                  </a:lnTo>
                  <a:lnTo>
                    <a:pt x="44990" y="68335"/>
                  </a:lnTo>
                  <a:lnTo>
                    <a:pt x="46812" y="69837"/>
                  </a:lnTo>
                  <a:lnTo>
                    <a:pt x="47415" y="70179"/>
                  </a:lnTo>
                  <a:lnTo>
                    <a:pt x="48071" y="73474"/>
                  </a:lnTo>
                  <a:lnTo>
                    <a:pt x="51020" y="78731"/>
                  </a:lnTo>
                  <a:lnTo>
                    <a:pt x="53882" y="79458"/>
                  </a:lnTo>
                  <a:lnTo>
                    <a:pt x="54877" y="80768"/>
                  </a:lnTo>
                  <a:lnTo>
                    <a:pt x="54694" y="82609"/>
                  </a:lnTo>
                  <a:lnTo>
                    <a:pt x="53814" y="84630"/>
                  </a:lnTo>
                  <a:lnTo>
                    <a:pt x="52057" y="86698"/>
                  </a:lnTo>
                  <a:lnTo>
                    <a:pt x="49969" y="88155"/>
                  </a:lnTo>
                  <a:lnTo>
                    <a:pt x="48607" y="89598"/>
                  </a:lnTo>
                  <a:lnTo>
                    <a:pt x="48500" y="91279"/>
                  </a:lnTo>
                  <a:lnTo>
                    <a:pt x="48067" y="93405"/>
                  </a:lnTo>
                  <a:lnTo>
                    <a:pt x="47407" y="95088"/>
                  </a:lnTo>
                  <a:lnTo>
                    <a:pt x="47247" y="96222"/>
                  </a:lnTo>
                  <a:lnTo>
                    <a:pt x="52479" y="103327"/>
                  </a:lnTo>
                  <a:lnTo>
                    <a:pt x="55389" y="102982"/>
                  </a:lnTo>
                  <a:lnTo>
                    <a:pt x="55770" y="103150"/>
                  </a:lnTo>
                  <a:lnTo>
                    <a:pt x="55250" y="104842"/>
                  </a:lnTo>
                  <a:lnTo>
                    <a:pt x="54327" y="106824"/>
                  </a:lnTo>
                  <a:lnTo>
                    <a:pt x="53229" y="107201"/>
                  </a:lnTo>
                  <a:lnTo>
                    <a:pt x="50732" y="107808"/>
                  </a:lnTo>
                  <a:lnTo>
                    <a:pt x="48370" y="110369"/>
                  </a:lnTo>
                  <a:lnTo>
                    <a:pt x="46454" y="113443"/>
                  </a:lnTo>
                  <a:lnTo>
                    <a:pt x="45016" y="114929"/>
                  </a:lnTo>
                  <a:lnTo>
                    <a:pt x="43698" y="118580"/>
                  </a:lnTo>
                  <a:lnTo>
                    <a:pt x="43864" y="120161"/>
                  </a:lnTo>
                  <a:lnTo>
                    <a:pt x="44502" y="122600"/>
                  </a:lnTo>
                  <a:lnTo>
                    <a:pt x="45851" y="128938"/>
                  </a:lnTo>
                  <a:lnTo>
                    <a:pt x="43918" y="129221"/>
                  </a:lnTo>
                  <a:lnTo>
                    <a:pt x="36388" y="133359"/>
                  </a:lnTo>
                  <a:lnTo>
                    <a:pt x="34053" y="133366"/>
                  </a:lnTo>
                  <a:lnTo>
                    <a:pt x="29696" y="131544"/>
                  </a:lnTo>
                  <a:lnTo>
                    <a:pt x="22011" y="130959"/>
                  </a:lnTo>
                  <a:lnTo>
                    <a:pt x="19505" y="130417"/>
                  </a:lnTo>
                  <a:lnTo>
                    <a:pt x="16377" y="131606"/>
                  </a:lnTo>
                  <a:lnTo>
                    <a:pt x="13959" y="131579"/>
                  </a:lnTo>
                  <a:lnTo>
                    <a:pt x="12037" y="133097"/>
                  </a:lnTo>
                  <a:lnTo>
                    <a:pt x="10656" y="132683"/>
                  </a:lnTo>
                  <a:lnTo>
                    <a:pt x="12239" y="129278"/>
                  </a:lnTo>
                  <a:lnTo>
                    <a:pt x="14717" y="122529"/>
                  </a:lnTo>
                  <a:lnTo>
                    <a:pt x="14620" y="118403"/>
                  </a:lnTo>
                  <a:lnTo>
                    <a:pt x="15211" y="114813"/>
                  </a:lnTo>
                  <a:lnTo>
                    <a:pt x="14529" y="111254"/>
                  </a:lnTo>
                  <a:lnTo>
                    <a:pt x="13285" y="109030"/>
                  </a:lnTo>
                  <a:lnTo>
                    <a:pt x="14981" y="103254"/>
                  </a:lnTo>
                  <a:lnTo>
                    <a:pt x="14788" y="100277"/>
                  </a:lnTo>
                  <a:lnTo>
                    <a:pt x="13237" y="96498"/>
                  </a:lnTo>
                  <a:lnTo>
                    <a:pt x="17942" y="97074"/>
                  </a:lnTo>
                  <a:lnTo>
                    <a:pt x="16490" y="95579"/>
                  </a:lnTo>
                  <a:lnTo>
                    <a:pt x="15055" y="94659"/>
                  </a:lnTo>
                  <a:lnTo>
                    <a:pt x="13668" y="94870"/>
                  </a:lnTo>
                  <a:lnTo>
                    <a:pt x="12492" y="94814"/>
                  </a:lnTo>
                  <a:lnTo>
                    <a:pt x="8485" y="96279"/>
                  </a:lnTo>
                  <a:lnTo>
                    <a:pt x="6479" y="96717"/>
                  </a:lnTo>
                  <a:lnTo>
                    <a:pt x="5892" y="96462"/>
                  </a:lnTo>
                  <a:lnTo>
                    <a:pt x="6111" y="94123"/>
                  </a:lnTo>
                  <a:lnTo>
                    <a:pt x="5071" y="91089"/>
                  </a:lnTo>
                  <a:lnTo>
                    <a:pt x="6676" y="90288"/>
                  </a:lnTo>
                  <a:lnTo>
                    <a:pt x="8545" y="90059"/>
                  </a:lnTo>
                  <a:lnTo>
                    <a:pt x="10133" y="88764"/>
                  </a:lnTo>
                  <a:lnTo>
                    <a:pt x="11115" y="87318"/>
                  </a:lnTo>
                  <a:lnTo>
                    <a:pt x="10597" y="84734"/>
                  </a:lnTo>
                  <a:lnTo>
                    <a:pt x="11977" y="82277"/>
                  </a:lnTo>
                  <a:lnTo>
                    <a:pt x="15216" y="80206"/>
                  </a:lnTo>
                  <a:lnTo>
                    <a:pt x="13538" y="80522"/>
                  </a:lnTo>
                  <a:lnTo>
                    <a:pt x="11618" y="81812"/>
                  </a:lnTo>
                  <a:lnTo>
                    <a:pt x="8595" y="86499"/>
                  </a:lnTo>
                  <a:lnTo>
                    <a:pt x="7605" y="88870"/>
                  </a:lnTo>
                  <a:lnTo>
                    <a:pt x="5029" y="89643"/>
                  </a:lnTo>
                  <a:lnTo>
                    <a:pt x="2720" y="90027"/>
                  </a:lnTo>
                  <a:lnTo>
                    <a:pt x="1538" y="89779"/>
                  </a:lnTo>
                  <a:lnTo>
                    <a:pt x="124" y="89178"/>
                  </a:lnTo>
                  <a:lnTo>
                    <a:pt x="0" y="87425"/>
                  </a:lnTo>
                  <a:lnTo>
                    <a:pt x="110" y="86027"/>
                  </a:lnTo>
                  <a:lnTo>
                    <a:pt x="1068" y="83250"/>
                  </a:lnTo>
                  <a:lnTo>
                    <a:pt x="1446" y="79328"/>
                  </a:lnTo>
                  <a:lnTo>
                    <a:pt x="2806" y="75806"/>
                  </a:lnTo>
                  <a:lnTo>
                    <a:pt x="2709" y="74870"/>
                  </a:lnTo>
                  <a:lnTo>
                    <a:pt x="2321" y="73470"/>
                  </a:lnTo>
                  <a:lnTo>
                    <a:pt x="3540" y="72100"/>
                  </a:lnTo>
                  <a:lnTo>
                    <a:pt x="5049" y="71195"/>
                  </a:lnTo>
                  <a:lnTo>
                    <a:pt x="7329" y="68169"/>
                  </a:lnTo>
                  <a:lnTo>
                    <a:pt x="10518" y="60941"/>
                  </a:lnTo>
                  <a:lnTo>
                    <a:pt x="14194" y="53248"/>
                  </a:lnTo>
                  <a:lnTo>
                    <a:pt x="13896" y="52305"/>
                  </a:lnTo>
                  <a:lnTo>
                    <a:pt x="13115" y="51583"/>
                  </a:lnTo>
                  <a:lnTo>
                    <a:pt x="13424" y="49503"/>
                  </a:lnTo>
                  <a:lnTo>
                    <a:pt x="15640" y="40432"/>
                  </a:lnTo>
                  <a:lnTo>
                    <a:pt x="16543" y="39245"/>
                  </a:lnTo>
                  <a:lnTo>
                    <a:pt x="17582" y="36579"/>
                  </a:lnTo>
                  <a:lnTo>
                    <a:pt x="17817" y="32272"/>
                  </a:lnTo>
                  <a:lnTo>
                    <a:pt x="18224" y="29301"/>
                  </a:lnTo>
                  <a:lnTo>
                    <a:pt x="18130" y="27806"/>
                  </a:lnTo>
                  <a:lnTo>
                    <a:pt x="17803" y="26010"/>
                  </a:lnTo>
                  <a:lnTo>
                    <a:pt x="16393" y="22578"/>
                  </a:lnTo>
                  <a:lnTo>
                    <a:pt x="14905" y="15307"/>
                  </a:lnTo>
                  <a:lnTo>
                    <a:pt x="14791" y="12875"/>
                  </a:lnTo>
                  <a:lnTo>
                    <a:pt x="16016" y="11646"/>
                  </a:lnTo>
                  <a:lnTo>
                    <a:pt x="14005" y="11466"/>
                  </a:lnTo>
                  <a:lnTo>
                    <a:pt x="13094" y="9893"/>
                  </a:lnTo>
                  <a:lnTo>
                    <a:pt x="13301" y="8105"/>
                  </a:lnTo>
                  <a:lnTo>
                    <a:pt x="15536" y="5214"/>
                  </a:lnTo>
                  <a:lnTo>
                    <a:pt x="17618" y="3425"/>
                  </a:lnTo>
                  <a:lnTo>
                    <a:pt x="19682" y="2250"/>
                  </a:lnTo>
                  <a:lnTo>
                    <a:pt x="20822" y="1809"/>
                  </a:lnTo>
                  <a:lnTo>
                    <a:pt x="25588" y="593"/>
                  </a:lnTo>
                  <a:lnTo>
                    <a:pt x="26837" y="0"/>
                  </a:lnTo>
                  <a:lnTo>
                    <a:pt x="28009" y="99"/>
                  </a:lnTo>
                  <a:lnTo>
                    <a:pt x="28205" y="679"/>
                  </a:lnTo>
                  <a:lnTo>
                    <a:pt x="28882" y="1808"/>
                  </a:lnTo>
                  <a:lnTo>
                    <a:pt x="29640" y="2590"/>
                  </a:lnTo>
                  <a:lnTo>
                    <a:pt x="29846" y="3168"/>
                  </a:lnTo>
                  <a:lnTo>
                    <a:pt x="28003" y="5585"/>
                  </a:lnTo>
                  <a:lnTo>
                    <a:pt x="27750" y="6414"/>
                  </a:lnTo>
                  <a:lnTo>
                    <a:pt x="28712" y="797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2" name="ee4p_RO_1_15912">
              <a:extLst>
                <a:ext uri="{FF2B5EF4-FFF2-40B4-BE49-F238E27FC236}">
                  <a16:creationId xmlns:a16="http://schemas.microsoft.com/office/drawing/2014/main" id="{C9A6728E-B5E2-941C-57A2-C37C2647EEF9}"/>
                </a:ext>
              </a:extLst>
            </p:cNvPr>
            <p:cNvSpPr>
              <a:spLocks noChangeAspect="1"/>
            </p:cNvSpPr>
            <p:nvPr>
              <p:custDataLst>
                <p:tags r:id="rId54"/>
              </p:custDataLst>
            </p:nvPr>
          </p:nvSpPr>
          <p:spPr>
            <a:xfrm>
              <a:off x="5546057" y="4728337"/>
              <a:ext cx="829598" cy="502783"/>
            </a:xfrm>
            <a:custGeom>
              <a:avLst/>
              <a:gdLst/>
              <a:ahLst/>
              <a:cxnLst/>
              <a:rect l="0" t="0" r="0" b="0"/>
              <a:pathLst>
                <a:path w="209271" h="126830">
                  <a:moveTo>
                    <a:pt x="176249" y="78400"/>
                  </a:moveTo>
                  <a:lnTo>
                    <a:pt x="178575" y="81236"/>
                  </a:lnTo>
                  <a:lnTo>
                    <a:pt x="181529" y="82742"/>
                  </a:lnTo>
                  <a:lnTo>
                    <a:pt x="188372" y="84333"/>
                  </a:lnTo>
                  <a:lnTo>
                    <a:pt x="188980" y="84146"/>
                  </a:lnTo>
                  <a:lnTo>
                    <a:pt x="189050" y="83846"/>
                  </a:lnTo>
                  <a:lnTo>
                    <a:pt x="188573" y="83435"/>
                  </a:lnTo>
                  <a:lnTo>
                    <a:pt x="188501" y="82905"/>
                  </a:lnTo>
                  <a:lnTo>
                    <a:pt x="188836" y="82257"/>
                  </a:lnTo>
                  <a:lnTo>
                    <a:pt x="189777" y="82224"/>
                  </a:lnTo>
                  <a:lnTo>
                    <a:pt x="191326" y="82804"/>
                  </a:lnTo>
                  <a:lnTo>
                    <a:pt x="194269" y="81964"/>
                  </a:lnTo>
                  <a:lnTo>
                    <a:pt x="198605" y="79704"/>
                  </a:lnTo>
                  <a:lnTo>
                    <a:pt x="202589" y="79245"/>
                  </a:lnTo>
                  <a:lnTo>
                    <a:pt x="206215" y="80586"/>
                  </a:lnTo>
                  <a:lnTo>
                    <a:pt x="208078" y="82146"/>
                  </a:lnTo>
                  <a:lnTo>
                    <a:pt x="209270" y="83626"/>
                  </a:lnTo>
                  <a:lnTo>
                    <a:pt x="208899" y="85454"/>
                  </a:lnTo>
                  <a:lnTo>
                    <a:pt x="208668" y="86591"/>
                  </a:lnTo>
                  <a:lnTo>
                    <a:pt x="207711" y="91297"/>
                  </a:lnTo>
                  <a:lnTo>
                    <a:pt x="207050" y="93049"/>
                  </a:lnTo>
                  <a:lnTo>
                    <a:pt x="205990" y="95016"/>
                  </a:lnTo>
                  <a:lnTo>
                    <a:pt x="194729" y="97358"/>
                  </a:lnTo>
                  <a:lnTo>
                    <a:pt x="195454" y="96233"/>
                  </a:lnTo>
                  <a:lnTo>
                    <a:pt x="195191" y="94260"/>
                  </a:lnTo>
                  <a:lnTo>
                    <a:pt x="194718" y="92770"/>
                  </a:lnTo>
                  <a:lnTo>
                    <a:pt x="195770" y="91422"/>
                  </a:lnTo>
                  <a:lnTo>
                    <a:pt x="193234" y="90933"/>
                  </a:lnTo>
                  <a:lnTo>
                    <a:pt x="192127" y="91674"/>
                  </a:lnTo>
                  <a:lnTo>
                    <a:pt x="191263" y="92962"/>
                  </a:lnTo>
                  <a:lnTo>
                    <a:pt x="192030" y="95928"/>
                  </a:lnTo>
                  <a:lnTo>
                    <a:pt x="190797" y="97566"/>
                  </a:lnTo>
                  <a:lnTo>
                    <a:pt x="190324" y="98483"/>
                  </a:lnTo>
                  <a:lnTo>
                    <a:pt x="190268" y="100647"/>
                  </a:lnTo>
                  <a:lnTo>
                    <a:pt x="189540" y="101583"/>
                  </a:lnTo>
                  <a:lnTo>
                    <a:pt x="189395" y="102602"/>
                  </a:lnTo>
                  <a:lnTo>
                    <a:pt x="191190" y="102338"/>
                  </a:lnTo>
                  <a:lnTo>
                    <a:pt x="190384" y="104205"/>
                  </a:lnTo>
                  <a:lnTo>
                    <a:pt x="187011" y="107790"/>
                  </a:lnTo>
                  <a:lnTo>
                    <a:pt x="185821" y="109923"/>
                  </a:lnTo>
                  <a:lnTo>
                    <a:pt x="186113" y="118372"/>
                  </a:lnTo>
                  <a:lnTo>
                    <a:pt x="184612" y="123412"/>
                  </a:lnTo>
                  <a:lnTo>
                    <a:pt x="184494" y="124901"/>
                  </a:lnTo>
                  <a:lnTo>
                    <a:pt x="180913" y="124949"/>
                  </a:lnTo>
                  <a:lnTo>
                    <a:pt x="179847" y="124833"/>
                  </a:lnTo>
                  <a:lnTo>
                    <a:pt x="176458" y="124075"/>
                  </a:lnTo>
                  <a:lnTo>
                    <a:pt x="172655" y="122736"/>
                  </a:lnTo>
                  <a:lnTo>
                    <a:pt x="170421" y="120137"/>
                  </a:lnTo>
                  <a:lnTo>
                    <a:pt x="168991" y="118277"/>
                  </a:lnTo>
                  <a:lnTo>
                    <a:pt x="165769" y="119118"/>
                  </a:lnTo>
                  <a:lnTo>
                    <a:pt x="165154" y="118893"/>
                  </a:lnTo>
                  <a:lnTo>
                    <a:pt x="164273" y="117995"/>
                  </a:lnTo>
                  <a:lnTo>
                    <a:pt x="161844" y="117392"/>
                  </a:lnTo>
                  <a:lnTo>
                    <a:pt x="158844" y="117380"/>
                  </a:lnTo>
                  <a:lnTo>
                    <a:pt x="152107" y="113978"/>
                  </a:lnTo>
                  <a:lnTo>
                    <a:pt x="151360" y="113402"/>
                  </a:lnTo>
                  <a:lnTo>
                    <a:pt x="146071" y="113977"/>
                  </a:lnTo>
                  <a:lnTo>
                    <a:pt x="138144" y="115662"/>
                  </a:lnTo>
                  <a:lnTo>
                    <a:pt x="132098" y="117738"/>
                  </a:lnTo>
                  <a:lnTo>
                    <a:pt x="125853" y="121436"/>
                  </a:lnTo>
                  <a:lnTo>
                    <a:pt x="123320" y="124237"/>
                  </a:lnTo>
                  <a:lnTo>
                    <a:pt x="120385" y="125724"/>
                  </a:lnTo>
                  <a:lnTo>
                    <a:pt x="116205" y="126829"/>
                  </a:lnTo>
                  <a:lnTo>
                    <a:pt x="108744" y="126410"/>
                  </a:lnTo>
                  <a:lnTo>
                    <a:pt x="100973" y="125005"/>
                  </a:lnTo>
                  <a:lnTo>
                    <a:pt x="92622" y="123493"/>
                  </a:lnTo>
                  <a:lnTo>
                    <a:pt x="88116" y="124328"/>
                  </a:lnTo>
                  <a:lnTo>
                    <a:pt x="82013" y="123702"/>
                  </a:lnTo>
                  <a:lnTo>
                    <a:pt x="72810" y="121895"/>
                  </a:lnTo>
                  <a:lnTo>
                    <a:pt x="65956" y="121346"/>
                  </a:lnTo>
                  <a:lnTo>
                    <a:pt x="59199" y="122411"/>
                  </a:lnTo>
                  <a:lnTo>
                    <a:pt x="58064" y="121598"/>
                  </a:lnTo>
                  <a:lnTo>
                    <a:pt x="57815" y="120666"/>
                  </a:lnTo>
                  <a:lnTo>
                    <a:pt x="58076" y="119345"/>
                  </a:lnTo>
                  <a:lnTo>
                    <a:pt x="59029" y="118281"/>
                  </a:lnTo>
                  <a:lnTo>
                    <a:pt x="60666" y="117476"/>
                  </a:lnTo>
                  <a:lnTo>
                    <a:pt x="61529" y="116657"/>
                  </a:lnTo>
                  <a:lnTo>
                    <a:pt x="61620" y="115824"/>
                  </a:lnTo>
                  <a:lnTo>
                    <a:pt x="59783" y="114489"/>
                  </a:lnTo>
                  <a:lnTo>
                    <a:pt x="56019" y="112648"/>
                  </a:lnTo>
                  <a:lnTo>
                    <a:pt x="54468" y="111493"/>
                  </a:lnTo>
                  <a:lnTo>
                    <a:pt x="54088" y="111208"/>
                  </a:lnTo>
                  <a:lnTo>
                    <a:pt x="53987" y="110172"/>
                  </a:lnTo>
                  <a:lnTo>
                    <a:pt x="53205" y="109359"/>
                  </a:lnTo>
                  <a:lnTo>
                    <a:pt x="51743" y="108764"/>
                  </a:lnTo>
                  <a:lnTo>
                    <a:pt x="50611" y="107688"/>
                  </a:lnTo>
                  <a:lnTo>
                    <a:pt x="49813" y="106127"/>
                  </a:lnTo>
                  <a:lnTo>
                    <a:pt x="49985" y="104654"/>
                  </a:lnTo>
                  <a:lnTo>
                    <a:pt x="51128" y="103274"/>
                  </a:lnTo>
                  <a:lnTo>
                    <a:pt x="52590" y="102675"/>
                  </a:lnTo>
                  <a:lnTo>
                    <a:pt x="54373" y="102861"/>
                  </a:lnTo>
                  <a:lnTo>
                    <a:pt x="55116" y="102469"/>
                  </a:lnTo>
                  <a:lnTo>
                    <a:pt x="54818" y="101501"/>
                  </a:lnTo>
                  <a:lnTo>
                    <a:pt x="53075" y="100263"/>
                  </a:lnTo>
                  <a:lnTo>
                    <a:pt x="49882" y="98757"/>
                  </a:lnTo>
                  <a:lnTo>
                    <a:pt x="46632" y="99578"/>
                  </a:lnTo>
                  <a:lnTo>
                    <a:pt x="43322" y="102721"/>
                  </a:lnTo>
                  <a:lnTo>
                    <a:pt x="40935" y="103231"/>
                  </a:lnTo>
                  <a:lnTo>
                    <a:pt x="39473" y="101110"/>
                  </a:lnTo>
                  <a:lnTo>
                    <a:pt x="36871" y="99850"/>
                  </a:lnTo>
                  <a:lnTo>
                    <a:pt x="33133" y="99454"/>
                  </a:lnTo>
                  <a:lnTo>
                    <a:pt x="30832" y="98643"/>
                  </a:lnTo>
                  <a:lnTo>
                    <a:pt x="29968" y="97417"/>
                  </a:lnTo>
                  <a:lnTo>
                    <a:pt x="28333" y="96471"/>
                  </a:lnTo>
                  <a:lnTo>
                    <a:pt x="24727" y="95473"/>
                  </a:lnTo>
                  <a:lnTo>
                    <a:pt x="24679" y="94514"/>
                  </a:lnTo>
                  <a:lnTo>
                    <a:pt x="25264" y="94289"/>
                  </a:lnTo>
                  <a:lnTo>
                    <a:pt x="26543" y="94198"/>
                  </a:lnTo>
                  <a:lnTo>
                    <a:pt x="28262" y="93996"/>
                  </a:lnTo>
                  <a:lnTo>
                    <a:pt x="28536" y="93453"/>
                  </a:lnTo>
                  <a:lnTo>
                    <a:pt x="28555" y="92957"/>
                  </a:lnTo>
                  <a:lnTo>
                    <a:pt x="27202" y="92325"/>
                  </a:lnTo>
                  <a:lnTo>
                    <a:pt x="25830" y="91895"/>
                  </a:lnTo>
                  <a:lnTo>
                    <a:pt x="25118" y="91466"/>
                  </a:lnTo>
                  <a:lnTo>
                    <a:pt x="24660" y="90992"/>
                  </a:lnTo>
                  <a:lnTo>
                    <a:pt x="24569" y="90494"/>
                  </a:lnTo>
                  <a:lnTo>
                    <a:pt x="24971" y="90156"/>
                  </a:lnTo>
                  <a:lnTo>
                    <a:pt x="25520" y="90133"/>
                  </a:lnTo>
                  <a:lnTo>
                    <a:pt x="26068" y="89839"/>
                  </a:lnTo>
                  <a:lnTo>
                    <a:pt x="26373" y="88685"/>
                  </a:lnTo>
                  <a:lnTo>
                    <a:pt x="27111" y="87736"/>
                  </a:lnTo>
                  <a:lnTo>
                    <a:pt x="27640" y="87396"/>
                  </a:lnTo>
                  <a:lnTo>
                    <a:pt x="27605" y="86694"/>
                  </a:lnTo>
                  <a:lnTo>
                    <a:pt x="27057" y="86038"/>
                  </a:lnTo>
                  <a:lnTo>
                    <a:pt x="26306" y="85472"/>
                  </a:lnTo>
                  <a:lnTo>
                    <a:pt x="25206" y="85129"/>
                  </a:lnTo>
                  <a:lnTo>
                    <a:pt x="21773" y="84137"/>
                  </a:lnTo>
                  <a:lnTo>
                    <a:pt x="20035" y="82754"/>
                  </a:lnTo>
                  <a:lnTo>
                    <a:pt x="18974" y="82704"/>
                  </a:lnTo>
                  <a:lnTo>
                    <a:pt x="17292" y="81937"/>
                  </a:lnTo>
                  <a:lnTo>
                    <a:pt x="15478" y="80736"/>
                  </a:lnTo>
                  <a:lnTo>
                    <a:pt x="13909" y="79029"/>
                  </a:lnTo>
                  <a:lnTo>
                    <a:pt x="12211" y="77921"/>
                  </a:lnTo>
                  <a:lnTo>
                    <a:pt x="11773" y="77467"/>
                  </a:lnTo>
                  <a:lnTo>
                    <a:pt x="11734" y="77036"/>
                  </a:lnTo>
                  <a:lnTo>
                    <a:pt x="12045" y="76559"/>
                  </a:lnTo>
                  <a:lnTo>
                    <a:pt x="12034" y="76037"/>
                  </a:lnTo>
                  <a:lnTo>
                    <a:pt x="11587" y="74360"/>
                  </a:lnTo>
                  <a:lnTo>
                    <a:pt x="11885" y="72585"/>
                  </a:lnTo>
                  <a:lnTo>
                    <a:pt x="11807" y="70919"/>
                  </a:lnTo>
                  <a:lnTo>
                    <a:pt x="11790" y="70168"/>
                  </a:lnTo>
                  <a:lnTo>
                    <a:pt x="11462" y="69939"/>
                  </a:lnTo>
                  <a:lnTo>
                    <a:pt x="11168" y="70190"/>
                  </a:lnTo>
                  <a:lnTo>
                    <a:pt x="10747" y="70509"/>
                  </a:lnTo>
                  <a:lnTo>
                    <a:pt x="10337" y="70568"/>
                  </a:lnTo>
                  <a:lnTo>
                    <a:pt x="9086" y="69353"/>
                  </a:lnTo>
                  <a:lnTo>
                    <a:pt x="7504" y="66869"/>
                  </a:lnTo>
                  <a:lnTo>
                    <a:pt x="6430" y="66041"/>
                  </a:lnTo>
                  <a:lnTo>
                    <a:pt x="4338" y="64902"/>
                  </a:lnTo>
                  <a:lnTo>
                    <a:pt x="2583" y="63944"/>
                  </a:lnTo>
                  <a:lnTo>
                    <a:pt x="1317" y="61867"/>
                  </a:lnTo>
                  <a:lnTo>
                    <a:pt x="0" y="60267"/>
                  </a:lnTo>
                  <a:lnTo>
                    <a:pt x="866" y="59592"/>
                  </a:lnTo>
                  <a:lnTo>
                    <a:pt x="5889" y="58653"/>
                  </a:lnTo>
                  <a:lnTo>
                    <a:pt x="8223" y="59578"/>
                  </a:lnTo>
                  <a:lnTo>
                    <a:pt x="9270" y="59242"/>
                  </a:lnTo>
                  <a:lnTo>
                    <a:pt x="10296" y="58491"/>
                  </a:lnTo>
                  <a:lnTo>
                    <a:pt x="10855" y="57893"/>
                  </a:lnTo>
                  <a:lnTo>
                    <a:pt x="10959" y="57255"/>
                  </a:lnTo>
                  <a:lnTo>
                    <a:pt x="11464" y="56459"/>
                  </a:lnTo>
                  <a:lnTo>
                    <a:pt x="13161" y="56086"/>
                  </a:lnTo>
                  <a:lnTo>
                    <a:pt x="17646" y="56570"/>
                  </a:lnTo>
                  <a:lnTo>
                    <a:pt x="19456" y="55457"/>
                  </a:lnTo>
                  <a:lnTo>
                    <a:pt x="20125" y="54850"/>
                  </a:lnTo>
                  <a:lnTo>
                    <a:pt x="20533" y="53510"/>
                  </a:lnTo>
                  <a:lnTo>
                    <a:pt x="21006" y="52433"/>
                  </a:lnTo>
                  <a:lnTo>
                    <a:pt x="22615" y="51857"/>
                  </a:lnTo>
                  <a:lnTo>
                    <a:pt x="22587" y="50874"/>
                  </a:lnTo>
                  <a:lnTo>
                    <a:pt x="22343" y="49802"/>
                  </a:lnTo>
                  <a:lnTo>
                    <a:pt x="23278" y="47411"/>
                  </a:lnTo>
                  <a:lnTo>
                    <a:pt x="23846" y="46429"/>
                  </a:lnTo>
                  <a:lnTo>
                    <a:pt x="24755" y="46069"/>
                  </a:lnTo>
                  <a:lnTo>
                    <a:pt x="25854" y="45316"/>
                  </a:lnTo>
                  <a:lnTo>
                    <a:pt x="27757" y="43746"/>
                  </a:lnTo>
                  <a:lnTo>
                    <a:pt x="27314" y="42381"/>
                  </a:lnTo>
                  <a:lnTo>
                    <a:pt x="27698" y="41368"/>
                  </a:lnTo>
                  <a:lnTo>
                    <a:pt x="29683" y="38899"/>
                  </a:lnTo>
                  <a:lnTo>
                    <a:pt x="31197" y="36517"/>
                  </a:lnTo>
                  <a:lnTo>
                    <a:pt x="31171" y="35324"/>
                  </a:lnTo>
                  <a:lnTo>
                    <a:pt x="31391" y="34281"/>
                  </a:lnTo>
                  <a:lnTo>
                    <a:pt x="32725" y="33138"/>
                  </a:lnTo>
                  <a:lnTo>
                    <a:pt x="34133" y="31648"/>
                  </a:lnTo>
                  <a:lnTo>
                    <a:pt x="35988" y="26992"/>
                  </a:lnTo>
                  <a:lnTo>
                    <a:pt x="36649" y="26208"/>
                  </a:lnTo>
                  <a:lnTo>
                    <a:pt x="37867" y="25320"/>
                  </a:lnTo>
                  <a:lnTo>
                    <a:pt x="38774" y="24439"/>
                  </a:lnTo>
                  <a:lnTo>
                    <a:pt x="38871" y="21373"/>
                  </a:lnTo>
                  <a:lnTo>
                    <a:pt x="39717" y="20486"/>
                  </a:lnTo>
                  <a:lnTo>
                    <a:pt x="41352" y="19492"/>
                  </a:lnTo>
                  <a:lnTo>
                    <a:pt x="42970" y="17890"/>
                  </a:lnTo>
                  <a:lnTo>
                    <a:pt x="44287" y="15997"/>
                  </a:lnTo>
                  <a:lnTo>
                    <a:pt x="45304" y="15113"/>
                  </a:lnTo>
                  <a:lnTo>
                    <a:pt x="46649" y="14877"/>
                  </a:lnTo>
                  <a:lnTo>
                    <a:pt x="48109" y="14133"/>
                  </a:lnTo>
                  <a:lnTo>
                    <a:pt x="49744" y="13854"/>
                  </a:lnTo>
                  <a:lnTo>
                    <a:pt x="51324" y="14220"/>
                  </a:lnTo>
                  <a:lnTo>
                    <a:pt x="52330" y="14030"/>
                  </a:lnTo>
                  <a:lnTo>
                    <a:pt x="53842" y="13109"/>
                  </a:lnTo>
                  <a:lnTo>
                    <a:pt x="57712" y="9629"/>
                  </a:lnTo>
                  <a:lnTo>
                    <a:pt x="58262" y="8933"/>
                  </a:lnTo>
                  <a:lnTo>
                    <a:pt x="59063" y="8454"/>
                  </a:lnTo>
                  <a:lnTo>
                    <a:pt x="62201" y="7261"/>
                  </a:lnTo>
                  <a:lnTo>
                    <a:pt x="62998" y="6059"/>
                  </a:lnTo>
                  <a:lnTo>
                    <a:pt x="64073" y="4978"/>
                  </a:lnTo>
                  <a:lnTo>
                    <a:pt x="65470" y="5059"/>
                  </a:lnTo>
                  <a:lnTo>
                    <a:pt x="70016" y="7728"/>
                  </a:lnTo>
                  <a:lnTo>
                    <a:pt x="74892" y="7563"/>
                  </a:lnTo>
                  <a:lnTo>
                    <a:pt x="75784" y="7662"/>
                  </a:lnTo>
                  <a:lnTo>
                    <a:pt x="76071" y="7717"/>
                  </a:lnTo>
                  <a:lnTo>
                    <a:pt x="76667" y="7936"/>
                  </a:lnTo>
                  <a:lnTo>
                    <a:pt x="83143" y="9256"/>
                  </a:lnTo>
                  <a:lnTo>
                    <a:pt x="84149" y="9109"/>
                  </a:lnTo>
                  <a:lnTo>
                    <a:pt x="84423" y="9003"/>
                  </a:lnTo>
                  <a:lnTo>
                    <a:pt x="87032" y="10095"/>
                  </a:lnTo>
                  <a:lnTo>
                    <a:pt x="89336" y="9950"/>
                  </a:lnTo>
                  <a:lnTo>
                    <a:pt x="91526" y="9193"/>
                  </a:lnTo>
                  <a:lnTo>
                    <a:pt x="93806" y="8937"/>
                  </a:lnTo>
                  <a:lnTo>
                    <a:pt x="95902" y="9390"/>
                  </a:lnTo>
                  <a:lnTo>
                    <a:pt x="97496" y="10927"/>
                  </a:lnTo>
                  <a:lnTo>
                    <a:pt x="101629" y="14184"/>
                  </a:lnTo>
                  <a:lnTo>
                    <a:pt x="102856" y="15396"/>
                  </a:lnTo>
                  <a:lnTo>
                    <a:pt x="104752" y="15217"/>
                  </a:lnTo>
                  <a:lnTo>
                    <a:pt x="106846" y="14610"/>
                  </a:lnTo>
                  <a:lnTo>
                    <a:pt x="108964" y="12432"/>
                  </a:lnTo>
                  <a:lnTo>
                    <a:pt x="115480" y="9961"/>
                  </a:lnTo>
                  <a:lnTo>
                    <a:pt x="120455" y="9350"/>
                  </a:lnTo>
                  <a:lnTo>
                    <a:pt x="125307" y="8360"/>
                  </a:lnTo>
                  <a:lnTo>
                    <a:pt x="130924" y="7656"/>
                  </a:lnTo>
                  <a:lnTo>
                    <a:pt x="132549" y="5629"/>
                  </a:lnTo>
                  <a:lnTo>
                    <a:pt x="133450" y="4248"/>
                  </a:lnTo>
                  <a:lnTo>
                    <a:pt x="134085" y="1690"/>
                  </a:lnTo>
                  <a:lnTo>
                    <a:pt x="137108" y="948"/>
                  </a:lnTo>
                  <a:lnTo>
                    <a:pt x="139984" y="425"/>
                  </a:lnTo>
                  <a:lnTo>
                    <a:pt x="141012" y="102"/>
                  </a:lnTo>
                  <a:lnTo>
                    <a:pt x="143109" y="0"/>
                  </a:lnTo>
                  <a:lnTo>
                    <a:pt x="144735" y="217"/>
                  </a:lnTo>
                  <a:lnTo>
                    <a:pt x="147249" y="1481"/>
                  </a:lnTo>
                  <a:lnTo>
                    <a:pt x="149013" y="3067"/>
                  </a:lnTo>
                  <a:lnTo>
                    <a:pt x="149708" y="4325"/>
                  </a:lnTo>
                  <a:lnTo>
                    <a:pt x="151215" y="6100"/>
                  </a:lnTo>
                  <a:lnTo>
                    <a:pt x="152800" y="8594"/>
                  </a:lnTo>
                  <a:lnTo>
                    <a:pt x="154543" y="11906"/>
                  </a:lnTo>
                  <a:lnTo>
                    <a:pt x="154925" y="13582"/>
                  </a:lnTo>
                  <a:lnTo>
                    <a:pt x="155584" y="15390"/>
                  </a:lnTo>
                  <a:lnTo>
                    <a:pt x="156888" y="17590"/>
                  </a:lnTo>
                  <a:lnTo>
                    <a:pt x="159371" y="20023"/>
                  </a:lnTo>
                  <a:lnTo>
                    <a:pt x="159717" y="20485"/>
                  </a:lnTo>
                  <a:lnTo>
                    <a:pt x="160844" y="22198"/>
                  </a:lnTo>
                  <a:lnTo>
                    <a:pt x="163016" y="25985"/>
                  </a:lnTo>
                  <a:lnTo>
                    <a:pt x="164832" y="27500"/>
                  </a:lnTo>
                  <a:lnTo>
                    <a:pt x="166419" y="29147"/>
                  </a:lnTo>
                  <a:lnTo>
                    <a:pt x="167179" y="30805"/>
                  </a:lnTo>
                  <a:lnTo>
                    <a:pt x="168317" y="32309"/>
                  </a:lnTo>
                  <a:lnTo>
                    <a:pt x="170980" y="34300"/>
                  </a:lnTo>
                  <a:lnTo>
                    <a:pt x="173137" y="36109"/>
                  </a:lnTo>
                  <a:lnTo>
                    <a:pt x="174867" y="41302"/>
                  </a:lnTo>
                  <a:lnTo>
                    <a:pt x="176076" y="43687"/>
                  </a:lnTo>
                  <a:lnTo>
                    <a:pt x="176845" y="45511"/>
                  </a:lnTo>
                  <a:lnTo>
                    <a:pt x="176473" y="49200"/>
                  </a:lnTo>
                  <a:lnTo>
                    <a:pt x="176953" y="50776"/>
                  </a:lnTo>
                  <a:lnTo>
                    <a:pt x="175964" y="53652"/>
                  </a:lnTo>
                  <a:lnTo>
                    <a:pt x="174184" y="59435"/>
                  </a:lnTo>
                  <a:lnTo>
                    <a:pt x="173755" y="64024"/>
                  </a:lnTo>
                  <a:lnTo>
                    <a:pt x="174062" y="66495"/>
                  </a:lnTo>
                  <a:lnTo>
                    <a:pt x="174105" y="68081"/>
                  </a:lnTo>
                  <a:lnTo>
                    <a:pt x="174534" y="69091"/>
                  </a:lnTo>
                  <a:lnTo>
                    <a:pt x="175005" y="71179"/>
                  </a:lnTo>
                  <a:lnTo>
                    <a:pt x="175083" y="72995"/>
                  </a:lnTo>
                  <a:lnTo>
                    <a:pt x="174444" y="73513"/>
                  </a:lnTo>
                  <a:lnTo>
                    <a:pt x="173548" y="73940"/>
                  </a:lnTo>
                  <a:lnTo>
                    <a:pt x="173202" y="74319"/>
                  </a:lnTo>
                  <a:lnTo>
                    <a:pt x="174025" y="75139"/>
                  </a:lnTo>
                  <a:lnTo>
                    <a:pt x="175143" y="76661"/>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3" name="ee4p_IT_2_15912">
              <a:extLst>
                <a:ext uri="{FF2B5EF4-FFF2-40B4-BE49-F238E27FC236}">
                  <a16:creationId xmlns:a16="http://schemas.microsoft.com/office/drawing/2014/main" id="{BCFC3A70-130D-7C7E-20E7-A1C7F8053F33}"/>
                </a:ext>
              </a:extLst>
            </p:cNvPr>
            <p:cNvSpPr>
              <a:spLocks noChangeAspect="1"/>
            </p:cNvSpPr>
            <p:nvPr>
              <p:custDataLst>
                <p:tags r:id="rId55"/>
              </p:custDataLst>
            </p:nvPr>
          </p:nvSpPr>
          <p:spPr>
            <a:xfrm>
              <a:off x="4352677" y="4860001"/>
              <a:ext cx="1039453" cy="968085"/>
            </a:xfrm>
            <a:custGeom>
              <a:avLst/>
              <a:gdLst/>
              <a:ahLst/>
              <a:cxnLst/>
              <a:rect l="l" t="t" r="r" b="b"/>
              <a:pathLst>
                <a:path w="262208" h="244205">
                  <a:moveTo>
                    <a:pt x="129930" y="85000"/>
                  </a:moveTo>
                  <a:lnTo>
                    <a:pt x="128546" y="85198"/>
                  </a:lnTo>
                  <a:lnTo>
                    <a:pt x="127568" y="86492"/>
                  </a:lnTo>
                  <a:lnTo>
                    <a:pt x="128220" y="87586"/>
                  </a:lnTo>
                  <a:lnTo>
                    <a:pt x="129522" y="87389"/>
                  </a:lnTo>
                  <a:lnTo>
                    <a:pt x="130172" y="85994"/>
                  </a:lnTo>
                  <a:close/>
                  <a:moveTo>
                    <a:pt x="122539" y="0"/>
                  </a:moveTo>
                  <a:lnTo>
                    <a:pt x="123152" y="199"/>
                  </a:lnTo>
                  <a:lnTo>
                    <a:pt x="123243" y="593"/>
                  </a:lnTo>
                  <a:lnTo>
                    <a:pt x="122452" y="1507"/>
                  </a:lnTo>
                  <a:lnTo>
                    <a:pt x="121684" y="2719"/>
                  </a:lnTo>
                  <a:lnTo>
                    <a:pt x="122200" y="4100"/>
                  </a:lnTo>
                  <a:lnTo>
                    <a:pt x="124718" y="6870"/>
                  </a:lnTo>
                  <a:lnTo>
                    <a:pt x="126091" y="8988"/>
                  </a:lnTo>
                  <a:lnTo>
                    <a:pt x="127378" y="10579"/>
                  </a:lnTo>
                  <a:lnTo>
                    <a:pt x="129388" y="11417"/>
                  </a:lnTo>
                  <a:lnTo>
                    <a:pt x="132029" y="11929"/>
                  </a:lnTo>
                  <a:lnTo>
                    <a:pt x="134266" y="12114"/>
                  </a:lnTo>
                  <a:lnTo>
                    <a:pt x="136605" y="12714"/>
                  </a:lnTo>
                  <a:lnTo>
                    <a:pt x="144636" y="14193"/>
                  </a:lnTo>
                  <a:lnTo>
                    <a:pt x="148678" y="14602"/>
                  </a:lnTo>
                  <a:lnTo>
                    <a:pt x="151740" y="14668"/>
                  </a:lnTo>
                  <a:lnTo>
                    <a:pt x="156383" y="15648"/>
                  </a:lnTo>
                  <a:lnTo>
                    <a:pt x="155934" y="17241"/>
                  </a:lnTo>
                  <a:lnTo>
                    <a:pt x="154992" y="17639"/>
                  </a:lnTo>
                  <a:lnTo>
                    <a:pt x="153360" y="18567"/>
                  </a:lnTo>
                  <a:lnTo>
                    <a:pt x="151486" y="19839"/>
                  </a:lnTo>
                  <a:lnTo>
                    <a:pt x="149738" y="21271"/>
                  </a:lnTo>
                  <a:lnTo>
                    <a:pt x="149268" y="22820"/>
                  </a:lnTo>
                  <a:lnTo>
                    <a:pt x="149741" y="23835"/>
                  </a:lnTo>
                  <a:lnTo>
                    <a:pt x="150214" y="24185"/>
                  </a:lnTo>
                  <a:lnTo>
                    <a:pt x="150851" y="23874"/>
                  </a:lnTo>
                  <a:lnTo>
                    <a:pt x="151779" y="24066"/>
                  </a:lnTo>
                  <a:lnTo>
                    <a:pt x="152949" y="24620"/>
                  </a:lnTo>
                  <a:lnTo>
                    <a:pt x="154891" y="25161"/>
                  </a:lnTo>
                  <a:lnTo>
                    <a:pt x="154945" y="25694"/>
                  </a:lnTo>
                  <a:lnTo>
                    <a:pt x="154539" y="26376"/>
                  </a:lnTo>
                  <a:lnTo>
                    <a:pt x="153023" y="27592"/>
                  </a:lnTo>
                  <a:lnTo>
                    <a:pt x="151660" y="28962"/>
                  </a:lnTo>
                  <a:lnTo>
                    <a:pt x="151524" y="29800"/>
                  </a:lnTo>
                  <a:lnTo>
                    <a:pt x="151688" y="30410"/>
                  </a:lnTo>
                  <a:lnTo>
                    <a:pt x="152163" y="30778"/>
                  </a:lnTo>
                  <a:lnTo>
                    <a:pt x="154185" y="30613"/>
                  </a:lnTo>
                  <a:lnTo>
                    <a:pt x="154480" y="31113"/>
                  </a:lnTo>
                  <a:lnTo>
                    <a:pt x="153500" y="34631"/>
                  </a:lnTo>
                  <a:lnTo>
                    <a:pt x="153804" y="35231"/>
                  </a:lnTo>
                  <a:lnTo>
                    <a:pt x="155575" y="35792"/>
                  </a:lnTo>
                  <a:lnTo>
                    <a:pt x="156862" y="36638"/>
                  </a:lnTo>
                  <a:lnTo>
                    <a:pt x="159283" y="38865"/>
                  </a:lnTo>
                  <a:lnTo>
                    <a:pt x="160246" y="40669"/>
                  </a:lnTo>
                  <a:lnTo>
                    <a:pt x="159583" y="41273"/>
                  </a:lnTo>
                  <a:lnTo>
                    <a:pt x="158063" y="41573"/>
                  </a:lnTo>
                  <a:lnTo>
                    <a:pt x="156821" y="41418"/>
                  </a:lnTo>
                  <a:lnTo>
                    <a:pt x="158225" y="40328"/>
                  </a:lnTo>
                  <a:lnTo>
                    <a:pt x="154798" y="36372"/>
                  </a:lnTo>
                  <a:lnTo>
                    <a:pt x="153247" y="36379"/>
                  </a:lnTo>
                  <a:lnTo>
                    <a:pt x="151189" y="38052"/>
                  </a:lnTo>
                  <a:lnTo>
                    <a:pt x="145467" y="36360"/>
                  </a:lnTo>
                  <a:lnTo>
                    <a:pt x="144370" y="37043"/>
                  </a:lnTo>
                  <a:lnTo>
                    <a:pt x="143560" y="38384"/>
                  </a:lnTo>
                  <a:lnTo>
                    <a:pt x="141574" y="40046"/>
                  </a:lnTo>
                  <a:lnTo>
                    <a:pt x="138760" y="40781"/>
                  </a:lnTo>
                  <a:lnTo>
                    <a:pt x="135625" y="42609"/>
                  </a:lnTo>
                  <a:lnTo>
                    <a:pt x="132319" y="43903"/>
                  </a:lnTo>
                  <a:lnTo>
                    <a:pt x="129794" y="44879"/>
                  </a:lnTo>
                  <a:lnTo>
                    <a:pt x="128347" y="44707"/>
                  </a:lnTo>
                  <a:lnTo>
                    <a:pt x="130647" y="42592"/>
                  </a:lnTo>
                  <a:lnTo>
                    <a:pt x="129667" y="42554"/>
                  </a:lnTo>
                  <a:lnTo>
                    <a:pt x="126616" y="44046"/>
                  </a:lnTo>
                  <a:lnTo>
                    <a:pt x="124858" y="45308"/>
                  </a:lnTo>
                  <a:lnTo>
                    <a:pt x="124295" y="47427"/>
                  </a:lnTo>
                  <a:lnTo>
                    <a:pt x="123783" y="50918"/>
                  </a:lnTo>
                  <a:lnTo>
                    <a:pt x="125124" y="51844"/>
                  </a:lnTo>
                  <a:lnTo>
                    <a:pt x="127471" y="56439"/>
                  </a:lnTo>
                  <a:lnTo>
                    <a:pt x="130367" y="58402"/>
                  </a:lnTo>
                  <a:lnTo>
                    <a:pt x="129803" y="60275"/>
                  </a:lnTo>
                  <a:lnTo>
                    <a:pt x="129043" y="61754"/>
                  </a:lnTo>
                  <a:lnTo>
                    <a:pt x="127294" y="63033"/>
                  </a:lnTo>
                  <a:lnTo>
                    <a:pt x="125847" y="62084"/>
                  </a:lnTo>
                  <a:lnTo>
                    <a:pt x="124960" y="62108"/>
                  </a:lnTo>
                  <a:lnTo>
                    <a:pt x="124284" y="65101"/>
                  </a:lnTo>
                  <a:lnTo>
                    <a:pt x="125536" y="73077"/>
                  </a:lnTo>
                  <a:lnTo>
                    <a:pt x="127555" y="78657"/>
                  </a:lnTo>
                  <a:lnTo>
                    <a:pt x="129557" y="81088"/>
                  </a:lnTo>
                  <a:lnTo>
                    <a:pt x="134074" y="84865"/>
                  </a:lnTo>
                  <a:lnTo>
                    <a:pt x="138849" y="86854"/>
                  </a:lnTo>
                  <a:lnTo>
                    <a:pt x="147434" y="93204"/>
                  </a:lnTo>
                  <a:lnTo>
                    <a:pt x="152142" y="95210"/>
                  </a:lnTo>
                  <a:lnTo>
                    <a:pt x="153379" y="96299"/>
                  </a:lnTo>
                  <a:lnTo>
                    <a:pt x="156234" y="101182"/>
                  </a:lnTo>
                  <a:lnTo>
                    <a:pt x="158698" y="106813"/>
                  </a:lnTo>
                  <a:lnTo>
                    <a:pt x="161356" y="115626"/>
                  </a:lnTo>
                  <a:lnTo>
                    <a:pt x="163248" y="119958"/>
                  </a:lnTo>
                  <a:lnTo>
                    <a:pt x="167057" y="124847"/>
                  </a:lnTo>
                  <a:lnTo>
                    <a:pt x="174973" y="131831"/>
                  </a:lnTo>
                  <a:lnTo>
                    <a:pt x="182168" y="136928"/>
                  </a:lnTo>
                  <a:lnTo>
                    <a:pt x="188860" y="140074"/>
                  </a:lnTo>
                  <a:lnTo>
                    <a:pt x="194084" y="140626"/>
                  </a:lnTo>
                  <a:lnTo>
                    <a:pt x="206446" y="139930"/>
                  </a:lnTo>
                  <a:lnTo>
                    <a:pt x="208601" y="140231"/>
                  </a:lnTo>
                  <a:lnTo>
                    <a:pt x="210882" y="141078"/>
                  </a:lnTo>
                  <a:lnTo>
                    <a:pt x="211423" y="143257"/>
                  </a:lnTo>
                  <a:lnTo>
                    <a:pt x="210586" y="144727"/>
                  </a:lnTo>
                  <a:lnTo>
                    <a:pt x="207986" y="146256"/>
                  </a:lnTo>
                  <a:lnTo>
                    <a:pt x="205334" y="148371"/>
                  </a:lnTo>
                  <a:lnTo>
                    <a:pt x="205040" y="151248"/>
                  </a:lnTo>
                  <a:lnTo>
                    <a:pt x="207519" y="153273"/>
                  </a:lnTo>
                  <a:lnTo>
                    <a:pt x="219443" y="158639"/>
                  </a:lnTo>
                  <a:lnTo>
                    <a:pt x="231640" y="163114"/>
                  </a:lnTo>
                  <a:lnTo>
                    <a:pt x="235438" y="165396"/>
                  </a:lnTo>
                  <a:lnTo>
                    <a:pt x="239839" y="168940"/>
                  </a:lnTo>
                  <a:lnTo>
                    <a:pt x="250469" y="173806"/>
                  </a:lnTo>
                  <a:lnTo>
                    <a:pt x="252264" y="176172"/>
                  </a:lnTo>
                  <a:lnTo>
                    <a:pt x="258723" y="181254"/>
                  </a:lnTo>
                  <a:lnTo>
                    <a:pt x="261651" y="185170"/>
                  </a:lnTo>
                  <a:lnTo>
                    <a:pt x="262208" y="188204"/>
                  </a:lnTo>
                  <a:lnTo>
                    <a:pt x="260809" y="191281"/>
                  </a:lnTo>
                  <a:lnTo>
                    <a:pt x="260165" y="193451"/>
                  </a:lnTo>
                  <a:lnTo>
                    <a:pt x="259066" y="195592"/>
                  </a:lnTo>
                  <a:lnTo>
                    <a:pt x="256315" y="194781"/>
                  </a:lnTo>
                  <a:lnTo>
                    <a:pt x="253188" y="192582"/>
                  </a:lnTo>
                  <a:lnTo>
                    <a:pt x="248481" y="183625"/>
                  </a:lnTo>
                  <a:lnTo>
                    <a:pt x="239882" y="182716"/>
                  </a:lnTo>
                  <a:lnTo>
                    <a:pt x="238105" y="182054"/>
                  </a:lnTo>
                  <a:lnTo>
                    <a:pt x="235051" y="180515"/>
                  </a:lnTo>
                  <a:lnTo>
                    <a:pt x="234868" y="179499"/>
                  </a:lnTo>
                  <a:lnTo>
                    <a:pt x="234114" y="178229"/>
                  </a:lnTo>
                  <a:lnTo>
                    <a:pt x="233333" y="177800"/>
                  </a:lnTo>
                  <a:lnTo>
                    <a:pt x="230044" y="177520"/>
                  </a:lnTo>
                  <a:lnTo>
                    <a:pt x="227766" y="178972"/>
                  </a:lnTo>
                  <a:lnTo>
                    <a:pt x="225086" y="182414"/>
                  </a:lnTo>
                  <a:lnTo>
                    <a:pt x="222048" y="187359"/>
                  </a:lnTo>
                  <a:lnTo>
                    <a:pt x="218960" y="194596"/>
                  </a:lnTo>
                  <a:lnTo>
                    <a:pt x="218781" y="197514"/>
                  </a:lnTo>
                  <a:lnTo>
                    <a:pt x="220459" y="200339"/>
                  </a:lnTo>
                  <a:lnTo>
                    <a:pt x="225468" y="201914"/>
                  </a:lnTo>
                  <a:lnTo>
                    <a:pt x="229335" y="204425"/>
                  </a:lnTo>
                  <a:lnTo>
                    <a:pt x="231886" y="207045"/>
                  </a:lnTo>
                  <a:lnTo>
                    <a:pt x="232071" y="213368"/>
                  </a:lnTo>
                  <a:lnTo>
                    <a:pt x="233214" y="216950"/>
                  </a:lnTo>
                  <a:lnTo>
                    <a:pt x="231532" y="218985"/>
                  </a:lnTo>
                  <a:lnTo>
                    <a:pt x="228280" y="218457"/>
                  </a:lnTo>
                  <a:lnTo>
                    <a:pt x="223946" y="219751"/>
                  </a:lnTo>
                  <a:lnTo>
                    <a:pt x="220877" y="222063"/>
                  </a:lnTo>
                  <a:lnTo>
                    <a:pt x="219601" y="224265"/>
                  </a:lnTo>
                  <a:lnTo>
                    <a:pt x="219938" y="229965"/>
                  </a:lnTo>
                  <a:lnTo>
                    <a:pt x="219305" y="232139"/>
                  </a:lnTo>
                  <a:lnTo>
                    <a:pt x="213486" y="236239"/>
                  </a:lnTo>
                  <a:lnTo>
                    <a:pt x="210428" y="240429"/>
                  </a:lnTo>
                  <a:lnTo>
                    <a:pt x="209668" y="242166"/>
                  </a:lnTo>
                  <a:lnTo>
                    <a:pt x="208498" y="244135"/>
                  </a:lnTo>
                  <a:lnTo>
                    <a:pt x="201149" y="244205"/>
                  </a:lnTo>
                  <a:lnTo>
                    <a:pt x="199409" y="241767"/>
                  </a:lnTo>
                  <a:lnTo>
                    <a:pt x="199348" y="238144"/>
                  </a:lnTo>
                  <a:lnTo>
                    <a:pt x="200611" y="235912"/>
                  </a:lnTo>
                  <a:lnTo>
                    <a:pt x="203313" y="234867"/>
                  </a:lnTo>
                  <a:lnTo>
                    <a:pt x="205135" y="230224"/>
                  </a:lnTo>
                  <a:lnTo>
                    <a:pt x="204563" y="226865"/>
                  </a:lnTo>
                  <a:lnTo>
                    <a:pt x="205626" y="225375"/>
                  </a:lnTo>
                  <a:lnTo>
                    <a:pt x="206630" y="224321"/>
                  </a:lnTo>
                  <a:lnTo>
                    <a:pt x="208690" y="223707"/>
                  </a:lnTo>
                  <a:lnTo>
                    <a:pt x="211592" y="223118"/>
                  </a:lnTo>
                  <a:lnTo>
                    <a:pt x="211883" y="218423"/>
                  </a:lnTo>
                  <a:lnTo>
                    <a:pt x="209616" y="216285"/>
                  </a:lnTo>
                  <a:lnTo>
                    <a:pt x="208821" y="213293"/>
                  </a:lnTo>
                  <a:lnTo>
                    <a:pt x="207763" y="207746"/>
                  </a:lnTo>
                  <a:lnTo>
                    <a:pt x="204021" y="200661"/>
                  </a:lnTo>
                  <a:lnTo>
                    <a:pt x="202015" y="194325"/>
                  </a:lnTo>
                  <a:lnTo>
                    <a:pt x="200447" y="191195"/>
                  </a:lnTo>
                  <a:lnTo>
                    <a:pt x="198068" y="189561"/>
                  </a:lnTo>
                  <a:lnTo>
                    <a:pt x="193773" y="189579"/>
                  </a:lnTo>
                  <a:lnTo>
                    <a:pt x="191641" y="189113"/>
                  </a:lnTo>
                  <a:lnTo>
                    <a:pt x="184043" y="184700"/>
                  </a:lnTo>
                  <a:lnTo>
                    <a:pt x="183513" y="184028"/>
                  </a:lnTo>
                  <a:lnTo>
                    <a:pt x="183561" y="182856"/>
                  </a:lnTo>
                  <a:lnTo>
                    <a:pt x="184822" y="181080"/>
                  </a:lnTo>
                  <a:lnTo>
                    <a:pt x="183971" y="178676"/>
                  </a:lnTo>
                  <a:lnTo>
                    <a:pt x="183071" y="176405"/>
                  </a:lnTo>
                  <a:lnTo>
                    <a:pt x="181581" y="174467"/>
                  </a:lnTo>
                  <a:lnTo>
                    <a:pt x="179948" y="173459"/>
                  </a:lnTo>
                  <a:lnTo>
                    <a:pt x="176532" y="174079"/>
                  </a:lnTo>
                  <a:lnTo>
                    <a:pt x="175331" y="174561"/>
                  </a:lnTo>
                  <a:lnTo>
                    <a:pt x="173174" y="174395"/>
                  </a:lnTo>
                  <a:lnTo>
                    <a:pt x="171479" y="175257"/>
                  </a:lnTo>
                  <a:lnTo>
                    <a:pt x="170533" y="175284"/>
                  </a:lnTo>
                  <a:lnTo>
                    <a:pt x="173200" y="171877"/>
                  </a:lnTo>
                  <a:lnTo>
                    <a:pt x="172483" y="171074"/>
                  </a:lnTo>
                  <a:lnTo>
                    <a:pt x="169847" y="169674"/>
                  </a:lnTo>
                  <a:lnTo>
                    <a:pt x="166271" y="169462"/>
                  </a:lnTo>
                  <a:lnTo>
                    <a:pt x="165280" y="169293"/>
                  </a:lnTo>
                  <a:lnTo>
                    <a:pt x="164694" y="170165"/>
                  </a:lnTo>
                  <a:lnTo>
                    <a:pt x="163997" y="169684"/>
                  </a:lnTo>
                  <a:lnTo>
                    <a:pt x="164070" y="168159"/>
                  </a:lnTo>
                  <a:lnTo>
                    <a:pt x="159916" y="161328"/>
                  </a:lnTo>
                  <a:lnTo>
                    <a:pt x="157121" y="158544"/>
                  </a:lnTo>
                  <a:lnTo>
                    <a:pt x="155714" y="158047"/>
                  </a:lnTo>
                  <a:lnTo>
                    <a:pt x="153172" y="158635"/>
                  </a:lnTo>
                  <a:lnTo>
                    <a:pt x="148907" y="157414"/>
                  </a:lnTo>
                  <a:lnTo>
                    <a:pt x="146363" y="157141"/>
                  </a:lnTo>
                  <a:lnTo>
                    <a:pt x="144960" y="157435"/>
                  </a:lnTo>
                  <a:lnTo>
                    <a:pt x="142865" y="158328"/>
                  </a:lnTo>
                  <a:lnTo>
                    <a:pt x="141811" y="157738"/>
                  </a:lnTo>
                  <a:lnTo>
                    <a:pt x="141440" y="156822"/>
                  </a:lnTo>
                  <a:lnTo>
                    <a:pt x="137570" y="153977"/>
                  </a:lnTo>
                  <a:lnTo>
                    <a:pt x="132742" y="152368"/>
                  </a:lnTo>
                  <a:lnTo>
                    <a:pt x="123340" y="143293"/>
                  </a:lnTo>
                  <a:lnTo>
                    <a:pt x="120457" y="139892"/>
                  </a:lnTo>
                  <a:lnTo>
                    <a:pt x="114525" y="136145"/>
                  </a:lnTo>
                  <a:lnTo>
                    <a:pt x="110772" y="130679"/>
                  </a:lnTo>
                  <a:lnTo>
                    <a:pt x="107702" y="128672"/>
                  </a:lnTo>
                  <a:lnTo>
                    <a:pt x="103232" y="127064"/>
                  </a:lnTo>
                  <a:lnTo>
                    <a:pt x="102202" y="127265"/>
                  </a:lnTo>
                  <a:lnTo>
                    <a:pt x="100857" y="127868"/>
                  </a:lnTo>
                  <a:lnTo>
                    <a:pt x="99803" y="127954"/>
                  </a:lnTo>
                  <a:lnTo>
                    <a:pt x="98963" y="127242"/>
                  </a:lnTo>
                  <a:lnTo>
                    <a:pt x="99815" y="126509"/>
                  </a:lnTo>
                  <a:lnTo>
                    <a:pt x="100766" y="126176"/>
                  </a:lnTo>
                  <a:lnTo>
                    <a:pt x="100390" y="124081"/>
                  </a:lnTo>
                  <a:lnTo>
                    <a:pt x="95305" y="118644"/>
                  </a:lnTo>
                  <a:lnTo>
                    <a:pt x="92327" y="116890"/>
                  </a:lnTo>
                  <a:lnTo>
                    <a:pt x="91487" y="115810"/>
                  </a:lnTo>
                  <a:lnTo>
                    <a:pt x="90867" y="114331"/>
                  </a:lnTo>
                  <a:lnTo>
                    <a:pt x="90232" y="113357"/>
                  </a:lnTo>
                  <a:lnTo>
                    <a:pt x="88822" y="112798"/>
                  </a:lnTo>
                  <a:lnTo>
                    <a:pt x="87619" y="112894"/>
                  </a:lnTo>
                  <a:lnTo>
                    <a:pt x="85952" y="112521"/>
                  </a:lnTo>
                  <a:lnTo>
                    <a:pt x="86006" y="109905"/>
                  </a:lnTo>
                  <a:lnTo>
                    <a:pt x="86339" y="107893"/>
                  </a:lnTo>
                  <a:lnTo>
                    <a:pt x="86084" y="106184"/>
                  </a:lnTo>
                  <a:lnTo>
                    <a:pt x="84464" y="101686"/>
                  </a:lnTo>
                  <a:lnTo>
                    <a:pt x="81655" y="97867"/>
                  </a:lnTo>
                  <a:lnTo>
                    <a:pt x="80003" y="88722"/>
                  </a:lnTo>
                  <a:lnTo>
                    <a:pt x="78727" y="86142"/>
                  </a:lnTo>
                  <a:lnTo>
                    <a:pt x="75622" y="84182"/>
                  </a:lnTo>
                  <a:lnTo>
                    <a:pt x="68617" y="81983"/>
                  </a:lnTo>
                  <a:lnTo>
                    <a:pt x="58854" y="76070"/>
                  </a:lnTo>
                  <a:lnTo>
                    <a:pt x="56790" y="75968"/>
                  </a:lnTo>
                  <a:lnTo>
                    <a:pt x="50917" y="73666"/>
                  </a:lnTo>
                  <a:lnTo>
                    <a:pt x="47278" y="73271"/>
                  </a:lnTo>
                  <a:lnTo>
                    <a:pt x="42549" y="75339"/>
                  </a:lnTo>
                  <a:lnTo>
                    <a:pt x="36809" y="81026"/>
                  </a:lnTo>
                  <a:lnTo>
                    <a:pt x="32149" y="86915"/>
                  </a:lnTo>
                  <a:lnTo>
                    <a:pt x="30454" y="88055"/>
                  </a:lnTo>
                  <a:lnTo>
                    <a:pt x="24446" y="90059"/>
                  </a:lnTo>
                  <a:lnTo>
                    <a:pt x="19137" y="91016"/>
                  </a:lnTo>
                  <a:lnTo>
                    <a:pt x="19078" y="89509"/>
                  </a:lnTo>
                  <a:lnTo>
                    <a:pt x="18891" y="88376"/>
                  </a:lnTo>
                  <a:lnTo>
                    <a:pt x="19789" y="87127"/>
                  </a:lnTo>
                  <a:lnTo>
                    <a:pt x="21270" y="85657"/>
                  </a:lnTo>
                  <a:lnTo>
                    <a:pt x="22637" y="83812"/>
                  </a:lnTo>
                  <a:lnTo>
                    <a:pt x="23205" y="82471"/>
                  </a:lnTo>
                  <a:lnTo>
                    <a:pt x="22937" y="81581"/>
                  </a:lnTo>
                  <a:lnTo>
                    <a:pt x="22322" y="80258"/>
                  </a:lnTo>
                  <a:lnTo>
                    <a:pt x="21486" y="80162"/>
                  </a:lnTo>
                  <a:lnTo>
                    <a:pt x="16433" y="81273"/>
                  </a:lnTo>
                  <a:lnTo>
                    <a:pt x="15276" y="80986"/>
                  </a:lnTo>
                  <a:lnTo>
                    <a:pt x="11536" y="79259"/>
                  </a:lnTo>
                  <a:lnTo>
                    <a:pt x="7508" y="77134"/>
                  </a:lnTo>
                  <a:lnTo>
                    <a:pt x="6025" y="75622"/>
                  </a:lnTo>
                  <a:lnTo>
                    <a:pt x="5463" y="74093"/>
                  </a:lnTo>
                  <a:lnTo>
                    <a:pt x="5884" y="73111"/>
                  </a:lnTo>
                  <a:lnTo>
                    <a:pt x="5548" y="72157"/>
                  </a:lnTo>
                  <a:lnTo>
                    <a:pt x="4760" y="70868"/>
                  </a:lnTo>
                  <a:lnTo>
                    <a:pt x="5472" y="69403"/>
                  </a:lnTo>
                  <a:lnTo>
                    <a:pt x="6727" y="67576"/>
                  </a:lnTo>
                  <a:lnTo>
                    <a:pt x="7355" y="66337"/>
                  </a:lnTo>
                  <a:lnTo>
                    <a:pt x="8407" y="66015"/>
                  </a:lnTo>
                  <a:lnTo>
                    <a:pt x="8910" y="65259"/>
                  </a:lnTo>
                  <a:lnTo>
                    <a:pt x="8070" y="62243"/>
                  </a:lnTo>
                  <a:lnTo>
                    <a:pt x="7632" y="61760"/>
                  </a:lnTo>
                  <a:lnTo>
                    <a:pt x="6902" y="61385"/>
                  </a:lnTo>
                  <a:lnTo>
                    <a:pt x="5785" y="61343"/>
                  </a:lnTo>
                  <a:lnTo>
                    <a:pt x="3833" y="60719"/>
                  </a:lnTo>
                  <a:lnTo>
                    <a:pt x="2442" y="59675"/>
                  </a:lnTo>
                  <a:lnTo>
                    <a:pt x="2144" y="58265"/>
                  </a:lnTo>
                  <a:lnTo>
                    <a:pt x="1408" y="56909"/>
                  </a:lnTo>
                  <a:lnTo>
                    <a:pt x="156" y="55663"/>
                  </a:lnTo>
                  <a:lnTo>
                    <a:pt x="0" y="54301"/>
                  </a:lnTo>
                  <a:lnTo>
                    <a:pt x="1428" y="53580"/>
                  </a:lnTo>
                  <a:lnTo>
                    <a:pt x="3375" y="53552"/>
                  </a:lnTo>
                  <a:lnTo>
                    <a:pt x="4745" y="53817"/>
                  </a:lnTo>
                  <a:lnTo>
                    <a:pt x="7817" y="51629"/>
                  </a:lnTo>
                  <a:lnTo>
                    <a:pt x="8949" y="51436"/>
                  </a:lnTo>
                  <a:lnTo>
                    <a:pt x="9964" y="50961"/>
                  </a:lnTo>
                  <a:lnTo>
                    <a:pt x="10814" y="47971"/>
                  </a:lnTo>
                  <a:lnTo>
                    <a:pt x="11469" y="47073"/>
                  </a:lnTo>
                  <a:lnTo>
                    <a:pt x="11624" y="46546"/>
                  </a:lnTo>
                  <a:lnTo>
                    <a:pt x="11019" y="45922"/>
                  </a:lnTo>
                  <a:lnTo>
                    <a:pt x="8534" y="43813"/>
                  </a:lnTo>
                  <a:lnTo>
                    <a:pt x="7401" y="41612"/>
                  </a:lnTo>
                  <a:lnTo>
                    <a:pt x="5610" y="39142"/>
                  </a:lnTo>
                  <a:lnTo>
                    <a:pt x="3948" y="38050"/>
                  </a:lnTo>
                  <a:lnTo>
                    <a:pt x="3609" y="37201"/>
                  </a:lnTo>
                  <a:lnTo>
                    <a:pt x="3570" y="36121"/>
                  </a:lnTo>
                  <a:lnTo>
                    <a:pt x="3909" y="35171"/>
                  </a:lnTo>
                  <a:lnTo>
                    <a:pt x="6923" y="33687"/>
                  </a:lnTo>
                  <a:lnTo>
                    <a:pt x="8698" y="32103"/>
                  </a:lnTo>
                  <a:lnTo>
                    <a:pt x="9465" y="32710"/>
                  </a:lnTo>
                  <a:lnTo>
                    <a:pt x="11084" y="33354"/>
                  </a:lnTo>
                  <a:lnTo>
                    <a:pt x="15483" y="32473"/>
                  </a:lnTo>
                  <a:lnTo>
                    <a:pt x="18217" y="31588"/>
                  </a:lnTo>
                  <a:lnTo>
                    <a:pt x="20141" y="30657"/>
                  </a:lnTo>
                  <a:lnTo>
                    <a:pt x="21335" y="30822"/>
                  </a:lnTo>
                  <a:lnTo>
                    <a:pt x="25654" y="32212"/>
                  </a:lnTo>
                  <a:lnTo>
                    <a:pt x="27079" y="31505"/>
                  </a:lnTo>
                  <a:lnTo>
                    <a:pt x="30193" y="29615"/>
                  </a:lnTo>
                  <a:lnTo>
                    <a:pt x="30659" y="28621"/>
                  </a:lnTo>
                  <a:lnTo>
                    <a:pt x="33112" y="25606"/>
                  </a:lnTo>
                  <a:lnTo>
                    <a:pt x="33158" y="24869"/>
                  </a:lnTo>
                  <a:lnTo>
                    <a:pt x="32147" y="22975"/>
                  </a:lnTo>
                  <a:lnTo>
                    <a:pt x="32460" y="22559"/>
                  </a:lnTo>
                  <a:lnTo>
                    <a:pt x="35473" y="20615"/>
                  </a:lnTo>
                  <a:lnTo>
                    <a:pt x="36945" y="18890"/>
                  </a:lnTo>
                  <a:lnTo>
                    <a:pt x="38541" y="17734"/>
                  </a:lnTo>
                  <a:lnTo>
                    <a:pt x="39687" y="17708"/>
                  </a:lnTo>
                  <a:lnTo>
                    <a:pt x="40003" y="18101"/>
                  </a:lnTo>
                  <a:lnTo>
                    <a:pt x="40139" y="18908"/>
                  </a:lnTo>
                  <a:lnTo>
                    <a:pt x="40040" y="22232"/>
                  </a:lnTo>
                  <a:lnTo>
                    <a:pt x="40480" y="23255"/>
                  </a:lnTo>
                  <a:lnTo>
                    <a:pt x="42847" y="25637"/>
                  </a:lnTo>
                  <a:lnTo>
                    <a:pt x="44533" y="26993"/>
                  </a:lnTo>
                  <a:lnTo>
                    <a:pt x="48444" y="27923"/>
                  </a:lnTo>
                  <a:lnTo>
                    <a:pt x="48625" y="28368"/>
                  </a:lnTo>
                  <a:lnTo>
                    <a:pt x="47548" y="30160"/>
                  </a:lnTo>
                  <a:lnTo>
                    <a:pt x="49917" y="32299"/>
                  </a:lnTo>
                  <a:lnTo>
                    <a:pt x="50340" y="33864"/>
                  </a:lnTo>
                  <a:lnTo>
                    <a:pt x="51432" y="34744"/>
                  </a:lnTo>
                  <a:lnTo>
                    <a:pt x="52981" y="34312"/>
                  </a:lnTo>
                  <a:lnTo>
                    <a:pt x="53488" y="33488"/>
                  </a:lnTo>
                  <a:lnTo>
                    <a:pt x="52879" y="32039"/>
                  </a:lnTo>
                  <a:lnTo>
                    <a:pt x="52432" y="30521"/>
                  </a:lnTo>
                  <a:lnTo>
                    <a:pt x="52523" y="29643"/>
                  </a:lnTo>
                  <a:lnTo>
                    <a:pt x="52951" y="28633"/>
                  </a:lnTo>
                  <a:lnTo>
                    <a:pt x="54026" y="27224"/>
                  </a:lnTo>
                  <a:lnTo>
                    <a:pt x="56954" y="23993"/>
                  </a:lnTo>
                  <a:lnTo>
                    <a:pt x="58008" y="22123"/>
                  </a:lnTo>
                  <a:lnTo>
                    <a:pt x="58200" y="19228"/>
                  </a:lnTo>
                  <a:lnTo>
                    <a:pt x="58209" y="16899"/>
                  </a:lnTo>
                  <a:lnTo>
                    <a:pt x="59187" y="16334"/>
                  </a:lnTo>
                  <a:lnTo>
                    <a:pt x="61286" y="16747"/>
                  </a:lnTo>
                  <a:lnTo>
                    <a:pt x="61912" y="16701"/>
                  </a:lnTo>
                  <a:lnTo>
                    <a:pt x="62199" y="18131"/>
                  </a:lnTo>
                  <a:lnTo>
                    <a:pt x="63093" y="20405"/>
                  </a:lnTo>
                  <a:lnTo>
                    <a:pt x="64147" y="21585"/>
                  </a:lnTo>
                  <a:lnTo>
                    <a:pt x="65272" y="21865"/>
                  </a:lnTo>
                  <a:lnTo>
                    <a:pt x="66596" y="21871"/>
                  </a:lnTo>
                  <a:lnTo>
                    <a:pt x="69876" y="20481"/>
                  </a:lnTo>
                  <a:lnTo>
                    <a:pt x="72014" y="19879"/>
                  </a:lnTo>
                  <a:lnTo>
                    <a:pt x="73225" y="20044"/>
                  </a:lnTo>
                  <a:lnTo>
                    <a:pt x="73942" y="20990"/>
                  </a:lnTo>
                  <a:lnTo>
                    <a:pt x="75475" y="23471"/>
                  </a:lnTo>
                  <a:lnTo>
                    <a:pt x="76349" y="23751"/>
                  </a:lnTo>
                  <a:lnTo>
                    <a:pt x="77406" y="23467"/>
                  </a:lnTo>
                  <a:lnTo>
                    <a:pt x="77779" y="23044"/>
                  </a:lnTo>
                  <a:lnTo>
                    <a:pt x="77440" y="22090"/>
                  </a:lnTo>
                  <a:lnTo>
                    <a:pt x="76993" y="20015"/>
                  </a:lnTo>
                  <a:lnTo>
                    <a:pt x="76380" y="18410"/>
                  </a:lnTo>
                  <a:lnTo>
                    <a:pt x="75577" y="17657"/>
                  </a:lnTo>
                  <a:lnTo>
                    <a:pt x="75415" y="16677"/>
                  </a:lnTo>
                  <a:lnTo>
                    <a:pt x="75922" y="14912"/>
                  </a:lnTo>
                  <a:lnTo>
                    <a:pt x="76492" y="13436"/>
                  </a:lnTo>
                  <a:lnTo>
                    <a:pt x="77609" y="13034"/>
                  </a:lnTo>
                  <a:lnTo>
                    <a:pt x="78891" y="12847"/>
                  </a:lnTo>
                  <a:lnTo>
                    <a:pt x="80588" y="14410"/>
                  </a:lnTo>
                  <a:lnTo>
                    <a:pt x="82597" y="14904"/>
                  </a:lnTo>
                  <a:lnTo>
                    <a:pt x="84091" y="14821"/>
                  </a:lnTo>
                  <a:lnTo>
                    <a:pt x="84352" y="13909"/>
                  </a:lnTo>
                  <a:lnTo>
                    <a:pt x="84259" y="12909"/>
                  </a:lnTo>
                  <a:lnTo>
                    <a:pt x="83368" y="11625"/>
                  </a:lnTo>
                  <a:lnTo>
                    <a:pt x="83547" y="9683"/>
                  </a:lnTo>
                  <a:lnTo>
                    <a:pt x="84581" y="6060"/>
                  </a:lnTo>
                  <a:lnTo>
                    <a:pt x="85169" y="6334"/>
                  </a:lnTo>
                  <a:lnTo>
                    <a:pt x="87388" y="6373"/>
                  </a:lnTo>
                  <a:lnTo>
                    <a:pt x="89809" y="6577"/>
                  </a:lnTo>
                  <a:lnTo>
                    <a:pt x="91368" y="8056"/>
                  </a:lnTo>
                  <a:lnTo>
                    <a:pt x="92897" y="8559"/>
                  </a:lnTo>
                  <a:lnTo>
                    <a:pt x="95074" y="8719"/>
                  </a:lnTo>
                  <a:lnTo>
                    <a:pt x="96531" y="8510"/>
                  </a:lnTo>
                  <a:lnTo>
                    <a:pt x="97235" y="7954"/>
                  </a:lnTo>
                  <a:lnTo>
                    <a:pt x="98084" y="6222"/>
                  </a:lnTo>
                  <a:lnTo>
                    <a:pt x="99641" y="4074"/>
                  </a:lnTo>
                  <a:lnTo>
                    <a:pt x="102085" y="2972"/>
                  </a:lnTo>
                  <a:lnTo>
                    <a:pt x="106259" y="2766"/>
                  </a:lnTo>
                  <a:lnTo>
                    <a:pt x="108345" y="2366"/>
                  </a:lnTo>
                  <a:lnTo>
                    <a:pt x="110511" y="2389"/>
                  </a:lnTo>
                  <a:lnTo>
                    <a:pt x="112146" y="2721"/>
                  </a:lnTo>
                  <a:lnTo>
                    <a:pt x="113832" y="2682"/>
                  </a:lnTo>
                  <a:lnTo>
                    <a:pt x="118119" y="118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4" name="ee4p_RS_1_15912">
              <a:extLst>
                <a:ext uri="{FF2B5EF4-FFF2-40B4-BE49-F238E27FC236}">
                  <a16:creationId xmlns:a16="http://schemas.microsoft.com/office/drawing/2014/main" id="{17CCC586-CFFF-3C77-C764-9B0B23E585CB}"/>
                </a:ext>
              </a:extLst>
            </p:cNvPr>
            <p:cNvSpPr>
              <a:spLocks noChangeAspect="1"/>
            </p:cNvSpPr>
            <p:nvPr>
              <p:custDataLst>
                <p:tags r:id="rId56"/>
              </p:custDataLst>
            </p:nvPr>
          </p:nvSpPr>
          <p:spPr>
            <a:xfrm>
              <a:off x="5423094" y="4960605"/>
              <a:ext cx="362715" cy="422234"/>
            </a:xfrm>
            <a:custGeom>
              <a:avLst/>
              <a:gdLst/>
              <a:ahLst/>
              <a:cxnLst/>
              <a:rect l="0" t="0" r="0" b="0"/>
              <a:pathLst>
                <a:path w="91497" h="106511">
                  <a:moveTo>
                    <a:pt x="19580" y="478"/>
                  </a:moveTo>
                  <a:lnTo>
                    <a:pt x="22231" y="644"/>
                  </a:lnTo>
                  <a:lnTo>
                    <a:pt x="24214" y="213"/>
                  </a:lnTo>
                  <a:lnTo>
                    <a:pt x="29241" y="755"/>
                  </a:lnTo>
                  <a:lnTo>
                    <a:pt x="30318" y="1194"/>
                  </a:lnTo>
                  <a:lnTo>
                    <a:pt x="31018" y="1676"/>
                  </a:lnTo>
                  <a:lnTo>
                    <a:pt x="32335" y="3276"/>
                  </a:lnTo>
                  <a:lnTo>
                    <a:pt x="33601" y="5353"/>
                  </a:lnTo>
                  <a:lnTo>
                    <a:pt x="35356" y="6311"/>
                  </a:lnTo>
                  <a:lnTo>
                    <a:pt x="37448" y="7450"/>
                  </a:lnTo>
                  <a:lnTo>
                    <a:pt x="38522" y="8278"/>
                  </a:lnTo>
                  <a:lnTo>
                    <a:pt x="40104" y="10762"/>
                  </a:lnTo>
                  <a:lnTo>
                    <a:pt x="41355" y="11977"/>
                  </a:lnTo>
                  <a:lnTo>
                    <a:pt x="41765" y="11918"/>
                  </a:lnTo>
                  <a:lnTo>
                    <a:pt x="42186" y="11599"/>
                  </a:lnTo>
                  <a:lnTo>
                    <a:pt x="42480" y="11348"/>
                  </a:lnTo>
                  <a:lnTo>
                    <a:pt x="42808" y="11577"/>
                  </a:lnTo>
                  <a:lnTo>
                    <a:pt x="42825" y="12328"/>
                  </a:lnTo>
                  <a:lnTo>
                    <a:pt x="42903" y="13994"/>
                  </a:lnTo>
                  <a:lnTo>
                    <a:pt x="42605" y="15769"/>
                  </a:lnTo>
                  <a:lnTo>
                    <a:pt x="43052" y="17446"/>
                  </a:lnTo>
                  <a:lnTo>
                    <a:pt x="43063" y="17968"/>
                  </a:lnTo>
                  <a:lnTo>
                    <a:pt x="42752" y="18445"/>
                  </a:lnTo>
                  <a:lnTo>
                    <a:pt x="42791" y="18876"/>
                  </a:lnTo>
                  <a:lnTo>
                    <a:pt x="43229" y="19330"/>
                  </a:lnTo>
                  <a:lnTo>
                    <a:pt x="44927" y="20438"/>
                  </a:lnTo>
                  <a:lnTo>
                    <a:pt x="46496" y="22145"/>
                  </a:lnTo>
                  <a:lnTo>
                    <a:pt x="48310" y="23346"/>
                  </a:lnTo>
                  <a:lnTo>
                    <a:pt x="49992" y="24113"/>
                  </a:lnTo>
                  <a:lnTo>
                    <a:pt x="51053" y="24163"/>
                  </a:lnTo>
                  <a:lnTo>
                    <a:pt x="52791" y="25546"/>
                  </a:lnTo>
                  <a:lnTo>
                    <a:pt x="56224" y="26538"/>
                  </a:lnTo>
                  <a:lnTo>
                    <a:pt x="57324" y="26881"/>
                  </a:lnTo>
                  <a:lnTo>
                    <a:pt x="58075" y="27447"/>
                  </a:lnTo>
                  <a:lnTo>
                    <a:pt x="58623" y="28103"/>
                  </a:lnTo>
                  <a:lnTo>
                    <a:pt x="58658" y="28805"/>
                  </a:lnTo>
                  <a:lnTo>
                    <a:pt x="58129" y="29145"/>
                  </a:lnTo>
                  <a:lnTo>
                    <a:pt x="57391" y="30094"/>
                  </a:lnTo>
                  <a:lnTo>
                    <a:pt x="57086" y="31248"/>
                  </a:lnTo>
                  <a:lnTo>
                    <a:pt x="56538" y="31542"/>
                  </a:lnTo>
                  <a:lnTo>
                    <a:pt x="55989" y="31565"/>
                  </a:lnTo>
                  <a:lnTo>
                    <a:pt x="55587" y="31903"/>
                  </a:lnTo>
                  <a:lnTo>
                    <a:pt x="55678" y="32401"/>
                  </a:lnTo>
                  <a:lnTo>
                    <a:pt x="56136" y="32875"/>
                  </a:lnTo>
                  <a:lnTo>
                    <a:pt x="56848" y="33304"/>
                  </a:lnTo>
                  <a:lnTo>
                    <a:pt x="58220" y="33734"/>
                  </a:lnTo>
                  <a:lnTo>
                    <a:pt x="59573" y="34366"/>
                  </a:lnTo>
                  <a:lnTo>
                    <a:pt x="59554" y="34862"/>
                  </a:lnTo>
                  <a:lnTo>
                    <a:pt x="59280" y="35405"/>
                  </a:lnTo>
                  <a:lnTo>
                    <a:pt x="57561" y="35607"/>
                  </a:lnTo>
                  <a:lnTo>
                    <a:pt x="56282" y="35698"/>
                  </a:lnTo>
                  <a:lnTo>
                    <a:pt x="55697" y="35923"/>
                  </a:lnTo>
                  <a:lnTo>
                    <a:pt x="55745" y="36882"/>
                  </a:lnTo>
                  <a:lnTo>
                    <a:pt x="59351" y="37880"/>
                  </a:lnTo>
                  <a:lnTo>
                    <a:pt x="60986" y="38826"/>
                  </a:lnTo>
                  <a:lnTo>
                    <a:pt x="61850" y="40052"/>
                  </a:lnTo>
                  <a:lnTo>
                    <a:pt x="64151" y="40863"/>
                  </a:lnTo>
                  <a:lnTo>
                    <a:pt x="67889" y="41259"/>
                  </a:lnTo>
                  <a:lnTo>
                    <a:pt x="70491" y="42519"/>
                  </a:lnTo>
                  <a:lnTo>
                    <a:pt x="71953" y="44640"/>
                  </a:lnTo>
                  <a:lnTo>
                    <a:pt x="74340" y="44130"/>
                  </a:lnTo>
                  <a:lnTo>
                    <a:pt x="77650" y="40987"/>
                  </a:lnTo>
                  <a:lnTo>
                    <a:pt x="80900" y="40166"/>
                  </a:lnTo>
                  <a:lnTo>
                    <a:pt x="84093" y="41672"/>
                  </a:lnTo>
                  <a:lnTo>
                    <a:pt x="85836" y="42910"/>
                  </a:lnTo>
                  <a:lnTo>
                    <a:pt x="86134" y="43878"/>
                  </a:lnTo>
                  <a:lnTo>
                    <a:pt x="85391" y="44270"/>
                  </a:lnTo>
                  <a:lnTo>
                    <a:pt x="83608" y="44084"/>
                  </a:lnTo>
                  <a:lnTo>
                    <a:pt x="82146" y="44683"/>
                  </a:lnTo>
                  <a:lnTo>
                    <a:pt x="81003" y="46063"/>
                  </a:lnTo>
                  <a:lnTo>
                    <a:pt x="80831" y="47536"/>
                  </a:lnTo>
                  <a:lnTo>
                    <a:pt x="81629" y="49097"/>
                  </a:lnTo>
                  <a:lnTo>
                    <a:pt x="82761" y="50173"/>
                  </a:lnTo>
                  <a:lnTo>
                    <a:pt x="84223" y="50768"/>
                  </a:lnTo>
                  <a:lnTo>
                    <a:pt x="85005" y="51581"/>
                  </a:lnTo>
                  <a:lnTo>
                    <a:pt x="85106" y="52617"/>
                  </a:lnTo>
                  <a:lnTo>
                    <a:pt x="85486" y="52902"/>
                  </a:lnTo>
                  <a:lnTo>
                    <a:pt x="84655" y="53379"/>
                  </a:lnTo>
                  <a:lnTo>
                    <a:pt x="83750" y="54087"/>
                  </a:lnTo>
                  <a:lnTo>
                    <a:pt x="83238" y="55320"/>
                  </a:lnTo>
                  <a:lnTo>
                    <a:pt x="83106" y="57306"/>
                  </a:lnTo>
                  <a:lnTo>
                    <a:pt x="80267" y="58857"/>
                  </a:lnTo>
                  <a:lnTo>
                    <a:pt x="79200" y="59143"/>
                  </a:lnTo>
                  <a:lnTo>
                    <a:pt x="78719" y="60169"/>
                  </a:lnTo>
                  <a:lnTo>
                    <a:pt x="77976" y="63073"/>
                  </a:lnTo>
                  <a:lnTo>
                    <a:pt x="78069" y="65256"/>
                  </a:lnTo>
                  <a:lnTo>
                    <a:pt x="78451" y="66367"/>
                  </a:lnTo>
                  <a:lnTo>
                    <a:pt x="78626" y="67271"/>
                  </a:lnTo>
                  <a:lnTo>
                    <a:pt x="79543" y="68382"/>
                  </a:lnTo>
                  <a:lnTo>
                    <a:pt x="80379" y="70087"/>
                  </a:lnTo>
                  <a:lnTo>
                    <a:pt x="80932" y="72334"/>
                  </a:lnTo>
                  <a:lnTo>
                    <a:pt x="82158" y="74067"/>
                  </a:lnTo>
                  <a:lnTo>
                    <a:pt x="85307" y="75773"/>
                  </a:lnTo>
                  <a:lnTo>
                    <a:pt x="86868" y="76766"/>
                  </a:lnTo>
                  <a:lnTo>
                    <a:pt x="88021" y="78202"/>
                  </a:lnTo>
                  <a:lnTo>
                    <a:pt x="88902" y="79502"/>
                  </a:lnTo>
                  <a:lnTo>
                    <a:pt x="91496" y="81230"/>
                  </a:lnTo>
                  <a:lnTo>
                    <a:pt x="91299" y="82464"/>
                  </a:lnTo>
                  <a:lnTo>
                    <a:pt x="90732" y="83670"/>
                  </a:lnTo>
                  <a:lnTo>
                    <a:pt x="90133" y="84236"/>
                  </a:lnTo>
                  <a:lnTo>
                    <a:pt x="88842" y="85783"/>
                  </a:lnTo>
                  <a:lnTo>
                    <a:pt x="87583" y="86655"/>
                  </a:lnTo>
                  <a:lnTo>
                    <a:pt x="85510" y="89382"/>
                  </a:lnTo>
                  <a:lnTo>
                    <a:pt x="82236" y="89528"/>
                  </a:lnTo>
                  <a:lnTo>
                    <a:pt x="81455" y="89746"/>
                  </a:lnTo>
                  <a:lnTo>
                    <a:pt x="80217" y="90491"/>
                  </a:lnTo>
                  <a:lnTo>
                    <a:pt x="79608" y="91851"/>
                  </a:lnTo>
                  <a:lnTo>
                    <a:pt x="80191" y="92944"/>
                  </a:lnTo>
                  <a:lnTo>
                    <a:pt x="80140" y="94048"/>
                  </a:lnTo>
                  <a:lnTo>
                    <a:pt x="79542" y="96195"/>
                  </a:lnTo>
                  <a:lnTo>
                    <a:pt x="80334" y="98485"/>
                  </a:lnTo>
                  <a:lnTo>
                    <a:pt x="81487" y="99536"/>
                  </a:lnTo>
                  <a:lnTo>
                    <a:pt x="81669" y="100142"/>
                  </a:lnTo>
                  <a:lnTo>
                    <a:pt x="81472" y="101215"/>
                  </a:lnTo>
                  <a:lnTo>
                    <a:pt x="79751" y="103395"/>
                  </a:lnTo>
                  <a:lnTo>
                    <a:pt x="79228" y="104202"/>
                  </a:lnTo>
                  <a:lnTo>
                    <a:pt x="77503" y="104598"/>
                  </a:lnTo>
                  <a:lnTo>
                    <a:pt x="76913" y="104391"/>
                  </a:lnTo>
                  <a:lnTo>
                    <a:pt x="76022" y="103642"/>
                  </a:lnTo>
                  <a:lnTo>
                    <a:pt x="75197" y="103421"/>
                  </a:lnTo>
                  <a:lnTo>
                    <a:pt x="73139" y="104304"/>
                  </a:lnTo>
                  <a:lnTo>
                    <a:pt x="71046" y="104846"/>
                  </a:lnTo>
                  <a:lnTo>
                    <a:pt x="69399" y="104436"/>
                  </a:lnTo>
                  <a:lnTo>
                    <a:pt x="67775" y="104382"/>
                  </a:lnTo>
                  <a:lnTo>
                    <a:pt x="66645" y="104746"/>
                  </a:lnTo>
                  <a:lnTo>
                    <a:pt x="65797" y="104887"/>
                  </a:lnTo>
                  <a:lnTo>
                    <a:pt x="64130" y="105829"/>
                  </a:lnTo>
                  <a:lnTo>
                    <a:pt x="61454" y="106510"/>
                  </a:lnTo>
                  <a:lnTo>
                    <a:pt x="60221" y="106367"/>
                  </a:lnTo>
                  <a:lnTo>
                    <a:pt x="59759" y="105481"/>
                  </a:lnTo>
                  <a:lnTo>
                    <a:pt x="59258" y="104213"/>
                  </a:lnTo>
                  <a:lnTo>
                    <a:pt x="59502" y="103638"/>
                  </a:lnTo>
                  <a:lnTo>
                    <a:pt x="61269" y="102641"/>
                  </a:lnTo>
                  <a:lnTo>
                    <a:pt x="61472" y="101687"/>
                  </a:lnTo>
                  <a:lnTo>
                    <a:pt x="63940" y="97093"/>
                  </a:lnTo>
                  <a:lnTo>
                    <a:pt x="64415" y="95596"/>
                  </a:lnTo>
                  <a:lnTo>
                    <a:pt x="64432" y="95107"/>
                  </a:lnTo>
                  <a:lnTo>
                    <a:pt x="63789" y="94782"/>
                  </a:lnTo>
                  <a:lnTo>
                    <a:pt x="62433" y="94796"/>
                  </a:lnTo>
                  <a:lnTo>
                    <a:pt x="56421" y="92927"/>
                  </a:lnTo>
                  <a:lnTo>
                    <a:pt x="56695" y="90784"/>
                  </a:lnTo>
                  <a:lnTo>
                    <a:pt x="54929" y="89628"/>
                  </a:lnTo>
                  <a:lnTo>
                    <a:pt x="53026" y="88597"/>
                  </a:lnTo>
                  <a:lnTo>
                    <a:pt x="52707" y="87446"/>
                  </a:lnTo>
                  <a:lnTo>
                    <a:pt x="50593" y="85120"/>
                  </a:lnTo>
                  <a:lnTo>
                    <a:pt x="49045" y="83814"/>
                  </a:lnTo>
                  <a:lnTo>
                    <a:pt x="47069" y="83162"/>
                  </a:lnTo>
                  <a:lnTo>
                    <a:pt x="45367" y="82206"/>
                  </a:lnTo>
                  <a:lnTo>
                    <a:pt x="44343" y="81621"/>
                  </a:lnTo>
                  <a:lnTo>
                    <a:pt x="43888" y="80533"/>
                  </a:lnTo>
                  <a:lnTo>
                    <a:pt x="43888" y="79889"/>
                  </a:lnTo>
                  <a:lnTo>
                    <a:pt x="43374" y="79267"/>
                  </a:lnTo>
                  <a:lnTo>
                    <a:pt x="42551" y="79334"/>
                  </a:lnTo>
                  <a:lnTo>
                    <a:pt x="41162" y="80200"/>
                  </a:lnTo>
                  <a:lnTo>
                    <a:pt x="39450" y="80945"/>
                  </a:lnTo>
                  <a:lnTo>
                    <a:pt x="39152" y="81487"/>
                  </a:lnTo>
                  <a:lnTo>
                    <a:pt x="39770" y="82777"/>
                  </a:lnTo>
                  <a:lnTo>
                    <a:pt x="40213" y="83595"/>
                  </a:lnTo>
                  <a:lnTo>
                    <a:pt x="40012" y="84371"/>
                  </a:lnTo>
                  <a:lnTo>
                    <a:pt x="39470" y="85357"/>
                  </a:lnTo>
                  <a:lnTo>
                    <a:pt x="36177" y="87531"/>
                  </a:lnTo>
                  <a:lnTo>
                    <a:pt x="35807" y="88294"/>
                  </a:lnTo>
                  <a:lnTo>
                    <a:pt x="36436" y="89512"/>
                  </a:lnTo>
                  <a:lnTo>
                    <a:pt x="36038" y="90078"/>
                  </a:lnTo>
                  <a:lnTo>
                    <a:pt x="33285" y="90880"/>
                  </a:lnTo>
                  <a:lnTo>
                    <a:pt x="33359" y="90215"/>
                  </a:lnTo>
                  <a:lnTo>
                    <a:pt x="33188" y="89142"/>
                  </a:lnTo>
                  <a:lnTo>
                    <a:pt x="31607" y="88002"/>
                  </a:lnTo>
                  <a:lnTo>
                    <a:pt x="29383" y="87117"/>
                  </a:lnTo>
                  <a:lnTo>
                    <a:pt x="24434" y="84084"/>
                  </a:lnTo>
                  <a:lnTo>
                    <a:pt x="22531" y="83685"/>
                  </a:lnTo>
                  <a:lnTo>
                    <a:pt x="20832" y="83330"/>
                  </a:lnTo>
                  <a:lnTo>
                    <a:pt x="18396" y="81875"/>
                  </a:lnTo>
                  <a:lnTo>
                    <a:pt x="17146" y="81621"/>
                  </a:lnTo>
                  <a:lnTo>
                    <a:pt x="15756" y="80579"/>
                  </a:lnTo>
                  <a:lnTo>
                    <a:pt x="12728" y="77071"/>
                  </a:lnTo>
                  <a:lnTo>
                    <a:pt x="10154" y="75157"/>
                  </a:lnTo>
                  <a:lnTo>
                    <a:pt x="8396" y="74189"/>
                  </a:lnTo>
                  <a:lnTo>
                    <a:pt x="7904" y="73245"/>
                  </a:lnTo>
                  <a:lnTo>
                    <a:pt x="7796" y="72274"/>
                  </a:lnTo>
                  <a:lnTo>
                    <a:pt x="7856" y="71944"/>
                  </a:lnTo>
                  <a:lnTo>
                    <a:pt x="9187" y="70568"/>
                  </a:lnTo>
                  <a:lnTo>
                    <a:pt x="10210" y="70368"/>
                  </a:lnTo>
                  <a:lnTo>
                    <a:pt x="11527" y="70323"/>
                  </a:lnTo>
                  <a:lnTo>
                    <a:pt x="12395" y="71021"/>
                  </a:lnTo>
                  <a:lnTo>
                    <a:pt x="13537" y="71169"/>
                  </a:lnTo>
                  <a:lnTo>
                    <a:pt x="14173" y="70277"/>
                  </a:lnTo>
                  <a:lnTo>
                    <a:pt x="14507" y="68991"/>
                  </a:lnTo>
                  <a:lnTo>
                    <a:pt x="14354" y="67354"/>
                  </a:lnTo>
                  <a:lnTo>
                    <a:pt x="11609" y="63541"/>
                  </a:lnTo>
                  <a:lnTo>
                    <a:pt x="9247" y="60878"/>
                  </a:lnTo>
                  <a:lnTo>
                    <a:pt x="8977" y="60290"/>
                  </a:lnTo>
                  <a:lnTo>
                    <a:pt x="9487" y="59792"/>
                  </a:lnTo>
                  <a:lnTo>
                    <a:pt x="10309" y="59524"/>
                  </a:lnTo>
                  <a:lnTo>
                    <a:pt x="11193" y="59747"/>
                  </a:lnTo>
                  <a:lnTo>
                    <a:pt x="13497" y="59939"/>
                  </a:lnTo>
                  <a:lnTo>
                    <a:pt x="15710" y="59693"/>
                  </a:lnTo>
                  <a:lnTo>
                    <a:pt x="16466" y="59044"/>
                  </a:lnTo>
                  <a:lnTo>
                    <a:pt x="16468" y="58168"/>
                  </a:lnTo>
                  <a:lnTo>
                    <a:pt x="15658" y="57355"/>
                  </a:lnTo>
                  <a:lnTo>
                    <a:pt x="13071" y="55160"/>
                  </a:lnTo>
                  <a:lnTo>
                    <a:pt x="11052" y="53226"/>
                  </a:lnTo>
                  <a:lnTo>
                    <a:pt x="8679" y="51742"/>
                  </a:lnTo>
                  <a:lnTo>
                    <a:pt x="6917" y="51145"/>
                  </a:lnTo>
                  <a:lnTo>
                    <a:pt x="6396" y="50392"/>
                  </a:lnTo>
                  <a:lnTo>
                    <a:pt x="6179" y="49586"/>
                  </a:lnTo>
                  <a:lnTo>
                    <a:pt x="6375" y="48103"/>
                  </a:lnTo>
                  <a:lnTo>
                    <a:pt x="6487" y="46221"/>
                  </a:lnTo>
                  <a:lnTo>
                    <a:pt x="6906" y="45037"/>
                  </a:lnTo>
                  <a:lnTo>
                    <a:pt x="8493" y="42799"/>
                  </a:lnTo>
                  <a:lnTo>
                    <a:pt x="10014" y="40424"/>
                  </a:lnTo>
                  <a:lnTo>
                    <a:pt x="10955" y="38137"/>
                  </a:lnTo>
                  <a:lnTo>
                    <a:pt x="11450" y="36012"/>
                  </a:lnTo>
                  <a:lnTo>
                    <a:pt x="11268" y="35402"/>
                  </a:lnTo>
                  <a:lnTo>
                    <a:pt x="10473" y="34950"/>
                  </a:lnTo>
                  <a:lnTo>
                    <a:pt x="8795" y="34491"/>
                  </a:lnTo>
                  <a:lnTo>
                    <a:pt x="6468" y="34891"/>
                  </a:lnTo>
                  <a:lnTo>
                    <a:pt x="4490" y="35663"/>
                  </a:lnTo>
                  <a:lnTo>
                    <a:pt x="3717" y="35722"/>
                  </a:lnTo>
                  <a:lnTo>
                    <a:pt x="3460" y="34771"/>
                  </a:lnTo>
                  <a:lnTo>
                    <a:pt x="3771" y="34352"/>
                  </a:lnTo>
                  <a:lnTo>
                    <a:pt x="4390" y="34402"/>
                  </a:lnTo>
                  <a:lnTo>
                    <a:pt x="4898" y="34581"/>
                  </a:lnTo>
                  <a:lnTo>
                    <a:pt x="5444" y="34150"/>
                  </a:lnTo>
                  <a:lnTo>
                    <a:pt x="5770" y="32866"/>
                  </a:lnTo>
                  <a:lnTo>
                    <a:pt x="4950" y="28396"/>
                  </a:lnTo>
                  <a:lnTo>
                    <a:pt x="6427" y="27999"/>
                  </a:lnTo>
                  <a:lnTo>
                    <a:pt x="6451" y="27348"/>
                  </a:lnTo>
                  <a:lnTo>
                    <a:pt x="6587" y="26780"/>
                  </a:lnTo>
                  <a:lnTo>
                    <a:pt x="8113" y="27559"/>
                  </a:lnTo>
                  <a:lnTo>
                    <a:pt x="10260" y="27573"/>
                  </a:lnTo>
                  <a:lnTo>
                    <a:pt x="12141" y="27416"/>
                  </a:lnTo>
                  <a:lnTo>
                    <a:pt x="12425" y="26976"/>
                  </a:lnTo>
                  <a:lnTo>
                    <a:pt x="12404" y="26335"/>
                  </a:lnTo>
                  <a:lnTo>
                    <a:pt x="12013" y="25839"/>
                  </a:lnTo>
                  <a:lnTo>
                    <a:pt x="11348" y="25433"/>
                  </a:lnTo>
                  <a:lnTo>
                    <a:pt x="10862" y="24812"/>
                  </a:lnTo>
                  <a:lnTo>
                    <a:pt x="9592" y="24541"/>
                  </a:lnTo>
                  <a:lnTo>
                    <a:pt x="5617" y="22925"/>
                  </a:lnTo>
                  <a:lnTo>
                    <a:pt x="3663" y="21207"/>
                  </a:lnTo>
                  <a:lnTo>
                    <a:pt x="3728" y="19387"/>
                  </a:lnTo>
                  <a:lnTo>
                    <a:pt x="4295" y="18388"/>
                  </a:lnTo>
                  <a:lnTo>
                    <a:pt x="4980" y="18036"/>
                  </a:lnTo>
                  <a:lnTo>
                    <a:pt x="4777" y="17699"/>
                  </a:lnTo>
                  <a:lnTo>
                    <a:pt x="2535" y="16854"/>
                  </a:lnTo>
                  <a:lnTo>
                    <a:pt x="1743" y="15677"/>
                  </a:lnTo>
                  <a:lnTo>
                    <a:pt x="2393" y="14164"/>
                  </a:lnTo>
                  <a:lnTo>
                    <a:pt x="1227" y="11100"/>
                  </a:lnTo>
                  <a:lnTo>
                    <a:pt x="0" y="9209"/>
                  </a:lnTo>
                  <a:lnTo>
                    <a:pt x="1205" y="8387"/>
                  </a:lnTo>
                  <a:lnTo>
                    <a:pt x="1372" y="7226"/>
                  </a:lnTo>
                  <a:lnTo>
                    <a:pt x="1467" y="6561"/>
                  </a:lnTo>
                  <a:lnTo>
                    <a:pt x="1963" y="6570"/>
                  </a:lnTo>
                  <a:lnTo>
                    <a:pt x="3907" y="5789"/>
                  </a:lnTo>
                  <a:lnTo>
                    <a:pt x="4613" y="5155"/>
                  </a:lnTo>
                  <a:lnTo>
                    <a:pt x="5023" y="4413"/>
                  </a:lnTo>
                  <a:lnTo>
                    <a:pt x="5489" y="4230"/>
                  </a:lnTo>
                  <a:lnTo>
                    <a:pt x="6794" y="5035"/>
                  </a:lnTo>
                  <a:lnTo>
                    <a:pt x="8167" y="5106"/>
                  </a:lnTo>
                  <a:lnTo>
                    <a:pt x="9709" y="4597"/>
                  </a:lnTo>
                  <a:lnTo>
                    <a:pt x="10862" y="3889"/>
                  </a:lnTo>
                  <a:lnTo>
                    <a:pt x="12246" y="3301"/>
                  </a:lnTo>
                  <a:lnTo>
                    <a:pt x="12875" y="2896"/>
                  </a:lnTo>
                  <a:lnTo>
                    <a:pt x="13676" y="2263"/>
                  </a:lnTo>
                  <a:lnTo>
                    <a:pt x="15295" y="388"/>
                  </a:lnTo>
                  <a:lnTo>
                    <a:pt x="17124" y="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5" name="ee4p_SK_1_15912">
              <a:extLst>
                <a:ext uri="{FF2B5EF4-FFF2-40B4-BE49-F238E27FC236}">
                  <a16:creationId xmlns:a16="http://schemas.microsoft.com/office/drawing/2014/main" id="{890C42D6-7A47-34B2-CE8A-1737CFB86FA2}"/>
                </a:ext>
              </a:extLst>
            </p:cNvPr>
            <p:cNvSpPr>
              <a:spLocks noChangeAspect="1"/>
            </p:cNvSpPr>
            <p:nvPr>
              <p:custDataLst>
                <p:tags r:id="rId57"/>
              </p:custDataLst>
            </p:nvPr>
          </p:nvSpPr>
          <p:spPr>
            <a:xfrm>
              <a:off x="5249854" y="4577530"/>
              <a:ext cx="497547" cy="206750"/>
            </a:xfrm>
            <a:custGeom>
              <a:avLst/>
              <a:gdLst/>
              <a:ahLst/>
              <a:cxnLst/>
              <a:rect l="0" t="0" r="0" b="0"/>
              <a:pathLst>
                <a:path w="125509" h="52154">
                  <a:moveTo>
                    <a:pt x="125508" y="15038"/>
                  </a:moveTo>
                  <a:lnTo>
                    <a:pt x="125186" y="16218"/>
                  </a:lnTo>
                  <a:lnTo>
                    <a:pt x="124281" y="17591"/>
                  </a:lnTo>
                  <a:lnTo>
                    <a:pt x="123150" y="19009"/>
                  </a:lnTo>
                  <a:lnTo>
                    <a:pt x="122208" y="20721"/>
                  </a:lnTo>
                  <a:lnTo>
                    <a:pt x="120951" y="24378"/>
                  </a:lnTo>
                  <a:lnTo>
                    <a:pt x="120124" y="26062"/>
                  </a:lnTo>
                  <a:lnTo>
                    <a:pt x="116756" y="29396"/>
                  </a:lnTo>
                  <a:lnTo>
                    <a:pt x="116512" y="34025"/>
                  </a:lnTo>
                  <a:lnTo>
                    <a:pt x="116058" y="34364"/>
                  </a:lnTo>
                  <a:lnTo>
                    <a:pt x="108444" y="35930"/>
                  </a:lnTo>
                  <a:lnTo>
                    <a:pt x="107438" y="35690"/>
                  </a:lnTo>
                  <a:lnTo>
                    <a:pt x="106401" y="34789"/>
                  </a:lnTo>
                  <a:lnTo>
                    <a:pt x="105827" y="34134"/>
                  </a:lnTo>
                  <a:lnTo>
                    <a:pt x="105471" y="33651"/>
                  </a:lnTo>
                  <a:lnTo>
                    <a:pt x="104810" y="32371"/>
                  </a:lnTo>
                  <a:lnTo>
                    <a:pt x="103938" y="31462"/>
                  </a:lnTo>
                  <a:lnTo>
                    <a:pt x="102644" y="30720"/>
                  </a:lnTo>
                  <a:lnTo>
                    <a:pt x="101465" y="29857"/>
                  </a:lnTo>
                  <a:lnTo>
                    <a:pt x="99940" y="29823"/>
                  </a:lnTo>
                  <a:lnTo>
                    <a:pt x="95827" y="31039"/>
                  </a:lnTo>
                  <a:lnTo>
                    <a:pt x="92972" y="31172"/>
                  </a:lnTo>
                  <a:lnTo>
                    <a:pt x="91067" y="30782"/>
                  </a:lnTo>
                  <a:lnTo>
                    <a:pt x="88535" y="30045"/>
                  </a:lnTo>
                  <a:lnTo>
                    <a:pt x="83594" y="29929"/>
                  </a:lnTo>
                  <a:lnTo>
                    <a:pt x="80208" y="30577"/>
                  </a:lnTo>
                  <a:lnTo>
                    <a:pt x="79875" y="31479"/>
                  </a:lnTo>
                  <a:lnTo>
                    <a:pt x="76753" y="37134"/>
                  </a:lnTo>
                  <a:lnTo>
                    <a:pt x="72216" y="39215"/>
                  </a:lnTo>
                  <a:lnTo>
                    <a:pt x="68275" y="41347"/>
                  </a:lnTo>
                  <a:lnTo>
                    <a:pt x="67131" y="41778"/>
                  </a:lnTo>
                  <a:lnTo>
                    <a:pt x="65172" y="41109"/>
                  </a:lnTo>
                  <a:lnTo>
                    <a:pt x="62942" y="39843"/>
                  </a:lnTo>
                  <a:lnTo>
                    <a:pt x="61089" y="39185"/>
                  </a:lnTo>
                  <a:lnTo>
                    <a:pt x="59737" y="39475"/>
                  </a:lnTo>
                  <a:lnTo>
                    <a:pt x="58260" y="40909"/>
                  </a:lnTo>
                  <a:lnTo>
                    <a:pt x="57586" y="42362"/>
                  </a:lnTo>
                  <a:lnTo>
                    <a:pt x="53123" y="43425"/>
                  </a:lnTo>
                  <a:lnTo>
                    <a:pt x="45362" y="44053"/>
                  </a:lnTo>
                  <a:lnTo>
                    <a:pt x="42658" y="45479"/>
                  </a:lnTo>
                  <a:lnTo>
                    <a:pt x="41734" y="47195"/>
                  </a:lnTo>
                  <a:lnTo>
                    <a:pt x="41695" y="48514"/>
                  </a:lnTo>
                  <a:lnTo>
                    <a:pt x="42352" y="49635"/>
                  </a:lnTo>
                  <a:lnTo>
                    <a:pt x="41525" y="50941"/>
                  </a:lnTo>
                  <a:lnTo>
                    <a:pt x="41162" y="51486"/>
                  </a:lnTo>
                  <a:lnTo>
                    <a:pt x="35679" y="51772"/>
                  </a:lnTo>
                  <a:lnTo>
                    <a:pt x="28368" y="52153"/>
                  </a:lnTo>
                  <a:lnTo>
                    <a:pt x="23997" y="52056"/>
                  </a:lnTo>
                  <a:lnTo>
                    <a:pt x="19883" y="51964"/>
                  </a:lnTo>
                  <a:lnTo>
                    <a:pt x="17083" y="50845"/>
                  </a:lnTo>
                  <a:lnTo>
                    <a:pt x="13664" y="48657"/>
                  </a:lnTo>
                  <a:lnTo>
                    <a:pt x="10052" y="45743"/>
                  </a:lnTo>
                  <a:lnTo>
                    <a:pt x="9704" y="45675"/>
                  </a:lnTo>
                  <a:lnTo>
                    <a:pt x="9167" y="45365"/>
                  </a:lnTo>
                  <a:lnTo>
                    <a:pt x="6897" y="45147"/>
                  </a:lnTo>
                  <a:lnTo>
                    <a:pt x="6294" y="45319"/>
                  </a:lnTo>
                  <a:lnTo>
                    <a:pt x="4936" y="44371"/>
                  </a:lnTo>
                  <a:lnTo>
                    <a:pt x="4537" y="43137"/>
                  </a:lnTo>
                  <a:lnTo>
                    <a:pt x="2431" y="39892"/>
                  </a:lnTo>
                  <a:lnTo>
                    <a:pt x="60" y="34547"/>
                  </a:lnTo>
                  <a:lnTo>
                    <a:pt x="0" y="33002"/>
                  </a:lnTo>
                  <a:lnTo>
                    <a:pt x="924" y="31241"/>
                  </a:lnTo>
                  <a:lnTo>
                    <a:pt x="1783" y="29895"/>
                  </a:lnTo>
                  <a:lnTo>
                    <a:pt x="1904" y="28826"/>
                  </a:lnTo>
                  <a:lnTo>
                    <a:pt x="2000" y="28535"/>
                  </a:lnTo>
                  <a:lnTo>
                    <a:pt x="2710" y="26316"/>
                  </a:lnTo>
                  <a:lnTo>
                    <a:pt x="4435" y="23362"/>
                  </a:lnTo>
                  <a:lnTo>
                    <a:pt x="6035" y="21645"/>
                  </a:lnTo>
                  <a:lnTo>
                    <a:pt x="7203" y="21078"/>
                  </a:lnTo>
                  <a:lnTo>
                    <a:pt x="9600" y="21595"/>
                  </a:lnTo>
                  <a:lnTo>
                    <a:pt x="13708" y="22023"/>
                  </a:lnTo>
                  <a:lnTo>
                    <a:pt x="16865" y="21622"/>
                  </a:lnTo>
                  <a:lnTo>
                    <a:pt x="19808" y="20304"/>
                  </a:lnTo>
                  <a:lnTo>
                    <a:pt x="21408" y="19150"/>
                  </a:lnTo>
                  <a:lnTo>
                    <a:pt x="22775" y="17937"/>
                  </a:lnTo>
                  <a:lnTo>
                    <a:pt x="23230" y="17150"/>
                  </a:lnTo>
                  <a:lnTo>
                    <a:pt x="23837" y="16772"/>
                  </a:lnTo>
                  <a:lnTo>
                    <a:pt x="26273" y="16071"/>
                  </a:lnTo>
                  <a:lnTo>
                    <a:pt x="27048" y="15254"/>
                  </a:lnTo>
                  <a:lnTo>
                    <a:pt x="27368" y="13706"/>
                  </a:lnTo>
                  <a:lnTo>
                    <a:pt x="27579" y="11978"/>
                  </a:lnTo>
                  <a:lnTo>
                    <a:pt x="28081" y="10698"/>
                  </a:lnTo>
                  <a:lnTo>
                    <a:pt x="28707" y="9759"/>
                  </a:lnTo>
                  <a:lnTo>
                    <a:pt x="33215" y="7501"/>
                  </a:lnTo>
                  <a:lnTo>
                    <a:pt x="33619" y="6708"/>
                  </a:lnTo>
                  <a:lnTo>
                    <a:pt x="34343" y="5934"/>
                  </a:lnTo>
                  <a:lnTo>
                    <a:pt x="35675" y="5069"/>
                  </a:lnTo>
                  <a:lnTo>
                    <a:pt x="36968" y="3819"/>
                  </a:lnTo>
                  <a:lnTo>
                    <a:pt x="38338" y="3051"/>
                  </a:lnTo>
                  <a:lnTo>
                    <a:pt x="40100" y="3137"/>
                  </a:lnTo>
                  <a:lnTo>
                    <a:pt x="41725" y="2978"/>
                  </a:lnTo>
                  <a:lnTo>
                    <a:pt x="42993" y="2541"/>
                  </a:lnTo>
                  <a:lnTo>
                    <a:pt x="43550" y="2496"/>
                  </a:lnTo>
                  <a:lnTo>
                    <a:pt x="45893" y="2855"/>
                  </a:lnTo>
                  <a:lnTo>
                    <a:pt x="46314" y="4290"/>
                  </a:lnTo>
                  <a:lnTo>
                    <a:pt x="46560" y="5782"/>
                  </a:lnTo>
                  <a:lnTo>
                    <a:pt x="50564" y="5674"/>
                  </a:lnTo>
                  <a:lnTo>
                    <a:pt x="52793" y="2478"/>
                  </a:lnTo>
                  <a:lnTo>
                    <a:pt x="53946" y="2092"/>
                  </a:lnTo>
                  <a:lnTo>
                    <a:pt x="55801" y="979"/>
                  </a:lnTo>
                  <a:lnTo>
                    <a:pt x="57025" y="0"/>
                  </a:lnTo>
                  <a:lnTo>
                    <a:pt x="57867" y="613"/>
                  </a:lnTo>
                  <a:lnTo>
                    <a:pt x="59085" y="2669"/>
                  </a:lnTo>
                  <a:lnTo>
                    <a:pt x="60374" y="4323"/>
                  </a:lnTo>
                  <a:lnTo>
                    <a:pt x="61117" y="4976"/>
                  </a:lnTo>
                  <a:lnTo>
                    <a:pt x="61197" y="5484"/>
                  </a:lnTo>
                  <a:lnTo>
                    <a:pt x="61946" y="5788"/>
                  </a:lnTo>
                  <a:lnTo>
                    <a:pt x="63404" y="5972"/>
                  </a:lnTo>
                  <a:lnTo>
                    <a:pt x="64373" y="6472"/>
                  </a:lnTo>
                  <a:lnTo>
                    <a:pt x="64663" y="8008"/>
                  </a:lnTo>
                  <a:lnTo>
                    <a:pt x="64684" y="9399"/>
                  </a:lnTo>
                  <a:lnTo>
                    <a:pt x="64229" y="10393"/>
                  </a:lnTo>
                  <a:lnTo>
                    <a:pt x="63991" y="11275"/>
                  </a:lnTo>
                  <a:lnTo>
                    <a:pt x="65000" y="11620"/>
                  </a:lnTo>
                  <a:lnTo>
                    <a:pt x="66474" y="11286"/>
                  </a:lnTo>
                  <a:lnTo>
                    <a:pt x="67517" y="10789"/>
                  </a:lnTo>
                  <a:lnTo>
                    <a:pt x="70646" y="11935"/>
                  </a:lnTo>
                  <a:lnTo>
                    <a:pt x="71752" y="9376"/>
                  </a:lnTo>
                  <a:lnTo>
                    <a:pt x="72991" y="8069"/>
                  </a:lnTo>
                  <a:lnTo>
                    <a:pt x="74602" y="7461"/>
                  </a:lnTo>
                  <a:lnTo>
                    <a:pt x="76062" y="6662"/>
                  </a:lnTo>
                  <a:lnTo>
                    <a:pt x="77399" y="6097"/>
                  </a:lnTo>
                  <a:lnTo>
                    <a:pt x="78321" y="6130"/>
                  </a:lnTo>
                  <a:lnTo>
                    <a:pt x="78718" y="5894"/>
                  </a:lnTo>
                  <a:lnTo>
                    <a:pt x="79865" y="5955"/>
                  </a:lnTo>
                  <a:lnTo>
                    <a:pt x="81193" y="6213"/>
                  </a:lnTo>
                  <a:lnTo>
                    <a:pt x="82996" y="5912"/>
                  </a:lnTo>
                  <a:lnTo>
                    <a:pt x="85492" y="6536"/>
                  </a:lnTo>
                  <a:lnTo>
                    <a:pt x="87051" y="7718"/>
                  </a:lnTo>
                  <a:lnTo>
                    <a:pt x="88576" y="8118"/>
                  </a:lnTo>
                  <a:lnTo>
                    <a:pt x="90318" y="8049"/>
                  </a:lnTo>
                  <a:lnTo>
                    <a:pt x="91510" y="7398"/>
                  </a:lnTo>
                  <a:lnTo>
                    <a:pt x="93240" y="5150"/>
                  </a:lnTo>
                  <a:lnTo>
                    <a:pt x="94495" y="5186"/>
                  </a:lnTo>
                  <a:lnTo>
                    <a:pt x="96460" y="4830"/>
                  </a:lnTo>
                  <a:lnTo>
                    <a:pt x="99234" y="4850"/>
                  </a:lnTo>
                  <a:lnTo>
                    <a:pt x="105628" y="5331"/>
                  </a:lnTo>
                  <a:lnTo>
                    <a:pt x="107231" y="6192"/>
                  </a:lnTo>
                  <a:lnTo>
                    <a:pt x="111167" y="7294"/>
                  </a:lnTo>
                  <a:lnTo>
                    <a:pt x="112882" y="8565"/>
                  </a:lnTo>
                  <a:lnTo>
                    <a:pt x="113644" y="10082"/>
                  </a:lnTo>
                  <a:lnTo>
                    <a:pt x="114041" y="11128"/>
                  </a:lnTo>
                  <a:lnTo>
                    <a:pt x="118075" y="12738"/>
                  </a:lnTo>
                  <a:lnTo>
                    <a:pt x="124056" y="14793"/>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6" name="ee4p_SI_1_15912">
              <a:extLst>
                <a:ext uri="{FF2B5EF4-FFF2-40B4-BE49-F238E27FC236}">
                  <a16:creationId xmlns:a16="http://schemas.microsoft.com/office/drawing/2014/main" id="{EF470B7C-8A67-56F2-2746-361C30274B80}"/>
                </a:ext>
              </a:extLst>
            </p:cNvPr>
            <p:cNvSpPr>
              <a:spLocks noChangeAspect="1"/>
            </p:cNvSpPr>
            <p:nvPr>
              <p:custDataLst>
                <p:tags r:id="rId58"/>
              </p:custDataLst>
            </p:nvPr>
          </p:nvSpPr>
          <p:spPr>
            <a:xfrm>
              <a:off x="4944414" y="4884207"/>
              <a:ext cx="275070" cy="157332"/>
            </a:xfrm>
            <a:custGeom>
              <a:avLst/>
              <a:gdLst/>
              <a:ahLst/>
              <a:cxnLst/>
              <a:rect l="0" t="0" r="0" b="0"/>
              <a:pathLst>
                <a:path w="69388" h="39688">
                  <a:moveTo>
                    <a:pt x="69387" y="10107"/>
                  </a:moveTo>
                  <a:lnTo>
                    <a:pt x="67429" y="9427"/>
                  </a:lnTo>
                  <a:lnTo>
                    <a:pt x="65075" y="9143"/>
                  </a:lnTo>
                  <a:lnTo>
                    <a:pt x="64632" y="9511"/>
                  </a:lnTo>
                  <a:lnTo>
                    <a:pt x="63686" y="9885"/>
                  </a:lnTo>
                  <a:lnTo>
                    <a:pt x="63207" y="10553"/>
                  </a:lnTo>
                  <a:lnTo>
                    <a:pt x="63574" y="13181"/>
                  </a:lnTo>
                  <a:lnTo>
                    <a:pt x="63002" y="13632"/>
                  </a:lnTo>
                  <a:lnTo>
                    <a:pt x="60326" y="13372"/>
                  </a:lnTo>
                  <a:lnTo>
                    <a:pt x="59443" y="13674"/>
                  </a:lnTo>
                  <a:lnTo>
                    <a:pt x="57988" y="15502"/>
                  </a:lnTo>
                  <a:lnTo>
                    <a:pt x="56498" y="16270"/>
                  </a:lnTo>
                  <a:lnTo>
                    <a:pt x="54602" y="16818"/>
                  </a:lnTo>
                  <a:lnTo>
                    <a:pt x="53203" y="17479"/>
                  </a:lnTo>
                  <a:lnTo>
                    <a:pt x="51432" y="18053"/>
                  </a:lnTo>
                  <a:lnTo>
                    <a:pt x="49922" y="18399"/>
                  </a:lnTo>
                  <a:lnTo>
                    <a:pt x="49327" y="19197"/>
                  </a:lnTo>
                  <a:lnTo>
                    <a:pt x="48964" y="20080"/>
                  </a:lnTo>
                  <a:lnTo>
                    <a:pt x="49059" y="20930"/>
                  </a:lnTo>
                  <a:lnTo>
                    <a:pt x="50592" y="22609"/>
                  </a:lnTo>
                  <a:lnTo>
                    <a:pt x="50799" y="24399"/>
                  </a:lnTo>
                  <a:lnTo>
                    <a:pt x="50633" y="26586"/>
                  </a:lnTo>
                  <a:lnTo>
                    <a:pt x="50281" y="27752"/>
                  </a:lnTo>
                  <a:lnTo>
                    <a:pt x="49676" y="28527"/>
                  </a:lnTo>
                  <a:lnTo>
                    <a:pt x="45902" y="29532"/>
                  </a:lnTo>
                  <a:lnTo>
                    <a:pt x="41987" y="31322"/>
                  </a:lnTo>
                  <a:lnTo>
                    <a:pt x="41896" y="31732"/>
                  </a:lnTo>
                  <a:lnTo>
                    <a:pt x="43682" y="33323"/>
                  </a:lnTo>
                  <a:lnTo>
                    <a:pt x="43753" y="33720"/>
                  </a:lnTo>
                  <a:lnTo>
                    <a:pt x="42276" y="34624"/>
                  </a:lnTo>
                  <a:lnTo>
                    <a:pt x="42131" y="35530"/>
                  </a:lnTo>
                  <a:lnTo>
                    <a:pt x="42300" y="36578"/>
                  </a:lnTo>
                  <a:lnTo>
                    <a:pt x="43084" y="37657"/>
                  </a:lnTo>
                  <a:lnTo>
                    <a:pt x="43367" y="38625"/>
                  </a:lnTo>
                  <a:lnTo>
                    <a:pt x="41214" y="39329"/>
                  </a:lnTo>
                  <a:lnTo>
                    <a:pt x="38303" y="39072"/>
                  </a:lnTo>
                  <a:lnTo>
                    <a:pt x="34857" y="37723"/>
                  </a:lnTo>
                  <a:lnTo>
                    <a:pt x="33649" y="37921"/>
                  </a:lnTo>
                  <a:lnTo>
                    <a:pt x="32479" y="38617"/>
                  </a:lnTo>
                  <a:lnTo>
                    <a:pt x="31285" y="38318"/>
                  </a:lnTo>
                  <a:lnTo>
                    <a:pt x="29970" y="37487"/>
                  </a:lnTo>
                  <a:lnTo>
                    <a:pt x="28111" y="35756"/>
                  </a:lnTo>
                  <a:lnTo>
                    <a:pt x="27206" y="34693"/>
                  </a:lnTo>
                  <a:lnTo>
                    <a:pt x="26834" y="33561"/>
                  </a:lnTo>
                  <a:lnTo>
                    <a:pt x="26327" y="33397"/>
                  </a:lnTo>
                  <a:lnTo>
                    <a:pt x="25556" y="33726"/>
                  </a:lnTo>
                  <a:lnTo>
                    <a:pt x="24919" y="35103"/>
                  </a:lnTo>
                  <a:lnTo>
                    <a:pt x="23198" y="37562"/>
                  </a:lnTo>
                  <a:lnTo>
                    <a:pt x="21928" y="38230"/>
                  </a:lnTo>
                  <a:lnTo>
                    <a:pt x="20006" y="38088"/>
                  </a:lnTo>
                  <a:lnTo>
                    <a:pt x="17314" y="38128"/>
                  </a:lnTo>
                  <a:lnTo>
                    <a:pt x="15640" y="38329"/>
                  </a:lnTo>
                  <a:lnTo>
                    <a:pt x="13589" y="37461"/>
                  </a:lnTo>
                  <a:lnTo>
                    <a:pt x="13092" y="37628"/>
                  </a:lnTo>
                  <a:lnTo>
                    <a:pt x="13088" y="38198"/>
                  </a:lnTo>
                  <a:lnTo>
                    <a:pt x="12325" y="39098"/>
                  </a:lnTo>
                  <a:lnTo>
                    <a:pt x="11067" y="39687"/>
                  </a:lnTo>
                  <a:lnTo>
                    <a:pt x="5241" y="38359"/>
                  </a:lnTo>
                  <a:lnTo>
                    <a:pt x="4416" y="37256"/>
                  </a:lnTo>
                  <a:lnTo>
                    <a:pt x="5729" y="36732"/>
                  </a:lnTo>
                  <a:lnTo>
                    <a:pt x="7553" y="35312"/>
                  </a:lnTo>
                  <a:lnTo>
                    <a:pt x="8795" y="35467"/>
                  </a:lnTo>
                  <a:lnTo>
                    <a:pt x="10315" y="35167"/>
                  </a:lnTo>
                  <a:lnTo>
                    <a:pt x="10978" y="34563"/>
                  </a:lnTo>
                  <a:lnTo>
                    <a:pt x="10015" y="32759"/>
                  </a:lnTo>
                  <a:lnTo>
                    <a:pt x="7594" y="30532"/>
                  </a:lnTo>
                  <a:lnTo>
                    <a:pt x="6307" y="29686"/>
                  </a:lnTo>
                  <a:lnTo>
                    <a:pt x="4536" y="29125"/>
                  </a:lnTo>
                  <a:lnTo>
                    <a:pt x="4232" y="28525"/>
                  </a:lnTo>
                  <a:lnTo>
                    <a:pt x="5212" y="25007"/>
                  </a:lnTo>
                  <a:lnTo>
                    <a:pt x="4917" y="24507"/>
                  </a:lnTo>
                  <a:lnTo>
                    <a:pt x="2895" y="24672"/>
                  </a:lnTo>
                  <a:lnTo>
                    <a:pt x="2420" y="24304"/>
                  </a:lnTo>
                  <a:lnTo>
                    <a:pt x="2256" y="23694"/>
                  </a:lnTo>
                  <a:lnTo>
                    <a:pt x="2392" y="22856"/>
                  </a:lnTo>
                  <a:lnTo>
                    <a:pt x="3755" y="21486"/>
                  </a:lnTo>
                  <a:lnTo>
                    <a:pt x="5271" y="20270"/>
                  </a:lnTo>
                  <a:lnTo>
                    <a:pt x="5677" y="19588"/>
                  </a:lnTo>
                  <a:lnTo>
                    <a:pt x="5623" y="19055"/>
                  </a:lnTo>
                  <a:lnTo>
                    <a:pt x="3681" y="18514"/>
                  </a:lnTo>
                  <a:lnTo>
                    <a:pt x="2511" y="17960"/>
                  </a:lnTo>
                  <a:lnTo>
                    <a:pt x="1583" y="17768"/>
                  </a:lnTo>
                  <a:lnTo>
                    <a:pt x="946" y="18079"/>
                  </a:lnTo>
                  <a:lnTo>
                    <a:pt x="473" y="17729"/>
                  </a:lnTo>
                  <a:lnTo>
                    <a:pt x="0" y="16714"/>
                  </a:lnTo>
                  <a:lnTo>
                    <a:pt x="470" y="15165"/>
                  </a:lnTo>
                  <a:lnTo>
                    <a:pt x="2218" y="13733"/>
                  </a:lnTo>
                  <a:lnTo>
                    <a:pt x="4092" y="12461"/>
                  </a:lnTo>
                  <a:lnTo>
                    <a:pt x="5724" y="11533"/>
                  </a:lnTo>
                  <a:lnTo>
                    <a:pt x="6666" y="11135"/>
                  </a:lnTo>
                  <a:lnTo>
                    <a:pt x="7115" y="9542"/>
                  </a:lnTo>
                  <a:lnTo>
                    <a:pt x="8087" y="9708"/>
                  </a:lnTo>
                  <a:lnTo>
                    <a:pt x="10019" y="9793"/>
                  </a:lnTo>
                  <a:lnTo>
                    <a:pt x="12174" y="10155"/>
                  </a:lnTo>
                  <a:lnTo>
                    <a:pt x="14183" y="10599"/>
                  </a:lnTo>
                  <a:lnTo>
                    <a:pt x="15949" y="11162"/>
                  </a:lnTo>
                  <a:lnTo>
                    <a:pt x="19659" y="11750"/>
                  </a:lnTo>
                  <a:lnTo>
                    <a:pt x="23034" y="12105"/>
                  </a:lnTo>
                  <a:lnTo>
                    <a:pt x="24051" y="12432"/>
                  </a:lnTo>
                  <a:lnTo>
                    <a:pt x="24882" y="12407"/>
                  </a:lnTo>
                  <a:lnTo>
                    <a:pt x="25906" y="12887"/>
                  </a:lnTo>
                  <a:lnTo>
                    <a:pt x="26511" y="12520"/>
                  </a:lnTo>
                  <a:lnTo>
                    <a:pt x="26949" y="11878"/>
                  </a:lnTo>
                  <a:lnTo>
                    <a:pt x="28789" y="11120"/>
                  </a:lnTo>
                  <a:lnTo>
                    <a:pt x="30482" y="10129"/>
                  </a:lnTo>
                  <a:lnTo>
                    <a:pt x="31672" y="8867"/>
                  </a:lnTo>
                  <a:lnTo>
                    <a:pt x="32337" y="7870"/>
                  </a:lnTo>
                  <a:lnTo>
                    <a:pt x="33501" y="7163"/>
                  </a:lnTo>
                  <a:lnTo>
                    <a:pt x="34742" y="6959"/>
                  </a:lnTo>
                  <a:lnTo>
                    <a:pt x="35876" y="6605"/>
                  </a:lnTo>
                  <a:lnTo>
                    <a:pt x="40659" y="6133"/>
                  </a:lnTo>
                  <a:lnTo>
                    <a:pt x="45573" y="6503"/>
                  </a:lnTo>
                  <a:lnTo>
                    <a:pt x="47919" y="5808"/>
                  </a:lnTo>
                  <a:lnTo>
                    <a:pt x="49849" y="4590"/>
                  </a:lnTo>
                  <a:lnTo>
                    <a:pt x="52671" y="4248"/>
                  </a:lnTo>
                  <a:lnTo>
                    <a:pt x="52818" y="4233"/>
                  </a:lnTo>
                  <a:lnTo>
                    <a:pt x="57036" y="5169"/>
                  </a:lnTo>
                  <a:lnTo>
                    <a:pt x="57360" y="4624"/>
                  </a:lnTo>
                  <a:lnTo>
                    <a:pt x="57541" y="4384"/>
                  </a:lnTo>
                  <a:lnTo>
                    <a:pt x="57461" y="1725"/>
                  </a:lnTo>
                  <a:lnTo>
                    <a:pt x="58796" y="514"/>
                  </a:lnTo>
                  <a:lnTo>
                    <a:pt x="60031" y="0"/>
                  </a:lnTo>
                  <a:lnTo>
                    <a:pt x="64244" y="168"/>
                  </a:lnTo>
                  <a:lnTo>
                    <a:pt x="64794" y="984"/>
                  </a:lnTo>
                  <a:lnTo>
                    <a:pt x="65015" y="2250"/>
                  </a:lnTo>
                  <a:lnTo>
                    <a:pt x="65390" y="3945"/>
                  </a:lnTo>
                  <a:lnTo>
                    <a:pt x="66092" y="4413"/>
                  </a:lnTo>
                  <a:lnTo>
                    <a:pt x="66476" y="5080"/>
                  </a:lnTo>
                  <a:lnTo>
                    <a:pt x="66403" y="6252"/>
                  </a:lnTo>
                  <a:lnTo>
                    <a:pt x="67226" y="7126"/>
                  </a:lnTo>
                  <a:lnTo>
                    <a:pt x="69154" y="9492"/>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7" name="ee4p_SE_1_15912">
              <a:extLst>
                <a:ext uri="{FF2B5EF4-FFF2-40B4-BE49-F238E27FC236}">
                  <a16:creationId xmlns:a16="http://schemas.microsoft.com/office/drawing/2014/main" id="{E38AAC9F-D484-5B64-02AC-0BF0E342B3CC}"/>
                </a:ext>
              </a:extLst>
            </p:cNvPr>
            <p:cNvSpPr>
              <a:spLocks noChangeAspect="1"/>
            </p:cNvSpPr>
            <p:nvPr>
              <p:custDataLst>
                <p:tags r:id="rId59"/>
              </p:custDataLst>
            </p:nvPr>
          </p:nvSpPr>
          <p:spPr>
            <a:xfrm>
              <a:off x="4748846" y="2030905"/>
              <a:ext cx="1140275" cy="1868306"/>
            </a:xfrm>
            <a:custGeom>
              <a:avLst/>
              <a:gdLst>
                <a:gd name="connsiteX0" fmla="*/ 129980 w 287641"/>
                <a:gd name="connsiteY0" fmla="*/ 408700 h 471291"/>
                <a:gd name="connsiteX1" fmla="*/ 131392 w 287641"/>
                <a:gd name="connsiteY1" fmla="*/ 409106 h 471291"/>
                <a:gd name="connsiteX2" fmla="*/ 132021 w 287641"/>
                <a:gd name="connsiteY2" fmla="*/ 409502 h 471291"/>
                <a:gd name="connsiteX3" fmla="*/ 130533 w 287641"/>
                <a:gd name="connsiteY3" fmla="*/ 410751 h 471291"/>
                <a:gd name="connsiteX4" fmla="*/ 130706 w 287641"/>
                <a:gd name="connsiteY4" fmla="*/ 412376 h 471291"/>
                <a:gd name="connsiteX5" fmla="*/ 130602 w 287641"/>
                <a:gd name="connsiteY5" fmla="*/ 413049 h 471291"/>
                <a:gd name="connsiteX6" fmla="*/ 126847 w 287641"/>
                <a:gd name="connsiteY6" fmla="*/ 420100 h 471291"/>
                <a:gd name="connsiteX7" fmla="*/ 125843 w 287641"/>
                <a:gd name="connsiteY7" fmla="*/ 424667 h 471291"/>
                <a:gd name="connsiteX8" fmla="*/ 124511 w 287641"/>
                <a:gd name="connsiteY8" fmla="*/ 425780 h 471291"/>
                <a:gd name="connsiteX9" fmla="*/ 118993 w 287641"/>
                <a:gd name="connsiteY9" fmla="*/ 441942 h 471291"/>
                <a:gd name="connsiteX10" fmla="*/ 117858 w 287641"/>
                <a:gd name="connsiteY10" fmla="*/ 443517 h 471291"/>
                <a:gd name="connsiteX11" fmla="*/ 116851 w 287641"/>
                <a:gd name="connsiteY11" fmla="*/ 443406 h 471291"/>
                <a:gd name="connsiteX12" fmla="*/ 116180 w 287641"/>
                <a:gd name="connsiteY12" fmla="*/ 441305 h 471291"/>
                <a:gd name="connsiteX13" fmla="*/ 116022 w 287641"/>
                <a:gd name="connsiteY13" fmla="*/ 435892 h 471291"/>
                <a:gd name="connsiteX14" fmla="*/ 116424 w 287641"/>
                <a:gd name="connsiteY14" fmla="*/ 433213 h 471291"/>
                <a:gd name="connsiteX15" fmla="*/ 121246 w 287641"/>
                <a:gd name="connsiteY15" fmla="*/ 423521 h 471291"/>
                <a:gd name="connsiteX16" fmla="*/ 123398 w 287641"/>
                <a:gd name="connsiteY16" fmla="*/ 422728 h 471291"/>
                <a:gd name="connsiteX17" fmla="*/ 126426 w 287641"/>
                <a:gd name="connsiteY17" fmla="*/ 416765 h 471291"/>
                <a:gd name="connsiteX18" fmla="*/ 127242 w 287641"/>
                <a:gd name="connsiteY18" fmla="*/ 414108 h 471291"/>
                <a:gd name="connsiteX19" fmla="*/ 128555 w 287641"/>
                <a:gd name="connsiteY19" fmla="*/ 411712 h 471291"/>
                <a:gd name="connsiteX20" fmla="*/ 129330 w 287641"/>
                <a:gd name="connsiteY20" fmla="*/ 409567 h 471291"/>
                <a:gd name="connsiteX21" fmla="*/ 171445 w 287641"/>
                <a:gd name="connsiteY21" fmla="*/ 390509 h 471291"/>
                <a:gd name="connsiteX22" fmla="*/ 172680 w 287641"/>
                <a:gd name="connsiteY22" fmla="*/ 391004 h 471291"/>
                <a:gd name="connsiteX23" fmla="*/ 175334 w 287641"/>
                <a:gd name="connsiteY23" fmla="*/ 393055 h 471291"/>
                <a:gd name="connsiteX24" fmla="*/ 173505 w 287641"/>
                <a:gd name="connsiteY24" fmla="*/ 393817 h 471291"/>
                <a:gd name="connsiteX25" fmla="*/ 172429 w 287641"/>
                <a:gd name="connsiteY25" fmla="*/ 396070 h 471291"/>
                <a:gd name="connsiteX26" fmla="*/ 170948 w 287641"/>
                <a:gd name="connsiteY26" fmla="*/ 396450 h 471291"/>
                <a:gd name="connsiteX27" fmla="*/ 169527 w 287641"/>
                <a:gd name="connsiteY27" fmla="*/ 397201 h 471291"/>
                <a:gd name="connsiteX28" fmla="*/ 169020 w 287641"/>
                <a:gd name="connsiteY28" fmla="*/ 404312 h 471291"/>
                <a:gd name="connsiteX29" fmla="*/ 171607 w 287641"/>
                <a:gd name="connsiteY29" fmla="*/ 407008 h 471291"/>
                <a:gd name="connsiteX30" fmla="*/ 170186 w 287641"/>
                <a:gd name="connsiteY30" fmla="*/ 407385 h 471291"/>
                <a:gd name="connsiteX31" fmla="*/ 168886 w 287641"/>
                <a:gd name="connsiteY31" fmla="*/ 408192 h 471291"/>
                <a:gd name="connsiteX32" fmla="*/ 167957 w 287641"/>
                <a:gd name="connsiteY32" fmla="*/ 409384 h 471291"/>
                <a:gd name="connsiteX33" fmla="*/ 167007 w 287641"/>
                <a:gd name="connsiteY33" fmla="*/ 411948 h 471291"/>
                <a:gd name="connsiteX34" fmla="*/ 163438 w 287641"/>
                <a:gd name="connsiteY34" fmla="*/ 413400 h 471291"/>
                <a:gd name="connsiteX35" fmla="*/ 162086 w 287641"/>
                <a:gd name="connsiteY35" fmla="*/ 414474 h 471291"/>
                <a:gd name="connsiteX36" fmla="*/ 160093 w 287641"/>
                <a:gd name="connsiteY36" fmla="*/ 416861 h 471291"/>
                <a:gd name="connsiteX37" fmla="*/ 159054 w 287641"/>
                <a:gd name="connsiteY37" fmla="*/ 420321 h 471291"/>
                <a:gd name="connsiteX38" fmla="*/ 157035 w 287641"/>
                <a:gd name="connsiteY38" fmla="*/ 421795 h 471291"/>
                <a:gd name="connsiteX39" fmla="*/ 154768 w 287641"/>
                <a:gd name="connsiteY39" fmla="*/ 422144 h 471291"/>
                <a:gd name="connsiteX40" fmla="*/ 156098 w 287641"/>
                <a:gd name="connsiteY40" fmla="*/ 419312 h 471291"/>
                <a:gd name="connsiteX41" fmla="*/ 157841 w 287641"/>
                <a:gd name="connsiteY41" fmla="*/ 417002 h 471291"/>
                <a:gd name="connsiteX42" fmla="*/ 156165 w 287641"/>
                <a:gd name="connsiteY42" fmla="*/ 415416 h 471291"/>
                <a:gd name="connsiteX43" fmla="*/ 155156 w 287641"/>
                <a:gd name="connsiteY43" fmla="*/ 412931 h 471291"/>
                <a:gd name="connsiteX44" fmla="*/ 153855 w 287641"/>
                <a:gd name="connsiteY44" fmla="*/ 411024 h 471291"/>
                <a:gd name="connsiteX45" fmla="*/ 154891 w 287641"/>
                <a:gd name="connsiteY45" fmla="*/ 408891 h 471291"/>
                <a:gd name="connsiteX46" fmla="*/ 154381 w 287641"/>
                <a:gd name="connsiteY46" fmla="*/ 405391 h 471291"/>
                <a:gd name="connsiteX47" fmla="*/ 154550 w 287641"/>
                <a:gd name="connsiteY47" fmla="*/ 401970 h 471291"/>
                <a:gd name="connsiteX48" fmla="*/ 156061 w 287641"/>
                <a:gd name="connsiteY48" fmla="*/ 400241 h 471291"/>
                <a:gd name="connsiteX49" fmla="*/ 157793 w 287641"/>
                <a:gd name="connsiteY49" fmla="*/ 398831 h 471291"/>
                <a:gd name="connsiteX50" fmla="*/ 160490 w 287641"/>
                <a:gd name="connsiteY50" fmla="*/ 395583 h 471291"/>
                <a:gd name="connsiteX51" fmla="*/ 163414 w 287641"/>
                <a:gd name="connsiteY51" fmla="*/ 393226 h 471291"/>
                <a:gd name="connsiteX52" fmla="*/ 167493 w 287641"/>
                <a:gd name="connsiteY52" fmla="*/ 392166 h 471291"/>
                <a:gd name="connsiteX53" fmla="*/ 169335 w 287641"/>
                <a:gd name="connsiteY53" fmla="*/ 393143 h 471291"/>
                <a:gd name="connsiteX54" fmla="*/ 170130 w 287641"/>
                <a:gd name="connsiteY54" fmla="*/ 390998 h 471291"/>
                <a:gd name="connsiteX55" fmla="*/ 176625 w 287641"/>
                <a:gd name="connsiteY55" fmla="*/ 388398 h 471291"/>
                <a:gd name="connsiteX56" fmla="*/ 179860 w 287641"/>
                <a:gd name="connsiteY56" fmla="*/ 388520 h 471291"/>
                <a:gd name="connsiteX57" fmla="*/ 180972 w 287641"/>
                <a:gd name="connsiteY57" fmla="*/ 388990 h 471291"/>
                <a:gd name="connsiteX58" fmla="*/ 177100 w 287641"/>
                <a:gd name="connsiteY58" fmla="*/ 390280 h 471291"/>
                <a:gd name="connsiteX59" fmla="*/ 176703 w 287641"/>
                <a:gd name="connsiteY59" fmla="*/ 392277 h 471291"/>
                <a:gd name="connsiteX60" fmla="*/ 175556 w 287641"/>
                <a:gd name="connsiteY60" fmla="*/ 392125 h 471291"/>
                <a:gd name="connsiteX61" fmla="*/ 174511 w 287641"/>
                <a:gd name="connsiteY61" fmla="*/ 390651 h 471291"/>
                <a:gd name="connsiteX62" fmla="*/ 161812 w 287641"/>
                <a:gd name="connsiteY62" fmla="*/ 351984 h 471291"/>
                <a:gd name="connsiteX63" fmla="*/ 162267 w 287641"/>
                <a:gd name="connsiteY63" fmla="*/ 352091 h 471291"/>
                <a:gd name="connsiteX64" fmla="*/ 160734 w 287641"/>
                <a:gd name="connsiteY64" fmla="*/ 354550 h 471291"/>
                <a:gd name="connsiteX65" fmla="*/ 159754 w 287641"/>
                <a:gd name="connsiteY65" fmla="*/ 354860 h 471291"/>
                <a:gd name="connsiteX66" fmla="*/ 159268 w 287641"/>
                <a:gd name="connsiteY66" fmla="*/ 354762 h 471291"/>
                <a:gd name="connsiteX67" fmla="*/ 159873 w 287641"/>
                <a:gd name="connsiteY67" fmla="*/ 353249 h 471291"/>
                <a:gd name="connsiteX68" fmla="*/ 160322 w 287641"/>
                <a:gd name="connsiteY68" fmla="*/ 352596 h 471291"/>
                <a:gd name="connsiteX69" fmla="*/ 165261 w 287641"/>
                <a:gd name="connsiteY69" fmla="*/ 337596 h 471291"/>
                <a:gd name="connsiteX70" fmla="*/ 166975 w 287641"/>
                <a:gd name="connsiteY70" fmla="*/ 338028 h 471291"/>
                <a:gd name="connsiteX71" fmla="*/ 166964 w 287641"/>
                <a:gd name="connsiteY71" fmla="*/ 338356 h 471291"/>
                <a:gd name="connsiteX72" fmla="*/ 165325 w 287641"/>
                <a:gd name="connsiteY72" fmla="*/ 339420 h 471291"/>
                <a:gd name="connsiteX73" fmla="*/ 164697 w 287641"/>
                <a:gd name="connsiteY73" fmla="*/ 340135 h 471291"/>
                <a:gd name="connsiteX74" fmla="*/ 164142 w 287641"/>
                <a:gd name="connsiteY74" fmla="*/ 341220 h 471291"/>
                <a:gd name="connsiteX75" fmla="*/ 163585 w 287641"/>
                <a:gd name="connsiteY75" fmla="*/ 339890 h 471291"/>
                <a:gd name="connsiteX76" fmla="*/ 163807 w 287641"/>
                <a:gd name="connsiteY76" fmla="*/ 339630 h 471291"/>
                <a:gd name="connsiteX77" fmla="*/ 164187 w 287641"/>
                <a:gd name="connsiteY77" fmla="*/ 338316 h 471291"/>
                <a:gd name="connsiteX78" fmla="*/ 209512 w 287641"/>
                <a:gd name="connsiteY78" fmla="*/ 0 h 471291"/>
                <a:gd name="connsiteX79" fmla="*/ 215548 w 287641"/>
                <a:gd name="connsiteY79" fmla="*/ 2210 h 471291"/>
                <a:gd name="connsiteX80" fmla="*/ 215812 w 287641"/>
                <a:gd name="connsiteY80" fmla="*/ 2688 h 471291"/>
                <a:gd name="connsiteX81" fmla="*/ 215855 w 287641"/>
                <a:gd name="connsiteY81" fmla="*/ 3839 h 471291"/>
                <a:gd name="connsiteX82" fmla="*/ 216066 w 287641"/>
                <a:gd name="connsiteY82" fmla="*/ 5031 h 471291"/>
                <a:gd name="connsiteX83" fmla="*/ 221923 w 287641"/>
                <a:gd name="connsiteY83" fmla="*/ 8050 h 471291"/>
                <a:gd name="connsiteX84" fmla="*/ 223611 w 287641"/>
                <a:gd name="connsiteY84" fmla="*/ 9646 h 471291"/>
                <a:gd name="connsiteX85" fmla="*/ 227207 w 287641"/>
                <a:gd name="connsiteY85" fmla="*/ 12069 h 471291"/>
                <a:gd name="connsiteX86" fmla="*/ 228159 w 287641"/>
                <a:gd name="connsiteY86" fmla="*/ 13376 h 471291"/>
                <a:gd name="connsiteX87" fmla="*/ 231489 w 287641"/>
                <a:gd name="connsiteY87" fmla="*/ 14904 h 471291"/>
                <a:gd name="connsiteX88" fmla="*/ 233877 w 287641"/>
                <a:gd name="connsiteY88" fmla="*/ 16536 h 471291"/>
                <a:gd name="connsiteX89" fmla="*/ 236667 w 287641"/>
                <a:gd name="connsiteY89" fmla="*/ 17859 h 471291"/>
                <a:gd name="connsiteX90" fmla="*/ 239923 w 287641"/>
                <a:gd name="connsiteY90" fmla="*/ 19914 h 471291"/>
                <a:gd name="connsiteX91" fmla="*/ 244294 w 287641"/>
                <a:gd name="connsiteY91" fmla="*/ 21549 h 471291"/>
                <a:gd name="connsiteX92" fmla="*/ 247986 w 287641"/>
                <a:gd name="connsiteY92" fmla="*/ 22082 h 471291"/>
                <a:gd name="connsiteX93" fmla="*/ 257280 w 287641"/>
                <a:gd name="connsiteY93" fmla="*/ 24881 h 471291"/>
                <a:gd name="connsiteX94" fmla="*/ 258865 w 287641"/>
                <a:gd name="connsiteY94" fmla="*/ 25787 h 471291"/>
                <a:gd name="connsiteX95" fmla="*/ 261547 w 287641"/>
                <a:gd name="connsiteY95" fmla="*/ 27732 h 471291"/>
                <a:gd name="connsiteX96" fmla="*/ 264255 w 287641"/>
                <a:gd name="connsiteY96" fmla="*/ 29982 h 471291"/>
                <a:gd name="connsiteX97" fmla="*/ 266127 w 287641"/>
                <a:gd name="connsiteY97" fmla="*/ 34594 h 471291"/>
                <a:gd name="connsiteX98" fmla="*/ 269136 w 287641"/>
                <a:gd name="connsiteY98" fmla="*/ 34834 h 471291"/>
                <a:gd name="connsiteX99" fmla="*/ 269952 w 287641"/>
                <a:gd name="connsiteY99" fmla="*/ 36419 h 471291"/>
                <a:gd name="connsiteX100" fmla="*/ 272578 w 287641"/>
                <a:gd name="connsiteY100" fmla="*/ 39132 h 471291"/>
                <a:gd name="connsiteX101" fmla="*/ 276218 w 287641"/>
                <a:gd name="connsiteY101" fmla="*/ 41522 h 471291"/>
                <a:gd name="connsiteX102" fmla="*/ 276087 w 287641"/>
                <a:gd name="connsiteY102" fmla="*/ 42326 h 471291"/>
                <a:gd name="connsiteX103" fmla="*/ 273189 w 287641"/>
                <a:gd name="connsiteY103" fmla="*/ 44525 h 471291"/>
                <a:gd name="connsiteX104" fmla="*/ 272878 w 287641"/>
                <a:gd name="connsiteY104" fmla="*/ 47502 h 471291"/>
                <a:gd name="connsiteX105" fmla="*/ 273152 w 287641"/>
                <a:gd name="connsiteY105" fmla="*/ 51297 h 471291"/>
                <a:gd name="connsiteX106" fmla="*/ 274061 w 287641"/>
                <a:gd name="connsiteY106" fmla="*/ 54386 h 471291"/>
                <a:gd name="connsiteX107" fmla="*/ 273966 w 287641"/>
                <a:gd name="connsiteY107" fmla="*/ 55288 h 471291"/>
                <a:gd name="connsiteX108" fmla="*/ 273247 w 287641"/>
                <a:gd name="connsiteY108" fmla="*/ 56351 h 471291"/>
                <a:gd name="connsiteX109" fmla="*/ 272383 w 287641"/>
                <a:gd name="connsiteY109" fmla="*/ 58019 h 471291"/>
                <a:gd name="connsiteX110" fmla="*/ 272075 w 287641"/>
                <a:gd name="connsiteY110" fmla="*/ 59473 h 471291"/>
                <a:gd name="connsiteX111" fmla="*/ 272150 w 287641"/>
                <a:gd name="connsiteY111" fmla="*/ 60186 h 471291"/>
                <a:gd name="connsiteX112" fmla="*/ 272442 w 287641"/>
                <a:gd name="connsiteY112" fmla="*/ 60573 h 471291"/>
                <a:gd name="connsiteX113" fmla="*/ 273968 w 287641"/>
                <a:gd name="connsiteY113" fmla="*/ 60602 h 471291"/>
                <a:gd name="connsiteX114" fmla="*/ 276704 w 287641"/>
                <a:gd name="connsiteY114" fmla="*/ 60945 h 471291"/>
                <a:gd name="connsiteX115" fmla="*/ 278313 w 287641"/>
                <a:gd name="connsiteY115" fmla="*/ 61590 h 471291"/>
                <a:gd name="connsiteX116" fmla="*/ 279226 w 287641"/>
                <a:gd name="connsiteY116" fmla="*/ 65128 h 471291"/>
                <a:gd name="connsiteX117" fmla="*/ 278918 w 287641"/>
                <a:gd name="connsiteY117" fmla="*/ 65807 h 471291"/>
                <a:gd name="connsiteX118" fmla="*/ 276611 w 287641"/>
                <a:gd name="connsiteY118" fmla="*/ 67406 h 471291"/>
                <a:gd name="connsiteX119" fmla="*/ 275935 w 287641"/>
                <a:gd name="connsiteY119" fmla="*/ 68675 h 471291"/>
                <a:gd name="connsiteX120" fmla="*/ 275869 w 287641"/>
                <a:gd name="connsiteY120" fmla="*/ 70538 h 471291"/>
                <a:gd name="connsiteX121" fmla="*/ 276277 w 287641"/>
                <a:gd name="connsiteY121" fmla="*/ 72584 h 471291"/>
                <a:gd name="connsiteX122" fmla="*/ 277069 w 287641"/>
                <a:gd name="connsiteY122" fmla="*/ 74871 h 471291"/>
                <a:gd name="connsiteX123" fmla="*/ 278874 w 287641"/>
                <a:gd name="connsiteY123" fmla="*/ 77315 h 471291"/>
                <a:gd name="connsiteX124" fmla="*/ 281314 w 287641"/>
                <a:gd name="connsiteY124" fmla="*/ 79867 h 471291"/>
                <a:gd name="connsiteX125" fmla="*/ 282917 w 287641"/>
                <a:gd name="connsiteY125" fmla="*/ 81958 h 471291"/>
                <a:gd name="connsiteX126" fmla="*/ 283675 w 287641"/>
                <a:gd name="connsiteY126" fmla="*/ 83430 h 471291"/>
                <a:gd name="connsiteX127" fmla="*/ 283951 w 287641"/>
                <a:gd name="connsiteY127" fmla="*/ 84458 h 471291"/>
                <a:gd name="connsiteX128" fmla="*/ 282852 w 287641"/>
                <a:gd name="connsiteY128" fmla="*/ 85750 h 471291"/>
                <a:gd name="connsiteX129" fmla="*/ 281863 w 287641"/>
                <a:gd name="connsiteY129" fmla="*/ 88303 h 471291"/>
                <a:gd name="connsiteX130" fmla="*/ 281679 w 287641"/>
                <a:gd name="connsiteY130" fmla="*/ 91223 h 471291"/>
                <a:gd name="connsiteX131" fmla="*/ 281230 w 287641"/>
                <a:gd name="connsiteY131" fmla="*/ 93125 h 471291"/>
                <a:gd name="connsiteX132" fmla="*/ 279081 w 287641"/>
                <a:gd name="connsiteY132" fmla="*/ 95739 h 471291"/>
                <a:gd name="connsiteX133" fmla="*/ 277596 w 287641"/>
                <a:gd name="connsiteY133" fmla="*/ 96665 h 471291"/>
                <a:gd name="connsiteX134" fmla="*/ 277173 w 287641"/>
                <a:gd name="connsiteY134" fmla="*/ 98043 h 471291"/>
                <a:gd name="connsiteX135" fmla="*/ 276991 w 287641"/>
                <a:gd name="connsiteY135" fmla="*/ 100353 h 471291"/>
                <a:gd name="connsiteX136" fmla="*/ 277427 w 287641"/>
                <a:gd name="connsiteY136" fmla="*/ 103166 h 471291"/>
                <a:gd name="connsiteX137" fmla="*/ 277577 w 287641"/>
                <a:gd name="connsiteY137" fmla="*/ 105065 h 471291"/>
                <a:gd name="connsiteX138" fmla="*/ 278034 w 287641"/>
                <a:gd name="connsiteY138" fmla="*/ 106431 h 471291"/>
                <a:gd name="connsiteX139" fmla="*/ 278708 w 287641"/>
                <a:gd name="connsiteY139" fmla="*/ 107322 h 471291"/>
                <a:gd name="connsiteX140" fmla="*/ 282155 w 287641"/>
                <a:gd name="connsiteY140" fmla="*/ 108897 h 471291"/>
                <a:gd name="connsiteX141" fmla="*/ 284085 w 287641"/>
                <a:gd name="connsiteY141" fmla="*/ 112118 h 471291"/>
                <a:gd name="connsiteX142" fmla="*/ 285288 w 287641"/>
                <a:gd name="connsiteY142" fmla="*/ 114698 h 471291"/>
                <a:gd name="connsiteX143" fmla="*/ 287641 w 287641"/>
                <a:gd name="connsiteY143" fmla="*/ 121435 h 471291"/>
                <a:gd name="connsiteX144" fmla="*/ 281783 w 287641"/>
                <a:gd name="connsiteY144" fmla="*/ 122275 h 471291"/>
                <a:gd name="connsiteX145" fmla="*/ 277380 w 287641"/>
                <a:gd name="connsiteY145" fmla="*/ 120588 h 471291"/>
                <a:gd name="connsiteX146" fmla="*/ 275184 w 287641"/>
                <a:gd name="connsiteY146" fmla="*/ 121433 h 471291"/>
                <a:gd name="connsiteX147" fmla="*/ 271342 w 287641"/>
                <a:gd name="connsiteY147" fmla="*/ 121469 h 471291"/>
                <a:gd name="connsiteX148" fmla="*/ 266980 w 287641"/>
                <a:gd name="connsiteY148" fmla="*/ 122133 h 471291"/>
                <a:gd name="connsiteX149" fmla="*/ 265510 w 287641"/>
                <a:gd name="connsiteY149" fmla="*/ 123452 h 471291"/>
                <a:gd name="connsiteX150" fmla="*/ 264354 w 287641"/>
                <a:gd name="connsiteY150" fmla="*/ 123982 h 471291"/>
                <a:gd name="connsiteX151" fmla="*/ 260308 w 287641"/>
                <a:gd name="connsiteY151" fmla="*/ 122120 h 471291"/>
                <a:gd name="connsiteX152" fmla="*/ 256488 w 287641"/>
                <a:gd name="connsiteY152" fmla="*/ 119040 h 471291"/>
                <a:gd name="connsiteX153" fmla="*/ 253696 w 287641"/>
                <a:gd name="connsiteY153" fmla="*/ 121389 h 471291"/>
                <a:gd name="connsiteX154" fmla="*/ 251889 w 287641"/>
                <a:gd name="connsiteY154" fmla="*/ 121834 h 471291"/>
                <a:gd name="connsiteX155" fmla="*/ 250265 w 287641"/>
                <a:gd name="connsiteY155" fmla="*/ 119708 h 471291"/>
                <a:gd name="connsiteX156" fmla="*/ 248846 w 287641"/>
                <a:gd name="connsiteY156" fmla="*/ 119363 h 471291"/>
                <a:gd name="connsiteX157" fmla="*/ 248079 w 287641"/>
                <a:gd name="connsiteY157" fmla="*/ 120072 h 471291"/>
                <a:gd name="connsiteX158" fmla="*/ 247408 w 287641"/>
                <a:gd name="connsiteY158" fmla="*/ 121949 h 471291"/>
                <a:gd name="connsiteX159" fmla="*/ 246339 w 287641"/>
                <a:gd name="connsiteY159" fmla="*/ 123425 h 471291"/>
                <a:gd name="connsiteX160" fmla="*/ 246060 w 287641"/>
                <a:gd name="connsiteY160" fmla="*/ 124359 h 471291"/>
                <a:gd name="connsiteX161" fmla="*/ 245875 w 287641"/>
                <a:gd name="connsiteY161" fmla="*/ 128120 h 471291"/>
                <a:gd name="connsiteX162" fmla="*/ 245596 w 287641"/>
                <a:gd name="connsiteY162" fmla="*/ 128991 h 471291"/>
                <a:gd name="connsiteX163" fmla="*/ 241886 w 287641"/>
                <a:gd name="connsiteY163" fmla="*/ 128505 h 471291"/>
                <a:gd name="connsiteX164" fmla="*/ 242109 w 287641"/>
                <a:gd name="connsiteY164" fmla="*/ 129491 h 471291"/>
                <a:gd name="connsiteX165" fmla="*/ 242916 w 287641"/>
                <a:gd name="connsiteY165" fmla="*/ 129987 h 471291"/>
                <a:gd name="connsiteX166" fmla="*/ 243242 w 287641"/>
                <a:gd name="connsiteY166" fmla="*/ 130612 h 471291"/>
                <a:gd name="connsiteX167" fmla="*/ 241897 w 287641"/>
                <a:gd name="connsiteY167" fmla="*/ 131433 h 471291"/>
                <a:gd name="connsiteX168" fmla="*/ 238213 w 287641"/>
                <a:gd name="connsiteY168" fmla="*/ 131356 h 471291"/>
                <a:gd name="connsiteX169" fmla="*/ 237837 w 287641"/>
                <a:gd name="connsiteY169" fmla="*/ 132227 h 471291"/>
                <a:gd name="connsiteX170" fmla="*/ 238874 w 287641"/>
                <a:gd name="connsiteY170" fmla="*/ 133603 h 471291"/>
                <a:gd name="connsiteX171" fmla="*/ 238066 w 287641"/>
                <a:gd name="connsiteY171" fmla="*/ 134807 h 471291"/>
                <a:gd name="connsiteX172" fmla="*/ 237317 w 287641"/>
                <a:gd name="connsiteY172" fmla="*/ 135281 h 471291"/>
                <a:gd name="connsiteX173" fmla="*/ 232918 w 287641"/>
                <a:gd name="connsiteY173" fmla="*/ 136028 h 471291"/>
                <a:gd name="connsiteX174" fmla="*/ 230372 w 287641"/>
                <a:gd name="connsiteY174" fmla="*/ 135857 h 471291"/>
                <a:gd name="connsiteX175" fmla="*/ 229645 w 287641"/>
                <a:gd name="connsiteY175" fmla="*/ 136636 h 471291"/>
                <a:gd name="connsiteX176" fmla="*/ 229441 w 287641"/>
                <a:gd name="connsiteY176" fmla="*/ 137647 h 471291"/>
                <a:gd name="connsiteX177" fmla="*/ 229923 w 287641"/>
                <a:gd name="connsiteY177" fmla="*/ 138639 h 471291"/>
                <a:gd name="connsiteX178" fmla="*/ 231046 w 287641"/>
                <a:gd name="connsiteY178" fmla="*/ 139167 h 471291"/>
                <a:gd name="connsiteX179" fmla="*/ 231415 w 287641"/>
                <a:gd name="connsiteY179" fmla="*/ 139796 h 471291"/>
                <a:gd name="connsiteX180" fmla="*/ 231338 w 287641"/>
                <a:gd name="connsiteY180" fmla="*/ 141158 h 471291"/>
                <a:gd name="connsiteX181" fmla="*/ 230403 w 287641"/>
                <a:gd name="connsiteY181" fmla="*/ 141405 h 471291"/>
                <a:gd name="connsiteX182" fmla="*/ 227749 w 287641"/>
                <a:gd name="connsiteY182" fmla="*/ 139012 h 471291"/>
                <a:gd name="connsiteX183" fmla="*/ 226941 w 287641"/>
                <a:gd name="connsiteY183" fmla="*/ 139135 h 471291"/>
                <a:gd name="connsiteX184" fmla="*/ 227548 w 287641"/>
                <a:gd name="connsiteY184" fmla="*/ 140380 h 471291"/>
                <a:gd name="connsiteX185" fmla="*/ 229064 w 287641"/>
                <a:gd name="connsiteY185" fmla="*/ 141736 h 471291"/>
                <a:gd name="connsiteX186" fmla="*/ 229940 w 287641"/>
                <a:gd name="connsiteY186" fmla="*/ 143120 h 471291"/>
                <a:gd name="connsiteX187" fmla="*/ 230707 w 287641"/>
                <a:gd name="connsiteY187" fmla="*/ 144785 h 471291"/>
                <a:gd name="connsiteX188" fmla="*/ 230558 w 287641"/>
                <a:gd name="connsiteY188" fmla="*/ 146046 h 471291"/>
                <a:gd name="connsiteX189" fmla="*/ 227263 w 287641"/>
                <a:gd name="connsiteY189" fmla="*/ 150112 h 471291"/>
                <a:gd name="connsiteX190" fmla="*/ 224363 w 287641"/>
                <a:gd name="connsiteY190" fmla="*/ 152677 h 471291"/>
                <a:gd name="connsiteX191" fmla="*/ 222199 w 287641"/>
                <a:gd name="connsiteY191" fmla="*/ 154984 h 471291"/>
                <a:gd name="connsiteX192" fmla="*/ 220923 w 287641"/>
                <a:gd name="connsiteY192" fmla="*/ 157427 h 471291"/>
                <a:gd name="connsiteX193" fmla="*/ 222400 w 287641"/>
                <a:gd name="connsiteY193" fmla="*/ 158658 h 471291"/>
                <a:gd name="connsiteX194" fmla="*/ 224043 w 287641"/>
                <a:gd name="connsiteY194" fmla="*/ 160431 h 471291"/>
                <a:gd name="connsiteX195" fmla="*/ 225198 w 287641"/>
                <a:gd name="connsiteY195" fmla="*/ 163837 h 471291"/>
                <a:gd name="connsiteX196" fmla="*/ 226576 w 287641"/>
                <a:gd name="connsiteY196" fmla="*/ 166868 h 471291"/>
                <a:gd name="connsiteX197" fmla="*/ 229357 w 287641"/>
                <a:gd name="connsiteY197" fmla="*/ 169760 h 471291"/>
                <a:gd name="connsiteX198" fmla="*/ 228798 w 287641"/>
                <a:gd name="connsiteY198" fmla="*/ 171430 h 471291"/>
                <a:gd name="connsiteX199" fmla="*/ 228150 w 287641"/>
                <a:gd name="connsiteY199" fmla="*/ 172728 h 471291"/>
                <a:gd name="connsiteX200" fmla="*/ 223523 w 287641"/>
                <a:gd name="connsiteY200" fmla="*/ 175583 h 471291"/>
                <a:gd name="connsiteX201" fmla="*/ 218276 w 287641"/>
                <a:gd name="connsiteY201" fmla="*/ 179878 h 471291"/>
                <a:gd name="connsiteX202" fmla="*/ 212620 w 287641"/>
                <a:gd name="connsiteY202" fmla="*/ 190827 h 471291"/>
                <a:gd name="connsiteX203" fmla="*/ 210739 w 287641"/>
                <a:gd name="connsiteY203" fmla="*/ 192290 h 471291"/>
                <a:gd name="connsiteX204" fmla="*/ 205788 w 287641"/>
                <a:gd name="connsiteY204" fmla="*/ 194137 h 471291"/>
                <a:gd name="connsiteX205" fmla="*/ 203967 w 287641"/>
                <a:gd name="connsiteY205" fmla="*/ 195923 h 471291"/>
                <a:gd name="connsiteX206" fmla="*/ 200281 w 287641"/>
                <a:gd name="connsiteY206" fmla="*/ 198045 h 471291"/>
                <a:gd name="connsiteX207" fmla="*/ 193846 w 287641"/>
                <a:gd name="connsiteY207" fmla="*/ 199865 h 471291"/>
                <a:gd name="connsiteX208" fmla="*/ 190927 w 287641"/>
                <a:gd name="connsiteY208" fmla="*/ 202400 h 471291"/>
                <a:gd name="connsiteX209" fmla="*/ 189609 w 287641"/>
                <a:gd name="connsiteY209" fmla="*/ 205019 h 471291"/>
                <a:gd name="connsiteX210" fmla="*/ 188143 w 287641"/>
                <a:gd name="connsiteY210" fmla="*/ 205205 h 471291"/>
                <a:gd name="connsiteX211" fmla="*/ 186690 w 287641"/>
                <a:gd name="connsiteY211" fmla="*/ 204182 h 471291"/>
                <a:gd name="connsiteX212" fmla="*/ 184751 w 287641"/>
                <a:gd name="connsiteY212" fmla="*/ 203420 h 471291"/>
                <a:gd name="connsiteX213" fmla="*/ 184498 w 287641"/>
                <a:gd name="connsiteY213" fmla="*/ 205128 h 471291"/>
                <a:gd name="connsiteX214" fmla="*/ 184580 w 287641"/>
                <a:gd name="connsiteY214" fmla="*/ 206381 h 471291"/>
                <a:gd name="connsiteX215" fmla="*/ 181477 w 287641"/>
                <a:gd name="connsiteY215" fmla="*/ 204524 h 471291"/>
                <a:gd name="connsiteX216" fmla="*/ 180013 w 287641"/>
                <a:gd name="connsiteY216" fmla="*/ 206227 h 471291"/>
                <a:gd name="connsiteX217" fmla="*/ 178869 w 287641"/>
                <a:gd name="connsiteY217" fmla="*/ 209070 h 471291"/>
                <a:gd name="connsiteX218" fmla="*/ 174403 w 287641"/>
                <a:gd name="connsiteY218" fmla="*/ 212891 h 471291"/>
                <a:gd name="connsiteX219" fmla="*/ 169590 w 287641"/>
                <a:gd name="connsiteY219" fmla="*/ 212204 h 471291"/>
                <a:gd name="connsiteX220" fmla="*/ 169050 w 287641"/>
                <a:gd name="connsiteY220" fmla="*/ 212878 h 471291"/>
                <a:gd name="connsiteX221" fmla="*/ 170331 w 287641"/>
                <a:gd name="connsiteY221" fmla="*/ 213366 h 471291"/>
                <a:gd name="connsiteX222" fmla="*/ 170525 w 287641"/>
                <a:gd name="connsiteY222" fmla="*/ 213976 h 471291"/>
                <a:gd name="connsiteX223" fmla="*/ 169651 w 287641"/>
                <a:gd name="connsiteY223" fmla="*/ 214301 h 471291"/>
                <a:gd name="connsiteX224" fmla="*/ 168327 w 287641"/>
                <a:gd name="connsiteY224" fmla="*/ 214267 h 471291"/>
                <a:gd name="connsiteX225" fmla="*/ 166284 w 287641"/>
                <a:gd name="connsiteY225" fmla="*/ 215021 h 471291"/>
                <a:gd name="connsiteX226" fmla="*/ 164941 w 287641"/>
                <a:gd name="connsiteY226" fmla="*/ 214962 h 471291"/>
                <a:gd name="connsiteX227" fmla="*/ 164304 w 287641"/>
                <a:gd name="connsiteY227" fmla="*/ 216765 h 471291"/>
                <a:gd name="connsiteX228" fmla="*/ 163265 w 287641"/>
                <a:gd name="connsiteY228" fmla="*/ 218950 h 471291"/>
                <a:gd name="connsiteX229" fmla="*/ 160546 w 287641"/>
                <a:gd name="connsiteY229" fmla="*/ 219854 h 471291"/>
                <a:gd name="connsiteX230" fmla="*/ 159143 w 287641"/>
                <a:gd name="connsiteY230" fmla="*/ 220040 h 471291"/>
                <a:gd name="connsiteX231" fmla="*/ 158450 w 287641"/>
                <a:gd name="connsiteY231" fmla="*/ 221281 h 471291"/>
                <a:gd name="connsiteX232" fmla="*/ 162632 w 287641"/>
                <a:gd name="connsiteY232" fmla="*/ 221541 h 471291"/>
                <a:gd name="connsiteX233" fmla="*/ 162298 w 287641"/>
                <a:gd name="connsiteY233" fmla="*/ 222591 h 471291"/>
                <a:gd name="connsiteX234" fmla="*/ 162203 w 287641"/>
                <a:gd name="connsiteY234" fmla="*/ 223640 h 471291"/>
                <a:gd name="connsiteX235" fmla="*/ 161771 w 287641"/>
                <a:gd name="connsiteY235" fmla="*/ 224765 h 471291"/>
                <a:gd name="connsiteX236" fmla="*/ 157016 w 287641"/>
                <a:gd name="connsiteY236" fmla="*/ 226384 h 471291"/>
                <a:gd name="connsiteX237" fmla="*/ 156284 w 287641"/>
                <a:gd name="connsiteY237" fmla="*/ 227659 h 471291"/>
                <a:gd name="connsiteX238" fmla="*/ 155291 w 287641"/>
                <a:gd name="connsiteY238" fmla="*/ 228449 h 471291"/>
                <a:gd name="connsiteX239" fmla="*/ 153176 w 287641"/>
                <a:gd name="connsiteY239" fmla="*/ 228404 h 471291"/>
                <a:gd name="connsiteX240" fmla="*/ 153254 w 287641"/>
                <a:gd name="connsiteY240" fmla="*/ 227668 h 471291"/>
                <a:gd name="connsiteX241" fmla="*/ 153600 w 287641"/>
                <a:gd name="connsiteY241" fmla="*/ 226835 h 471291"/>
                <a:gd name="connsiteX242" fmla="*/ 150449 w 287641"/>
                <a:gd name="connsiteY242" fmla="*/ 226910 h 471291"/>
                <a:gd name="connsiteX243" fmla="*/ 149467 w 287641"/>
                <a:gd name="connsiteY243" fmla="*/ 225080 h 471291"/>
                <a:gd name="connsiteX244" fmla="*/ 148869 w 287641"/>
                <a:gd name="connsiteY244" fmla="*/ 225549 h 471291"/>
                <a:gd name="connsiteX245" fmla="*/ 149223 w 287641"/>
                <a:gd name="connsiteY245" fmla="*/ 227026 h 471291"/>
                <a:gd name="connsiteX246" fmla="*/ 150048 w 287641"/>
                <a:gd name="connsiteY246" fmla="*/ 228561 h 471291"/>
                <a:gd name="connsiteX247" fmla="*/ 150965 w 287641"/>
                <a:gd name="connsiteY247" fmla="*/ 230809 h 471291"/>
                <a:gd name="connsiteX248" fmla="*/ 150220 w 287641"/>
                <a:gd name="connsiteY248" fmla="*/ 232230 h 471291"/>
                <a:gd name="connsiteX249" fmla="*/ 149387 w 287641"/>
                <a:gd name="connsiteY249" fmla="*/ 232934 h 471291"/>
                <a:gd name="connsiteX250" fmla="*/ 149994 w 287641"/>
                <a:gd name="connsiteY250" fmla="*/ 233584 h 471291"/>
                <a:gd name="connsiteX251" fmla="*/ 151676 w 287641"/>
                <a:gd name="connsiteY251" fmla="*/ 234079 h 471291"/>
                <a:gd name="connsiteX252" fmla="*/ 152356 w 287641"/>
                <a:gd name="connsiteY252" fmla="*/ 234966 h 471291"/>
                <a:gd name="connsiteX253" fmla="*/ 150361 w 287641"/>
                <a:gd name="connsiteY253" fmla="*/ 235726 h 471291"/>
                <a:gd name="connsiteX254" fmla="*/ 147871 w 287641"/>
                <a:gd name="connsiteY254" fmla="*/ 238333 h 471291"/>
                <a:gd name="connsiteX255" fmla="*/ 145290 w 287641"/>
                <a:gd name="connsiteY255" fmla="*/ 238397 h 471291"/>
                <a:gd name="connsiteX256" fmla="*/ 143712 w 287641"/>
                <a:gd name="connsiteY256" fmla="*/ 240117 h 471291"/>
                <a:gd name="connsiteX257" fmla="*/ 142036 w 287641"/>
                <a:gd name="connsiteY257" fmla="*/ 240111 h 471291"/>
                <a:gd name="connsiteX258" fmla="*/ 140674 w 287641"/>
                <a:gd name="connsiteY258" fmla="*/ 239028 h 471291"/>
                <a:gd name="connsiteX259" fmla="*/ 138490 w 287641"/>
                <a:gd name="connsiteY259" fmla="*/ 238138 h 471291"/>
                <a:gd name="connsiteX260" fmla="*/ 137787 w 287641"/>
                <a:gd name="connsiteY260" fmla="*/ 239707 h 471291"/>
                <a:gd name="connsiteX261" fmla="*/ 137674 w 287641"/>
                <a:gd name="connsiteY261" fmla="*/ 240954 h 471291"/>
                <a:gd name="connsiteX262" fmla="*/ 138905 w 287641"/>
                <a:gd name="connsiteY262" fmla="*/ 244105 h 471291"/>
                <a:gd name="connsiteX263" fmla="*/ 141255 w 287641"/>
                <a:gd name="connsiteY263" fmla="*/ 246541 h 471291"/>
                <a:gd name="connsiteX264" fmla="*/ 143431 w 287641"/>
                <a:gd name="connsiteY264" fmla="*/ 247592 h 471291"/>
                <a:gd name="connsiteX265" fmla="*/ 141865 w 287641"/>
                <a:gd name="connsiteY265" fmla="*/ 248301 h 471291"/>
                <a:gd name="connsiteX266" fmla="*/ 140700 w 287641"/>
                <a:gd name="connsiteY266" fmla="*/ 249875 h 471291"/>
                <a:gd name="connsiteX267" fmla="*/ 139294 w 287641"/>
                <a:gd name="connsiteY267" fmla="*/ 254783 h 471291"/>
                <a:gd name="connsiteX268" fmla="*/ 138529 w 287641"/>
                <a:gd name="connsiteY268" fmla="*/ 256712 h 471291"/>
                <a:gd name="connsiteX269" fmla="*/ 137700 w 287641"/>
                <a:gd name="connsiteY269" fmla="*/ 260113 h 471291"/>
                <a:gd name="connsiteX270" fmla="*/ 138225 w 287641"/>
                <a:gd name="connsiteY270" fmla="*/ 262978 h 471291"/>
                <a:gd name="connsiteX271" fmla="*/ 138646 w 287641"/>
                <a:gd name="connsiteY271" fmla="*/ 264385 h 471291"/>
                <a:gd name="connsiteX272" fmla="*/ 139711 w 287641"/>
                <a:gd name="connsiteY272" fmla="*/ 266294 h 471291"/>
                <a:gd name="connsiteX273" fmla="*/ 136817 w 287641"/>
                <a:gd name="connsiteY273" fmla="*/ 266048 h 471291"/>
                <a:gd name="connsiteX274" fmla="*/ 133761 w 287641"/>
                <a:gd name="connsiteY274" fmla="*/ 264933 h 471291"/>
                <a:gd name="connsiteX275" fmla="*/ 134187 w 287641"/>
                <a:gd name="connsiteY275" fmla="*/ 267248 h 471291"/>
                <a:gd name="connsiteX276" fmla="*/ 132310 w 287641"/>
                <a:gd name="connsiteY276" fmla="*/ 269981 h 471291"/>
                <a:gd name="connsiteX277" fmla="*/ 132660 w 287641"/>
                <a:gd name="connsiteY277" fmla="*/ 272389 h 471291"/>
                <a:gd name="connsiteX278" fmla="*/ 133051 w 287641"/>
                <a:gd name="connsiteY278" fmla="*/ 273956 h 471291"/>
                <a:gd name="connsiteX279" fmla="*/ 132470 w 287641"/>
                <a:gd name="connsiteY279" fmla="*/ 276546 h 471291"/>
                <a:gd name="connsiteX280" fmla="*/ 133353 w 287641"/>
                <a:gd name="connsiteY280" fmla="*/ 277359 h 471291"/>
                <a:gd name="connsiteX281" fmla="*/ 133833 w 287641"/>
                <a:gd name="connsiteY281" fmla="*/ 278899 h 471291"/>
                <a:gd name="connsiteX282" fmla="*/ 133042 w 287641"/>
                <a:gd name="connsiteY282" fmla="*/ 280036 h 471291"/>
                <a:gd name="connsiteX283" fmla="*/ 133394 w 287641"/>
                <a:gd name="connsiteY283" fmla="*/ 281014 h 471291"/>
                <a:gd name="connsiteX284" fmla="*/ 133526 w 287641"/>
                <a:gd name="connsiteY284" fmla="*/ 284473 h 471291"/>
                <a:gd name="connsiteX285" fmla="*/ 134126 w 287641"/>
                <a:gd name="connsiteY285" fmla="*/ 289873 h 471291"/>
                <a:gd name="connsiteX286" fmla="*/ 133906 w 287641"/>
                <a:gd name="connsiteY286" fmla="*/ 291014 h 471291"/>
                <a:gd name="connsiteX287" fmla="*/ 135586 w 287641"/>
                <a:gd name="connsiteY287" fmla="*/ 295695 h 471291"/>
                <a:gd name="connsiteX288" fmla="*/ 135195 w 287641"/>
                <a:gd name="connsiteY288" fmla="*/ 297333 h 471291"/>
                <a:gd name="connsiteX289" fmla="*/ 134969 w 287641"/>
                <a:gd name="connsiteY289" fmla="*/ 299419 h 471291"/>
                <a:gd name="connsiteX290" fmla="*/ 137376 w 287641"/>
                <a:gd name="connsiteY290" fmla="*/ 301421 h 471291"/>
                <a:gd name="connsiteX291" fmla="*/ 139525 w 287641"/>
                <a:gd name="connsiteY291" fmla="*/ 301389 h 471291"/>
                <a:gd name="connsiteX292" fmla="*/ 141702 w 287641"/>
                <a:gd name="connsiteY292" fmla="*/ 301358 h 471291"/>
                <a:gd name="connsiteX293" fmla="*/ 142533 w 287641"/>
                <a:gd name="connsiteY293" fmla="*/ 301860 h 471291"/>
                <a:gd name="connsiteX294" fmla="*/ 143367 w 287641"/>
                <a:gd name="connsiteY294" fmla="*/ 303275 h 471291"/>
                <a:gd name="connsiteX295" fmla="*/ 144038 w 287641"/>
                <a:gd name="connsiteY295" fmla="*/ 304945 h 471291"/>
                <a:gd name="connsiteX296" fmla="*/ 145830 w 287641"/>
                <a:gd name="connsiteY296" fmla="*/ 304807 h 471291"/>
                <a:gd name="connsiteX297" fmla="*/ 148691 w 287641"/>
                <a:gd name="connsiteY297" fmla="*/ 303448 h 471291"/>
                <a:gd name="connsiteX298" fmla="*/ 150553 w 287641"/>
                <a:gd name="connsiteY298" fmla="*/ 303124 h 471291"/>
                <a:gd name="connsiteX299" fmla="*/ 151782 w 287641"/>
                <a:gd name="connsiteY299" fmla="*/ 305736 h 471291"/>
                <a:gd name="connsiteX300" fmla="*/ 155124 w 287641"/>
                <a:gd name="connsiteY300" fmla="*/ 309182 h 471291"/>
                <a:gd name="connsiteX301" fmla="*/ 157070 w 287641"/>
                <a:gd name="connsiteY301" fmla="*/ 310724 h 471291"/>
                <a:gd name="connsiteX302" fmla="*/ 160376 w 287641"/>
                <a:gd name="connsiteY302" fmla="*/ 311535 h 471291"/>
                <a:gd name="connsiteX303" fmla="*/ 163859 w 287641"/>
                <a:gd name="connsiteY303" fmla="*/ 314308 h 471291"/>
                <a:gd name="connsiteX304" fmla="*/ 163371 w 287641"/>
                <a:gd name="connsiteY304" fmla="*/ 317646 h 471291"/>
                <a:gd name="connsiteX305" fmla="*/ 164824 w 287641"/>
                <a:gd name="connsiteY305" fmla="*/ 318760 h 471291"/>
                <a:gd name="connsiteX306" fmla="*/ 168934 w 287641"/>
                <a:gd name="connsiteY306" fmla="*/ 320076 h 471291"/>
                <a:gd name="connsiteX307" fmla="*/ 170387 w 287641"/>
                <a:gd name="connsiteY307" fmla="*/ 321849 h 471291"/>
                <a:gd name="connsiteX308" fmla="*/ 171084 w 287641"/>
                <a:gd name="connsiteY308" fmla="*/ 323359 h 471291"/>
                <a:gd name="connsiteX309" fmla="*/ 172166 w 287641"/>
                <a:gd name="connsiteY309" fmla="*/ 324611 h 471291"/>
                <a:gd name="connsiteX310" fmla="*/ 173431 w 287641"/>
                <a:gd name="connsiteY310" fmla="*/ 328388 h 471291"/>
                <a:gd name="connsiteX311" fmla="*/ 172991 w 287641"/>
                <a:gd name="connsiteY311" fmla="*/ 330712 h 471291"/>
                <a:gd name="connsiteX312" fmla="*/ 171335 w 287641"/>
                <a:gd name="connsiteY312" fmla="*/ 331510 h 471291"/>
                <a:gd name="connsiteX313" fmla="*/ 167424 w 287641"/>
                <a:gd name="connsiteY313" fmla="*/ 333997 h 471291"/>
                <a:gd name="connsiteX314" fmla="*/ 165681 w 287641"/>
                <a:gd name="connsiteY314" fmla="*/ 335851 h 471291"/>
                <a:gd name="connsiteX315" fmla="*/ 164314 w 287641"/>
                <a:gd name="connsiteY315" fmla="*/ 337006 h 471291"/>
                <a:gd name="connsiteX316" fmla="*/ 160430 w 287641"/>
                <a:gd name="connsiteY316" fmla="*/ 339479 h 471291"/>
                <a:gd name="connsiteX317" fmla="*/ 159007 w 287641"/>
                <a:gd name="connsiteY317" fmla="*/ 339923 h 471291"/>
                <a:gd name="connsiteX318" fmla="*/ 157644 w 287641"/>
                <a:gd name="connsiteY318" fmla="*/ 341207 h 471291"/>
                <a:gd name="connsiteX319" fmla="*/ 156327 w 287641"/>
                <a:gd name="connsiteY319" fmla="*/ 341769 h 471291"/>
                <a:gd name="connsiteX320" fmla="*/ 155148 w 287641"/>
                <a:gd name="connsiteY320" fmla="*/ 341446 h 471291"/>
                <a:gd name="connsiteX321" fmla="*/ 150740 w 287641"/>
                <a:gd name="connsiteY321" fmla="*/ 343770 h 471291"/>
                <a:gd name="connsiteX322" fmla="*/ 151084 w 287641"/>
                <a:gd name="connsiteY322" fmla="*/ 344762 h 471291"/>
                <a:gd name="connsiteX323" fmla="*/ 154464 w 287641"/>
                <a:gd name="connsiteY323" fmla="*/ 345182 h 471291"/>
                <a:gd name="connsiteX324" fmla="*/ 156187 w 287641"/>
                <a:gd name="connsiteY324" fmla="*/ 344684 h 471291"/>
                <a:gd name="connsiteX325" fmla="*/ 157513 w 287641"/>
                <a:gd name="connsiteY325" fmla="*/ 343516 h 471291"/>
                <a:gd name="connsiteX326" fmla="*/ 158961 w 287641"/>
                <a:gd name="connsiteY326" fmla="*/ 343248 h 471291"/>
                <a:gd name="connsiteX327" fmla="*/ 160283 w 287641"/>
                <a:gd name="connsiteY327" fmla="*/ 343468 h 471291"/>
                <a:gd name="connsiteX328" fmla="*/ 161684 w 287641"/>
                <a:gd name="connsiteY328" fmla="*/ 342548 h 471291"/>
                <a:gd name="connsiteX329" fmla="*/ 162784 w 287641"/>
                <a:gd name="connsiteY329" fmla="*/ 342180 h 471291"/>
                <a:gd name="connsiteX330" fmla="*/ 163920 w 287641"/>
                <a:gd name="connsiteY330" fmla="*/ 342621 h 471291"/>
                <a:gd name="connsiteX331" fmla="*/ 165187 w 287641"/>
                <a:gd name="connsiteY331" fmla="*/ 344828 h 471291"/>
                <a:gd name="connsiteX332" fmla="*/ 162557 w 287641"/>
                <a:gd name="connsiteY332" fmla="*/ 345976 h 471291"/>
                <a:gd name="connsiteX333" fmla="*/ 160691 w 287641"/>
                <a:gd name="connsiteY333" fmla="*/ 346028 h 471291"/>
                <a:gd name="connsiteX334" fmla="*/ 159780 w 287641"/>
                <a:gd name="connsiteY334" fmla="*/ 349640 h 471291"/>
                <a:gd name="connsiteX335" fmla="*/ 158650 w 287641"/>
                <a:gd name="connsiteY335" fmla="*/ 351190 h 471291"/>
                <a:gd name="connsiteX336" fmla="*/ 157841 w 287641"/>
                <a:gd name="connsiteY336" fmla="*/ 351935 h 471291"/>
                <a:gd name="connsiteX337" fmla="*/ 153701 w 287641"/>
                <a:gd name="connsiteY337" fmla="*/ 353469 h 471291"/>
                <a:gd name="connsiteX338" fmla="*/ 150970 w 287641"/>
                <a:gd name="connsiteY338" fmla="*/ 355412 h 471291"/>
                <a:gd name="connsiteX339" fmla="*/ 147750 w 287641"/>
                <a:gd name="connsiteY339" fmla="*/ 356975 h 471291"/>
                <a:gd name="connsiteX340" fmla="*/ 146344 w 287641"/>
                <a:gd name="connsiteY340" fmla="*/ 356635 h 471291"/>
                <a:gd name="connsiteX341" fmla="*/ 144226 w 287641"/>
                <a:gd name="connsiteY341" fmla="*/ 358223 h 471291"/>
                <a:gd name="connsiteX342" fmla="*/ 139518 w 287641"/>
                <a:gd name="connsiteY342" fmla="*/ 360101 h 471291"/>
                <a:gd name="connsiteX343" fmla="*/ 137106 w 287641"/>
                <a:gd name="connsiteY343" fmla="*/ 362629 h 471291"/>
                <a:gd name="connsiteX344" fmla="*/ 131693 w 287641"/>
                <a:gd name="connsiteY344" fmla="*/ 364888 h 471291"/>
                <a:gd name="connsiteX345" fmla="*/ 128935 w 287641"/>
                <a:gd name="connsiteY345" fmla="*/ 366724 h 471291"/>
                <a:gd name="connsiteX346" fmla="*/ 121444 w 287641"/>
                <a:gd name="connsiteY346" fmla="*/ 366820 h 471291"/>
                <a:gd name="connsiteX347" fmla="*/ 114290 w 287641"/>
                <a:gd name="connsiteY347" fmla="*/ 366417 h 471291"/>
                <a:gd name="connsiteX348" fmla="*/ 112044 w 287641"/>
                <a:gd name="connsiteY348" fmla="*/ 367290 h 471291"/>
                <a:gd name="connsiteX349" fmla="*/ 114340 w 287641"/>
                <a:gd name="connsiteY349" fmla="*/ 367560 h 471291"/>
                <a:gd name="connsiteX350" fmla="*/ 115948 w 287641"/>
                <a:gd name="connsiteY350" fmla="*/ 368416 h 471291"/>
                <a:gd name="connsiteX351" fmla="*/ 117877 w 287641"/>
                <a:gd name="connsiteY351" fmla="*/ 368059 h 471291"/>
                <a:gd name="connsiteX352" fmla="*/ 122410 w 287641"/>
                <a:gd name="connsiteY352" fmla="*/ 368487 h 471291"/>
                <a:gd name="connsiteX353" fmla="*/ 124742 w 287641"/>
                <a:gd name="connsiteY353" fmla="*/ 368953 h 471291"/>
                <a:gd name="connsiteX354" fmla="*/ 127735 w 287641"/>
                <a:gd name="connsiteY354" fmla="*/ 371949 h 471291"/>
                <a:gd name="connsiteX355" fmla="*/ 125534 w 287641"/>
                <a:gd name="connsiteY355" fmla="*/ 373013 h 471291"/>
                <a:gd name="connsiteX356" fmla="*/ 121723 w 287641"/>
                <a:gd name="connsiteY356" fmla="*/ 373829 h 471291"/>
                <a:gd name="connsiteX357" fmla="*/ 123152 w 287641"/>
                <a:gd name="connsiteY357" fmla="*/ 378067 h 471291"/>
                <a:gd name="connsiteX358" fmla="*/ 124331 w 287641"/>
                <a:gd name="connsiteY358" fmla="*/ 380919 h 471291"/>
                <a:gd name="connsiteX359" fmla="*/ 122788 w 287641"/>
                <a:gd name="connsiteY359" fmla="*/ 382639 h 471291"/>
                <a:gd name="connsiteX360" fmla="*/ 122673 w 287641"/>
                <a:gd name="connsiteY360" fmla="*/ 390443 h 471291"/>
                <a:gd name="connsiteX361" fmla="*/ 120507 w 287641"/>
                <a:gd name="connsiteY361" fmla="*/ 390592 h 471291"/>
                <a:gd name="connsiteX362" fmla="*/ 119587 w 287641"/>
                <a:gd name="connsiteY362" fmla="*/ 393812 h 471291"/>
                <a:gd name="connsiteX363" fmla="*/ 120269 w 287641"/>
                <a:gd name="connsiteY363" fmla="*/ 395452 h 471291"/>
                <a:gd name="connsiteX364" fmla="*/ 120216 w 287641"/>
                <a:gd name="connsiteY364" fmla="*/ 399257 h 471291"/>
                <a:gd name="connsiteX365" fmla="*/ 120667 w 287641"/>
                <a:gd name="connsiteY365" fmla="*/ 401599 h 471291"/>
                <a:gd name="connsiteX366" fmla="*/ 121729 w 287641"/>
                <a:gd name="connsiteY366" fmla="*/ 403752 h 471291"/>
                <a:gd name="connsiteX367" fmla="*/ 121256 w 287641"/>
                <a:gd name="connsiteY367" fmla="*/ 405996 h 471291"/>
                <a:gd name="connsiteX368" fmla="*/ 117832 w 287641"/>
                <a:gd name="connsiteY368" fmla="*/ 411238 h 471291"/>
                <a:gd name="connsiteX369" fmla="*/ 117910 w 287641"/>
                <a:gd name="connsiteY369" fmla="*/ 413693 h 471291"/>
                <a:gd name="connsiteX370" fmla="*/ 118525 w 287641"/>
                <a:gd name="connsiteY370" fmla="*/ 415150 h 471291"/>
                <a:gd name="connsiteX371" fmla="*/ 118980 w 287641"/>
                <a:gd name="connsiteY371" fmla="*/ 417477 h 471291"/>
                <a:gd name="connsiteX372" fmla="*/ 117424 w 287641"/>
                <a:gd name="connsiteY372" fmla="*/ 421945 h 471291"/>
                <a:gd name="connsiteX373" fmla="*/ 116324 w 287641"/>
                <a:gd name="connsiteY373" fmla="*/ 425671 h 471291"/>
                <a:gd name="connsiteX374" fmla="*/ 115018 w 287641"/>
                <a:gd name="connsiteY374" fmla="*/ 428802 h 471291"/>
                <a:gd name="connsiteX375" fmla="*/ 112094 w 287641"/>
                <a:gd name="connsiteY375" fmla="*/ 432553 h 471291"/>
                <a:gd name="connsiteX376" fmla="*/ 110639 w 287641"/>
                <a:gd name="connsiteY376" fmla="*/ 435353 h 471291"/>
                <a:gd name="connsiteX377" fmla="*/ 107233 w 287641"/>
                <a:gd name="connsiteY377" fmla="*/ 444067 h 471291"/>
                <a:gd name="connsiteX378" fmla="*/ 105545 w 287641"/>
                <a:gd name="connsiteY378" fmla="*/ 445792 h 471291"/>
                <a:gd name="connsiteX379" fmla="*/ 103474 w 287641"/>
                <a:gd name="connsiteY379" fmla="*/ 447117 h 471291"/>
                <a:gd name="connsiteX380" fmla="*/ 101166 w 287641"/>
                <a:gd name="connsiteY380" fmla="*/ 445891 h 471291"/>
                <a:gd name="connsiteX381" fmla="*/ 99049 w 287641"/>
                <a:gd name="connsiteY381" fmla="*/ 445223 h 471291"/>
                <a:gd name="connsiteX382" fmla="*/ 96464 w 287641"/>
                <a:gd name="connsiteY382" fmla="*/ 445304 h 471291"/>
                <a:gd name="connsiteX383" fmla="*/ 92416 w 287641"/>
                <a:gd name="connsiteY383" fmla="*/ 446309 h 471291"/>
                <a:gd name="connsiteX384" fmla="*/ 86326 w 287641"/>
                <a:gd name="connsiteY384" fmla="*/ 445641 h 471291"/>
                <a:gd name="connsiteX385" fmla="*/ 80375 w 287641"/>
                <a:gd name="connsiteY385" fmla="*/ 445963 h 471291"/>
                <a:gd name="connsiteX386" fmla="*/ 78870 w 287641"/>
                <a:gd name="connsiteY386" fmla="*/ 446831 h 471291"/>
                <a:gd name="connsiteX387" fmla="*/ 79772 w 287641"/>
                <a:gd name="connsiteY387" fmla="*/ 449981 h 471291"/>
                <a:gd name="connsiteX388" fmla="*/ 77579 w 287641"/>
                <a:gd name="connsiteY388" fmla="*/ 450394 h 471291"/>
                <a:gd name="connsiteX389" fmla="*/ 75434 w 287641"/>
                <a:gd name="connsiteY389" fmla="*/ 449498 h 471291"/>
                <a:gd name="connsiteX390" fmla="*/ 73547 w 287641"/>
                <a:gd name="connsiteY390" fmla="*/ 450567 h 471291"/>
                <a:gd name="connsiteX391" fmla="*/ 71970 w 287641"/>
                <a:gd name="connsiteY391" fmla="*/ 451739 h 471291"/>
                <a:gd name="connsiteX392" fmla="*/ 68874 w 287641"/>
                <a:gd name="connsiteY392" fmla="*/ 454516 h 471291"/>
                <a:gd name="connsiteX393" fmla="*/ 67837 w 287641"/>
                <a:gd name="connsiteY393" fmla="*/ 456225 h 471291"/>
                <a:gd name="connsiteX394" fmla="*/ 67570 w 287641"/>
                <a:gd name="connsiteY394" fmla="*/ 459439 h 471291"/>
                <a:gd name="connsiteX395" fmla="*/ 69196 w 287641"/>
                <a:gd name="connsiteY395" fmla="*/ 462318 h 471291"/>
                <a:gd name="connsiteX396" fmla="*/ 70638 w 287641"/>
                <a:gd name="connsiteY396" fmla="*/ 465684 h 471291"/>
                <a:gd name="connsiteX397" fmla="*/ 66924 w 287641"/>
                <a:gd name="connsiteY397" fmla="*/ 469739 h 471291"/>
                <a:gd name="connsiteX398" fmla="*/ 64851 w 287641"/>
                <a:gd name="connsiteY398" fmla="*/ 469876 h 471291"/>
                <a:gd name="connsiteX399" fmla="*/ 58800 w 287641"/>
                <a:gd name="connsiteY399" fmla="*/ 468752 h 471291"/>
                <a:gd name="connsiteX400" fmla="*/ 48077 w 287641"/>
                <a:gd name="connsiteY400" fmla="*/ 471291 h 471291"/>
                <a:gd name="connsiteX401" fmla="*/ 38446 w 287641"/>
                <a:gd name="connsiteY401" fmla="*/ 469283 h 471291"/>
                <a:gd name="connsiteX402" fmla="*/ 39657 w 287641"/>
                <a:gd name="connsiteY402" fmla="*/ 467112 h 471291"/>
                <a:gd name="connsiteX403" fmla="*/ 39617 w 287641"/>
                <a:gd name="connsiteY403" fmla="*/ 465514 h 471291"/>
                <a:gd name="connsiteX404" fmla="*/ 40161 w 287641"/>
                <a:gd name="connsiteY404" fmla="*/ 463055 h 471291"/>
                <a:gd name="connsiteX405" fmla="*/ 40484 w 287641"/>
                <a:gd name="connsiteY405" fmla="*/ 460536 h 471291"/>
                <a:gd name="connsiteX406" fmla="*/ 40394 w 287641"/>
                <a:gd name="connsiteY406" fmla="*/ 458849 h 471291"/>
                <a:gd name="connsiteX407" fmla="*/ 39688 w 287641"/>
                <a:gd name="connsiteY407" fmla="*/ 457050 h 471291"/>
                <a:gd name="connsiteX408" fmla="*/ 37313 w 287641"/>
                <a:gd name="connsiteY408" fmla="*/ 454694 h 471291"/>
                <a:gd name="connsiteX409" fmla="*/ 31961 w 287641"/>
                <a:gd name="connsiteY409" fmla="*/ 446722 h 471291"/>
                <a:gd name="connsiteX410" fmla="*/ 30378 w 287641"/>
                <a:gd name="connsiteY410" fmla="*/ 443349 h 471291"/>
                <a:gd name="connsiteX411" fmla="*/ 29277 w 287641"/>
                <a:gd name="connsiteY411" fmla="*/ 441942 h 471291"/>
                <a:gd name="connsiteX412" fmla="*/ 30070 w 287641"/>
                <a:gd name="connsiteY412" fmla="*/ 441866 h 471291"/>
                <a:gd name="connsiteX413" fmla="*/ 34477 w 287641"/>
                <a:gd name="connsiteY413" fmla="*/ 443679 h 471291"/>
                <a:gd name="connsiteX414" fmla="*/ 35505 w 287641"/>
                <a:gd name="connsiteY414" fmla="*/ 443456 h 471291"/>
                <a:gd name="connsiteX415" fmla="*/ 36585 w 287641"/>
                <a:gd name="connsiteY415" fmla="*/ 442775 h 471291"/>
                <a:gd name="connsiteX416" fmla="*/ 35270 w 287641"/>
                <a:gd name="connsiteY416" fmla="*/ 440179 h 471291"/>
                <a:gd name="connsiteX417" fmla="*/ 34140 w 287641"/>
                <a:gd name="connsiteY417" fmla="*/ 439003 h 471291"/>
                <a:gd name="connsiteX418" fmla="*/ 33374 w 287641"/>
                <a:gd name="connsiteY418" fmla="*/ 437243 h 471291"/>
                <a:gd name="connsiteX419" fmla="*/ 35954 w 287641"/>
                <a:gd name="connsiteY419" fmla="*/ 436767 h 471291"/>
                <a:gd name="connsiteX420" fmla="*/ 37818 w 287641"/>
                <a:gd name="connsiteY420" fmla="*/ 436872 h 471291"/>
                <a:gd name="connsiteX421" fmla="*/ 39191 w 287641"/>
                <a:gd name="connsiteY421" fmla="*/ 434890 h 471291"/>
                <a:gd name="connsiteX422" fmla="*/ 38399 w 287641"/>
                <a:gd name="connsiteY422" fmla="*/ 431681 h 471291"/>
                <a:gd name="connsiteX423" fmla="*/ 36397 w 287641"/>
                <a:gd name="connsiteY423" fmla="*/ 430693 h 471291"/>
                <a:gd name="connsiteX424" fmla="*/ 34725 w 287641"/>
                <a:gd name="connsiteY424" fmla="*/ 430263 h 471291"/>
                <a:gd name="connsiteX425" fmla="*/ 31521 w 287641"/>
                <a:gd name="connsiteY425" fmla="*/ 425210 h 471291"/>
                <a:gd name="connsiteX426" fmla="*/ 28178 w 287641"/>
                <a:gd name="connsiteY426" fmla="*/ 422589 h 471291"/>
                <a:gd name="connsiteX427" fmla="*/ 22216 w 287641"/>
                <a:gd name="connsiteY427" fmla="*/ 412449 h 471291"/>
                <a:gd name="connsiteX428" fmla="*/ 20035 w 287641"/>
                <a:gd name="connsiteY428" fmla="*/ 405461 h 471291"/>
                <a:gd name="connsiteX429" fmla="*/ 18008 w 287641"/>
                <a:gd name="connsiteY429" fmla="*/ 406126 h 471291"/>
                <a:gd name="connsiteX430" fmla="*/ 17023 w 287641"/>
                <a:gd name="connsiteY430" fmla="*/ 403076 h 471291"/>
                <a:gd name="connsiteX431" fmla="*/ 16317 w 287641"/>
                <a:gd name="connsiteY431" fmla="*/ 400184 h 471291"/>
                <a:gd name="connsiteX432" fmla="*/ 16176 w 287641"/>
                <a:gd name="connsiteY432" fmla="*/ 398055 h 471291"/>
                <a:gd name="connsiteX433" fmla="*/ 12998 w 287641"/>
                <a:gd name="connsiteY433" fmla="*/ 396834 h 471291"/>
                <a:gd name="connsiteX434" fmla="*/ 12868 w 287641"/>
                <a:gd name="connsiteY434" fmla="*/ 395340 h 471291"/>
                <a:gd name="connsiteX435" fmla="*/ 12296 w 287641"/>
                <a:gd name="connsiteY435" fmla="*/ 388660 h 471291"/>
                <a:gd name="connsiteX436" fmla="*/ 8886 w 287641"/>
                <a:gd name="connsiteY436" fmla="*/ 387761 h 471291"/>
                <a:gd name="connsiteX437" fmla="*/ 6681 w 287641"/>
                <a:gd name="connsiteY437" fmla="*/ 384002 h 471291"/>
                <a:gd name="connsiteX438" fmla="*/ 6288 w 287641"/>
                <a:gd name="connsiteY438" fmla="*/ 376872 h 471291"/>
                <a:gd name="connsiteX439" fmla="*/ 4043 w 287641"/>
                <a:gd name="connsiteY439" fmla="*/ 375571 h 471291"/>
                <a:gd name="connsiteX440" fmla="*/ 2235 w 287641"/>
                <a:gd name="connsiteY440" fmla="*/ 375932 h 471291"/>
                <a:gd name="connsiteX441" fmla="*/ 2320 w 287641"/>
                <a:gd name="connsiteY441" fmla="*/ 374160 h 471291"/>
                <a:gd name="connsiteX442" fmla="*/ 2751 w 287641"/>
                <a:gd name="connsiteY442" fmla="*/ 372496 h 471291"/>
                <a:gd name="connsiteX443" fmla="*/ 1696 w 287641"/>
                <a:gd name="connsiteY443" fmla="*/ 365889 h 471291"/>
                <a:gd name="connsiteX444" fmla="*/ 1343 w 287641"/>
                <a:gd name="connsiteY444" fmla="*/ 359841 h 471291"/>
                <a:gd name="connsiteX445" fmla="*/ 486 w 287641"/>
                <a:gd name="connsiteY445" fmla="*/ 358012 h 471291"/>
                <a:gd name="connsiteX446" fmla="*/ 0 w 287641"/>
                <a:gd name="connsiteY446" fmla="*/ 355868 h 471291"/>
                <a:gd name="connsiteX447" fmla="*/ 436 w 287641"/>
                <a:gd name="connsiteY447" fmla="*/ 354014 h 471291"/>
                <a:gd name="connsiteX448" fmla="*/ 1076 w 287641"/>
                <a:gd name="connsiteY448" fmla="*/ 352949 h 471291"/>
                <a:gd name="connsiteX449" fmla="*/ 3276 w 287641"/>
                <a:gd name="connsiteY449" fmla="*/ 352669 h 471291"/>
                <a:gd name="connsiteX450" fmla="*/ 5332 w 287641"/>
                <a:gd name="connsiteY450" fmla="*/ 354309 h 471291"/>
                <a:gd name="connsiteX451" fmla="*/ 7154 w 287641"/>
                <a:gd name="connsiteY451" fmla="*/ 358440 h 471291"/>
                <a:gd name="connsiteX452" fmla="*/ 8765 w 287641"/>
                <a:gd name="connsiteY452" fmla="*/ 358977 h 471291"/>
                <a:gd name="connsiteX453" fmla="*/ 10959 w 287641"/>
                <a:gd name="connsiteY453" fmla="*/ 357902 h 471291"/>
                <a:gd name="connsiteX454" fmla="*/ 12495 w 287641"/>
                <a:gd name="connsiteY454" fmla="*/ 354890 h 471291"/>
                <a:gd name="connsiteX455" fmla="*/ 13371 w 287641"/>
                <a:gd name="connsiteY455" fmla="*/ 350363 h 471291"/>
                <a:gd name="connsiteX456" fmla="*/ 14395 w 287641"/>
                <a:gd name="connsiteY456" fmla="*/ 346042 h 471291"/>
                <a:gd name="connsiteX457" fmla="*/ 13183 w 287641"/>
                <a:gd name="connsiteY457" fmla="*/ 341411 h 471291"/>
                <a:gd name="connsiteX458" fmla="*/ 11890 w 287641"/>
                <a:gd name="connsiteY458" fmla="*/ 337334 h 471291"/>
                <a:gd name="connsiteX459" fmla="*/ 11799 w 287641"/>
                <a:gd name="connsiteY459" fmla="*/ 336135 h 471291"/>
                <a:gd name="connsiteX460" fmla="*/ 15194 w 287641"/>
                <a:gd name="connsiteY460" fmla="*/ 332688 h 471291"/>
                <a:gd name="connsiteX461" fmla="*/ 16232 w 287641"/>
                <a:gd name="connsiteY461" fmla="*/ 329881 h 471291"/>
                <a:gd name="connsiteX462" fmla="*/ 17358 w 287641"/>
                <a:gd name="connsiteY462" fmla="*/ 327204 h 471291"/>
                <a:gd name="connsiteX463" fmla="*/ 18599 w 287641"/>
                <a:gd name="connsiteY463" fmla="*/ 326293 h 471291"/>
                <a:gd name="connsiteX464" fmla="*/ 20448 w 287641"/>
                <a:gd name="connsiteY464" fmla="*/ 326085 h 471291"/>
                <a:gd name="connsiteX465" fmla="*/ 22601 w 287641"/>
                <a:gd name="connsiteY465" fmla="*/ 325581 h 471291"/>
                <a:gd name="connsiteX466" fmla="*/ 25315 w 287641"/>
                <a:gd name="connsiteY466" fmla="*/ 323786 h 471291"/>
                <a:gd name="connsiteX467" fmla="*/ 27748 w 287641"/>
                <a:gd name="connsiteY467" fmla="*/ 321381 h 471291"/>
                <a:gd name="connsiteX468" fmla="*/ 29608 w 287641"/>
                <a:gd name="connsiteY468" fmla="*/ 319172 h 471291"/>
                <a:gd name="connsiteX469" fmla="*/ 30238 w 287641"/>
                <a:gd name="connsiteY469" fmla="*/ 314796 h 471291"/>
                <a:gd name="connsiteX470" fmla="*/ 30264 w 287641"/>
                <a:gd name="connsiteY470" fmla="*/ 312594 h 471291"/>
                <a:gd name="connsiteX471" fmla="*/ 31083 w 287641"/>
                <a:gd name="connsiteY471" fmla="*/ 310957 h 471291"/>
                <a:gd name="connsiteX472" fmla="*/ 31875 w 287641"/>
                <a:gd name="connsiteY472" fmla="*/ 307757 h 471291"/>
                <a:gd name="connsiteX473" fmla="*/ 31104 w 287641"/>
                <a:gd name="connsiteY473" fmla="*/ 304595 h 471291"/>
                <a:gd name="connsiteX474" fmla="*/ 28705 w 287641"/>
                <a:gd name="connsiteY474" fmla="*/ 299791 h 471291"/>
                <a:gd name="connsiteX475" fmla="*/ 25816 w 287641"/>
                <a:gd name="connsiteY475" fmla="*/ 293016 h 471291"/>
                <a:gd name="connsiteX476" fmla="*/ 25362 w 287641"/>
                <a:gd name="connsiteY476" fmla="*/ 289308 h 471291"/>
                <a:gd name="connsiteX477" fmla="*/ 26679 w 287641"/>
                <a:gd name="connsiteY477" fmla="*/ 288619 h 471291"/>
                <a:gd name="connsiteX478" fmla="*/ 29198 w 287641"/>
                <a:gd name="connsiteY478" fmla="*/ 288004 h 471291"/>
                <a:gd name="connsiteX479" fmla="*/ 33961 w 287641"/>
                <a:gd name="connsiteY479" fmla="*/ 287826 h 471291"/>
                <a:gd name="connsiteX480" fmla="*/ 34471 w 287641"/>
                <a:gd name="connsiteY480" fmla="*/ 287388 h 471291"/>
                <a:gd name="connsiteX481" fmla="*/ 34952 w 287641"/>
                <a:gd name="connsiteY481" fmla="*/ 285761 h 471291"/>
                <a:gd name="connsiteX482" fmla="*/ 36025 w 287641"/>
                <a:gd name="connsiteY482" fmla="*/ 283550 h 471291"/>
                <a:gd name="connsiteX483" fmla="*/ 37172 w 287641"/>
                <a:gd name="connsiteY483" fmla="*/ 281938 h 471291"/>
                <a:gd name="connsiteX484" fmla="*/ 37956 w 287641"/>
                <a:gd name="connsiteY484" fmla="*/ 279631 h 471291"/>
                <a:gd name="connsiteX485" fmla="*/ 38334 w 287641"/>
                <a:gd name="connsiteY485" fmla="*/ 277538 h 471291"/>
                <a:gd name="connsiteX486" fmla="*/ 35609 w 287641"/>
                <a:gd name="connsiteY486" fmla="*/ 274382 h 471291"/>
                <a:gd name="connsiteX487" fmla="*/ 32039 w 287641"/>
                <a:gd name="connsiteY487" fmla="*/ 271147 h 471291"/>
                <a:gd name="connsiteX488" fmla="*/ 29623 w 287641"/>
                <a:gd name="connsiteY488" fmla="*/ 270074 h 471291"/>
                <a:gd name="connsiteX489" fmla="*/ 25317 w 287641"/>
                <a:gd name="connsiteY489" fmla="*/ 267346 h 471291"/>
                <a:gd name="connsiteX490" fmla="*/ 22294 w 287641"/>
                <a:gd name="connsiteY490" fmla="*/ 265062 h 471291"/>
                <a:gd name="connsiteX491" fmla="*/ 24026 w 287641"/>
                <a:gd name="connsiteY491" fmla="*/ 256346 h 471291"/>
                <a:gd name="connsiteX492" fmla="*/ 25315 w 287641"/>
                <a:gd name="connsiteY492" fmla="*/ 249836 h 471291"/>
                <a:gd name="connsiteX493" fmla="*/ 25522 w 287641"/>
                <a:gd name="connsiteY493" fmla="*/ 248251 h 471291"/>
                <a:gd name="connsiteX494" fmla="*/ 25570 w 287641"/>
                <a:gd name="connsiteY494" fmla="*/ 245790 h 471291"/>
                <a:gd name="connsiteX495" fmla="*/ 21391 w 287641"/>
                <a:gd name="connsiteY495" fmla="*/ 235264 h 471291"/>
                <a:gd name="connsiteX496" fmla="*/ 21553 w 287641"/>
                <a:gd name="connsiteY496" fmla="*/ 232916 h 471291"/>
                <a:gd name="connsiteX497" fmla="*/ 21951 w 287641"/>
                <a:gd name="connsiteY497" fmla="*/ 230799 h 471291"/>
                <a:gd name="connsiteX498" fmla="*/ 21503 w 287641"/>
                <a:gd name="connsiteY498" fmla="*/ 227185 h 471291"/>
                <a:gd name="connsiteX499" fmla="*/ 21260 w 287641"/>
                <a:gd name="connsiteY499" fmla="*/ 223946 h 471291"/>
                <a:gd name="connsiteX500" fmla="*/ 21977 w 287641"/>
                <a:gd name="connsiteY500" fmla="*/ 222963 h 471291"/>
                <a:gd name="connsiteX501" fmla="*/ 23682 w 287641"/>
                <a:gd name="connsiteY501" fmla="*/ 221133 h 471291"/>
                <a:gd name="connsiteX502" fmla="*/ 22056 w 287641"/>
                <a:gd name="connsiteY502" fmla="*/ 218291 h 471291"/>
                <a:gd name="connsiteX503" fmla="*/ 21925 w 287641"/>
                <a:gd name="connsiteY503" fmla="*/ 218060 h 471291"/>
                <a:gd name="connsiteX504" fmla="*/ 18856 w 287641"/>
                <a:gd name="connsiteY504" fmla="*/ 211011 h 471291"/>
                <a:gd name="connsiteX505" fmla="*/ 23549 w 287641"/>
                <a:gd name="connsiteY505" fmla="*/ 204008 h 471291"/>
                <a:gd name="connsiteX506" fmla="*/ 22732 w 287641"/>
                <a:gd name="connsiteY506" fmla="*/ 200377 h 471291"/>
                <a:gd name="connsiteX507" fmla="*/ 25535 w 287641"/>
                <a:gd name="connsiteY507" fmla="*/ 197738 h 471291"/>
                <a:gd name="connsiteX508" fmla="*/ 30638 w 287641"/>
                <a:gd name="connsiteY508" fmla="*/ 191681 h 471291"/>
                <a:gd name="connsiteX509" fmla="*/ 33508 w 287641"/>
                <a:gd name="connsiteY509" fmla="*/ 188267 h 471291"/>
                <a:gd name="connsiteX510" fmla="*/ 34117 w 287641"/>
                <a:gd name="connsiteY510" fmla="*/ 187670 h 471291"/>
                <a:gd name="connsiteX511" fmla="*/ 36388 w 287641"/>
                <a:gd name="connsiteY511" fmla="*/ 186168 h 471291"/>
                <a:gd name="connsiteX512" fmla="*/ 40696 w 287641"/>
                <a:gd name="connsiteY512" fmla="*/ 184385 h 471291"/>
                <a:gd name="connsiteX513" fmla="*/ 45471 w 287641"/>
                <a:gd name="connsiteY513" fmla="*/ 183516 h 471291"/>
                <a:gd name="connsiteX514" fmla="*/ 47596 w 287641"/>
                <a:gd name="connsiteY514" fmla="*/ 183527 h 471291"/>
                <a:gd name="connsiteX515" fmla="*/ 55801 w 287641"/>
                <a:gd name="connsiteY515" fmla="*/ 184734 h 471291"/>
                <a:gd name="connsiteX516" fmla="*/ 62210 w 287641"/>
                <a:gd name="connsiteY516" fmla="*/ 185673 h 471291"/>
                <a:gd name="connsiteX517" fmla="*/ 63143 w 287641"/>
                <a:gd name="connsiteY517" fmla="*/ 184730 h 471291"/>
                <a:gd name="connsiteX518" fmla="*/ 64482 w 287641"/>
                <a:gd name="connsiteY518" fmla="*/ 182795 h 471291"/>
                <a:gd name="connsiteX519" fmla="*/ 66205 w 287641"/>
                <a:gd name="connsiteY519" fmla="*/ 180035 h 471291"/>
                <a:gd name="connsiteX520" fmla="*/ 66356 w 287641"/>
                <a:gd name="connsiteY520" fmla="*/ 176962 h 471291"/>
                <a:gd name="connsiteX521" fmla="*/ 65734 w 287641"/>
                <a:gd name="connsiteY521" fmla="*/ 172439 h 471291"/>
                <a:gd name="connsiteX522" fmla="*/ 64799 w 287641"/>
                <a:gd name="connsiteY522" fmla="*/ 169727 h 471291"/>
                <a:gd name="connsiteX523" fmla="*/ 60286 w 287641"/>
                <a:gd name="connsiteY523" fmla="*/ 167963 h 471291"/>
                <a:gd name="connsiteX524" fmla="*/ 55350 w 287641"/>
                <a:gd name="connsiteY524" fmla="*/ 165542 h 471291"/>
                <a:gd name="connsiteX525" fmla="*/ 61420 w 287641"/>
                <a:gd name="connsiteY525" fmla="*/ 157854 h 471291"/>
                <a:gd name="connsiteX526" fmla="*/ 65629 w 287641"/>
                <a:gd name="connsiteY526" fmla="*/ 152501 h 471291"/>
                <a:gd name="connsiteX527" fmla="*/ 70876 w 287641"/>
                <a:gd name="connsiteY527" fmla="*/ 144422 h 471291"/>
                <a:gd name="connsiteX528" fmla="*/ 72508 w 287641"/>
                <a:gd name="connsiteY528" fmla="*/ 141051 h 471291"/>
                <a:gd name="connsiteX529" fmla="*/ 73689 w 287641"/>
                <a:gd name="connsiteY529" fmla="*/ 139711 h 471291"/>
                <a:gd name="connsiteX530" fmla="*/ 75233 w 287641"/>
                <a:gd name="connsiteY530" fmla="*/ 127217 h 471291"/>
                <a:gd name="connsiteX531" fmla="*/ 76257 w 287641"/>
                <a:gd name="connsiteY531" fmla="*/ 123708 h 471291"/>
                <a:gd name="connsiteX532" fmla="*/ 77114 w 287641"/>
                <a:gd name="connsiteY532" fmla="*/ 121873 h 471291"/>
                <a:gd name="connsiteX533" fmla="*/ 77127 w 287641"/>
                <a:gd name="connsiteY533" fmla="*/ 119986 h 471291"/>
                <a:gd name="connsiteX534" fmla="*/ 76570 w 287641"/>
                <a:gd name="connsiteY534" fmla="*/ 116802 h 471291"/>
                <a:gd name="connsiteX535" fmla="*/ 75095 w 287641"/>
                <a:gd name="connsiteY535" fmla="*/ 109590 h 471291"/>
                <a:gd name="connsiteX536" fmla="*/ 83381 w 287641"/>
                <a:gd name="connsiteY536" fmla="*/ 108696 h 471291"/>
                <a:gd name="connsiteX537" fmla="*/ 86080 w 287641"/>
                <a:gd name="connsiteY537" fmla="*/ 108190 h 471291"/>
                <a:gd name="connsiteX538" fmla="*/ 88585 w 287641"/>
                <a:gd name="connsiteY538" fmla="*/ 107326 h 471291"/>
                <a:gd name="connsiteX539" fmla="*/ 93485 w 287641"/>
                <a:gd name="connsiteY539" fmla="*/ 105086 h 471291"/>
                <a:gd name="connsiteX540" fmla="*/ 95892 w 287641"/>
                <a:gd name="connsiteY540" fmla="*/ 103105 h 471291"/>
                <a:gd name="connsiteX541" fmla="*/ 94547 w 287641"/>
                <a:gd name="connsiteY541" fmla="*/ 96329 h 471291"/>
                <a:gd name="connsiteX542" fmla="*/ 97512 w 287641"/>
                <a:gd name="connsiteY542" fmla="*/ 94031 h 471291"/>
                <a:gd name="connsiteX543" fmla="*/ 104746 w 287641"/>
                <a:gd name="connsiteY543" fmla="*/ 86006 h 471291"/>
                <a:gd name="connsiteX544" fmla="*/ 112563 w 287641"/>
                <a:gd name="connsiteY544" fmla="*/ 78290 h 471291"/>
                <a:gd name="connsiteX545" fmla="*/ 116229 w 287641"/>
                <a:gd name="connsiteY545" fmla="*/ 75362 h 471291"/>
                <a:gd name="connsiteX546" fmla="*/ 116609 w 287641"/>
                <a:gd name="connsiteY546" fmla="*/ 73929 h 471291"/>
                <a:gd name="connsiteX547" fmla="*/ 116910 w 287641"/>
                <a:gd name="connsiteY547" fmla="*/ 71624 h 471291"/>
                <a:gd name="connsiteX548" fmla="*/ 115281 w 287641"/>
                <a:gd name="connsiteY548" fmla="*/ 67999 h 471291"/>
                <a:gd name="connsiteX549" fmla="*/ 113532 w 287641"/>
                <a:gd name="connsiteY549" fmla="*/ 65749 h 471291"/>
                <a:gd name="connsiteX550" fmla="*/ 110125 w 287641"/>
                <a:gd name="connsiteY550" fmla="*/ 61479 h 471291"/>
                <a:gd name="connsiteX551" fmla="*/ 111587 w 287641"/>
                <a:gd name="connsiteY551" fmla="*/ 58496 h 471291"/>
                <a:gd name="connsiteX552" fmla="*/ 114098 w 287641"/>
                <a:gd name="connsiteY552" fmla="*/ 57916 h 471291"/>
                <a:gd name="connsiteX553" fmla="*/ 117415 w 287641"/>
                <a:gd name="connsiteY553" fmla="*/ 56743 h 471291"/>
                <a:gd name="connsiteX554" fmla="*/ 120002 w 287641"/>
                <a:gd name="connsiteY554" fmla="*/ 54187 h 471291"/>
                <a:gd name="connsiteX555" fmla="*/ 120254 w 287641"/>
                <a:gd name="connsiteY555" fmla="*/ 53858 h 471291"/>
                <a:gd name="connsiteX556" fmla="*/ 124634 w 287641"/>
                <a:gd name="connsiteY556" fmla="*/ 43774 h 471291"/>
                <a:gd name="connsiteX557" fmla="*/ 133189 w 287641"/>
                <a:gd name="connsiteY557" fmla="*/ 38646 h 471291"/>
                <a:gd name="connsiteX558" fmla="*/ 136597 w 287641"/>
                <a:gd name="connsiteY558" fmla="*/ 35843 h 471291"/>
                <a:gd name="connsiteX559" fmla="*/ 141907 w 287641"/>
                <a:gd name="connsiteY559" fmla="*/ 37949 h 471291"/>
                <a:gd name="connsiteX560" fmla="*/ 149689 w 287641"/>
                <a:gd name="connsiteY560" fmla="*/ 41124 h 471291"/>
                <a:gd name="connsiteX561" fmla="*/ 153150 w 287641"/>
                <a:gd name="connsiteY561" fmla="*/ 36451 h 471291"/>
                <a:gd name="connsiteX562" fmla="*/ 154295 w 287641"/>
                <a:gd name="connsiteY562" fmla="*/ 34715 h 471291"/>
                <a:gd name="connsiteX563" fmla="*/ 155437 w 287641"/>
                <a:gd name="connsiteY563" fmla="*/ 32154 h 471291"/>
                <a:gd name="connsiteX564" fmla="*/ 154979 w 287641"/>
                <a:gd name="connsiteY564" fmla="*/ 27717 h 471291"/>
                <a:gd name="connsiteX565" fmla="*/ 154783 w 287641"/>
                <a:gd name="connsiteY565" fmla="*/ 21940 h 471291"/>
                <a:gd name="connsiteX566" fmla="*/ 155126 w 287641"/>
                <a:gd name="connsiteY566" fmla="*/ 19614 h 471291"/>
                <a:gd name="connsiteX567" fmla="*/ 158232 w 287641"/>
                <a:gd name="connsiteY567" fmla="*/ 18577 h 471291"/>
                <a:gd name="connsiteX568" fmla="*/ 159903 w 287641"/>
                <a:gd name="connsiteY568" fmla="*/ 18309 h 471291"/>
                <a:gd name="connsiteX569" fmla="*/ 168553 w 287641"/>
                <a:gd name="connsiteY569" fmla="*/ 20702 h 471291"/>
                <a:gd name="connsiteX570" fmla="*/ 170730 w 287641"/>
                <a:gd name="connsiteY570" fmla="*/ 20661 h 471291"/>
                <a:gd name="connsiteX571" fmla="*/ 174807 w 287641"/>
                <a:gd name="connsiteY571" fmla="*/ 20983 h 471291"/>
                <a:gd name="connsiteX572" fmla="*/ 179370 w 287641"/>
                <a:gd name="connsiteY572" fmla="*/ 22034 h 471291"/>
                <a:gd name="connsiteX573" fmla="*/ 188927 w 287641"/>
                <a:gd name="connsiteY573" fmla="*/ 24826 h 471291"/>
                <a:gd name="connsiteX574" fmla="*/ 192881 w 287641"/>
                <a:gd name="connsiteY574" fmla="*/ 25981 h 471291"/>
                <a:gd name="connsiteX575" fmla="*/ 195088 w 287641"/>
                <a:gd name="connsiteY575" fmla="*/ 26205 h 471291"/>
                <a:gd name="connsiteX576" fmla="*/ 196993 w 287641"/>
                <a:gd name="connsiteY576" fmla="*/ 24905 h 471291"/>
                <a:gd name="connsiteX577" fmla="*/ 201063 w 287641"/>
                <a:gd name="connsiteY577" fmla="*/ 21566 h 471291"/>
                <a:gd name="connsiteX578" fmla="*/ 195066 w 287641"/>
                <a:gd name="connsiteY578" fmla="*/ 19091 h 471291"/>
                <a:gd name="connsiteX579" fmla="*/ 199016 w 287641"/>
                <a:gd name="connsiteY579" fmla="*/ 16583 h 471291"/>
                <a:gd name="connsiteX580" fmla="*/ 201063 w 287641"/>
                <a:gd name="connsiteY580" fmla="*/ 14051 h 471291"/>
                <a:gd name="connsiteX581" fmla="*/ 202819 w 287641"/>
                <a:gd name="connsiteY581" fmla="*/ 10934 h 471291"/>
                <a:gd name="connsiteX582" fmla="*/ 203451 w 287641"/>
                <a:gd name="connsiteY582" fmla="*/ 7280 h 471291"/>
                <a:gd name="connsiteX583" fmla="*/ 203209 w 287641"/>
                <a:gd name="connsiteY583" fmla="*/ 5312 h 471291"/>
                <a:gd name="connsiteX584" fmla="*/ 201998 w 287641"/>
                <a:gd name="connsiteY584" fmla="*/ 3971 h 471291"/>
                <a:gd name="connsiteX585" fmla="*/ 198336 w 287641"/>
                <a:gd name="connsiteY585" fmla="*/ 619 h 471291"/>
                <a:gd name="connsiteX586" fmla="*/ 206634 w 287641"/>
                <a:gd name="connsiteY586" fmla="*/ 138 h 47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Lst>
              <a:rect l="l" t="t" r="r" b="b"/>
              <a:pathLst>
                <a:path w="287641" h="471291">
                  <a:moveTo>
                    <a:pt x="129980" y="408700"/>
                  </a:moveTo>
                  <a:lnTo>
                    <a:pt x="131392" y="409106"/>
                  </a:lnTo>
                  <a:lnTo>
                    <a:pt x="132021" y="409502"/>
                  </a:lnTo>
                  <a:lnTo>
                    <a:pt x="130533" y="410751"/>
                  </a:lnTo>
                  <a:lnTo>
                    <a:pt x="130706" y="412376"/>
                  </a:lnTo>
                  <a:lnTo>
                    <a:pt x="130602" y="413049"/>
                  </a:lnTo>
                  <a:lnTo>
                    <a:pt x="126847" y="420100"/>
                  </a:lnTo>
                  <a:lnTo>
                    <a:pt x="125843" y="424667"/>
                  </a:lnTo>
                  <a:lnTo>
                    <a:pt x="124511" y="425780"/>
                  </a:lnTo>
                  <a:lnTo>
                    <a:pt x="118993" y="441942"/>
                  </a:lnTo>
                  <a:lnTo>
                    <a:pt x="117858" y="443517"/>
                  </a:lnTo>
                  <a:lnTo>
                    <a:pt x="116851" y="443406"/>
                  </a:lnTo>
                  <a:lnTo>
                    <a:pt x="116180" y="441305"/>
                  </a:lnTo>
                  <a:lnTo>
                    <a:pt x="116022" y="435892"/>
                  </a:lnTo>
                  <a:lnTo>
                    <a:pt x="116424" y="433213"/>
                  </a:lnTo>
                  <a:lnTo>
                    <a:pt x="121246" y="423521"/>
                  </a:lnTo>
                  <a:lnTo>
                    <a:pt x="123398" y="422728"/>
                  </a:lnTo>
                  <a:lnTo>
                    <a:pt x="126426" y="416765"/>
                  </a:lnTo>
                  <a:lnTo>
                    <a:pt x="127242" y="414108"/>
                  </a:lnTo>
                  <a:lnTo>
                    <a:pt x="128555" y="411712"/>
                  </a:lnTo>
                  <a:lnTo>
                    <a:pt x="129330" y="409567"/>
                  </a:lnTo>
                  <a:close/>
                  <a:moveTo>
                    <a:pt x="171445" y="390509"/>
                  </a:moveTo>
                  <a:lnTo>
                    <a:pt x="172680" y="391004"/>
                  </a:lnTo>
                  <a:lnTo>
                    <a:pt x="175334" y="393055"/>
                  </a:lnTo>
                  <a:lnTo>
                    <a:pt x="173505" y="393817"/>
                  </a:lnTo>
                  <a:lnTo>
                    <a:pt x="172429" y="396070"/>
                  </a:lnTo>
                  <a:lnTo>
                    <a:pt x="170948" y="396450"/>
                  </a:lnTo>
                  <a:lnTo>
                    <a:pt x="169527" y="397201"/>
                  </a:lnTo>
                  <a:lnTo>
                    <a:pt x="169020" y="404312"/>
                  </a:lnTo>
                  <a:lnTo>
                    <a:pt x="171607" y="407008"/>
                  </a:lnTo>
                  <a:lnTo>
                    <a:pt x="170186" y="407385"/>
                  </a:lnTo>
                  <a:lnTo>
                    <a:pt x="168886" y="408192"/>
                  </a:lnTo>
                  <a:lnTo>
                    <a:pt x="167957" y="409384"/>
                  </a:lnTo>
                  <a:lnTo>
                    <a:pt x="167007" y="411948"/>
                  </a:lnTo>
                  <a:lnTo>
                    <a:pt x="163438" y="413400"/>
                  </a:lnTo>
                  <a:lnTo>
                    <a:pt x="162086" y="414474"/>
                  </a:lnTo>
                  <a:lnTo>
                    <a:pt x="160093" y="416861"/>
                  </a:lnTo>
                  <a:lnTo>
                    <a:pt x="159054" y="420321"/>
                  </a:lnTo>
                  <a:lnTo>
                    <a:pt x="157035" y="421795"/>
                  </a:lnTo>
                  <a:lnTo>
                    <a:pt x="154768" y="422144"/>
                  </a:lnTo>
                  <a:lnTo>
                    <a:pt x="156098" y="419312"/>
                  </a:lnTo>
                  <a:lnTo>
                    <a:pt x="157841" y="417002"/>
                  </a:lnTo>
                  <a:lnTo>
                    <a:pt x="156165" y="415416"/>
                  </a:lnTo>
                  <a:lnTo>
                    <a:pt x="155156" y="412931"/>
                  </a:lnTo>
                  <a:lnTo>
                    <a:pt x="153855" y="411024"/>
                  </a:lnTo>
                  <a:lnTo>
                    <a:pt x="154891" y="408891"/>
                  </a:lnTo>
                  <a:lnTo>
                    <a:pt x="154381" y="405391"/>
                  </a:lnTo>
                  <a:lnTo>
                    <a:pt x="154550" y="401970"/>
                  </a:lnTo>
                  <a:lnTo>
                    <a:pt x="156061" y="400241"/>
                  </a:lnTo>
                  <a:lnTo>
                    <a:pt x="157793" y="398831"/>
                  </a:lnTo>
                  <a:lnTo>
                    <a:pt x="160490" y="395583"/>
                  </a:lnTo>
                  <a:lnTo>
                    <a:pt x="163414" y="393226"/>
                  </a:lnTo>
                  <a:lnTo>
                    <a:pt x="167493" y="392166"/>
                  </a:lnTo>
                  <a:lnTo>
                    <a:pt x="169335" y="393143"/>
                  </a:lnTo>
                  <a:lnTo>
                    <a:pt x="170130" y="390998"/>
                  </a:lnTo>
                  <a:close/>
                  <a:moveTo>
                    <a:pt x="176625" y="388398"/>
                  </a:moveTo>
                  <a:lnTo>
                    <a:pt x="179860" y="388520"/>
                  </a:lnTo>
                  <a:lnTo>
                    <a:pt x="180972" y="388990"/>
                  </a:lnTo>
                  <a:lnTo>
                    <a:pt x="177100" y="390280"/>
                  </a:lnTo>
                  <a:lnTo>
                    <a:pt x="176703" y="392277"/>
                  </a:lnTo>
                  <a:lnTo>
                    <a:pt x="175556" y="392125"/>
                  </a:lnTo>
                  <a:lnTo>
                    <a:pt x="174511" y="390651"/>
                  </a:lnTo>
                  <a:close/>
                  <a:moveTo>
                    <a:pt x="161812" y="351984"/>
                  </a:moveTo>
                  <a:lnTo>
                    <a:pt x="162267" y="352091"/>
                  </a:lnTo>
                  <a:lnTo>
                    <a:pt x="160734" y="354550"/>
                  </a:lnTo>
                  <a:lnTo>
                    <a:pt x="159754" y="354860"/>
                  </a:lnTo>
                  <a:lnTo>
                    <a:pt x="159268" y="354762"/>
                  </a:lnTo>
                  <a:lnTo>
                    <a:pt x="159873" y="353249"/>
                  </a:lnTo>
                  <a:lnTo>
                    <a:pt x="160322" y="352596"/>
                  </a:lnTo>
                  <a:close/>
                  <a:moveTo>
                    <a:pt x="165261" y="337596"/>
                  </a:moveTo>
                  <a:lnTo>
                    <a:pt x="166975" y="338028"/>
                  </a:lnTo>
                  <a:lnTo>
                    <a:pt x="166964" y="338356"/>
                  </a:lnTo>
                  <a:lnTo>
                    <a:pt x="165325" y="339420"/>
                  </a:lnTo>
                  <a:lnTo>
                    <a:pt x="164697" y="340135"/>
                  </a:lnTo>
                  <a:lnTo>
                    <a:pt x="164142" y="341220"/>
                  </a:lnTo>
                  <a:lnTo>
                    <a:pt x="163585" y="339890"/>
                  </a:lnTo>
                  <a:lnTo>
                    <a:pt x="163807" y="339630"/>
                  </a:lnTo>
                  <a:lnTo>
                    <a:pt x="164187" y="338316"/>
                  </a:lnTo>
                  <a:close/>
                  <a:moveTo>
                    <a:pt x="209512" y="0"/>
                  </a:moveTo>
                  <a:lnTo>
                    <a:pt x="215548" y="2210"/>
                  </a:lnTo>
                  <a:lnTo>
                    <a:pt x="215812" y="2688"/>
                  </a:lnTo>
                  <a:lnTo>
                    <a:pt x="215855" y="3839"/>
                  </a:lnTo>
                  <a:lnTo>
                    <a:pt x="216066" y="5031"/>
                  </a:lnTo>
                  <a:lnTo>
                    <a:pt x="221923" y="8050"/>
                  </a:lnTo>
                  <a:lnTo>
                    <a:pt x="223611" y="9646"/>
                  </a:lnTo>
                  <a:lnTo>
                    <a:pt x="227207" y="12069"/>
                  </a:lnTo>
                  <a:lnTo>
                    <a:pt x="228159" y="13376"/>
                  </a:lnTo>
                  <a:lnTo>
                    <a:pt x="231489" y="14904"/>
                  </a:lnTo>
                  <a:lnTo>
                    <a:pt x="233877" y="16536"/>
                  </a:lnTo>
                  <a:lnTo>
                    <a:pt x="236667" y="17859"/>
                  </a:lnTo>
                  <a:lnTo>
                    <a:pt x="239923" y="19914"/>
                  </a:lnTo>
                  <a:lnTo>
                    <a:pt x="244294" y="21549"/>
                  </a:lnTo>
                  <a:lnTo>
                    <a:pt x="247986" y="22082"/>
                  </a:lnTo>
                  <a:lnTo>
                    <a:pt x="257280" y="24881"/>
                  </a:lnTo>
                  <a:lnTo>
                    <a:pt x="258865" y="25787"/>
                  </a:lnTo>
                  <a:lnTo>
                    <a:pt x="261547" y="27732"/>
                  </a:lnTo>
                  <a:lnTo>
                    <a:pt x="264255" y="29982"/>
                  </a:lnTo>
                  <a:lnTo>
                    <a:pt x="266127" y="34594"/>
                  </a:lnTo>
                  <a:lnTo>
                    <a:pt x="269136" y="34834"/>
                  </a:lnTo>
                  <a:lnTo>
                    <a:pt x="269952" y="36419"/>
                  </a:lnTo>
                  <a:lnTo>
                    <a:pt x="272578" y="39132"/>
                  </a:lnTo>
                  <a:lnTo>
                    <a:pt x="276218" y="41522"/>
                  </a:lnTo>
                  <a:lnTo>
                    <a:pt x="276087" y="42326"/>
                  </a:lnTo>
                  <a:lnTo>
                    <a:pt x="273189" y="44525"/>
                  </a:lnTo>
                  <a:lnTo>
                    <a:pt x="272878" y="47502"/>
                  </a:lnTo>
                  <a:lnTo>
                    <a:pt x="273152" y="51297"/>
                  </a:lnTo>
                  <a:lnTo>
                    <a:pt x="274061" y="54386"/>
                  </a:lnTo>
                  <a:lnTo>
                    <a:pt x="273966" y="55288"/>
                  </a:lnTo>
                  <a:lnTo>
                    <a:pt x="273247" y="56351"/>
                  </a:lnTo>
                  <a:lnTo>
                    <a:pt x="272383" y="58019"/>
                  </a:lnTo>
                  <a:lnTo>
                    <a:pt x="272075" y="59473"/>
                  </a:lnTo>
                  <a:lnTo>
                    <a:pt x="272150" y="60186"/>
                  </a:lnTo>
                  <a:lnTo>
                    <a:pt x="272442" y="60573"/>
                  </a:lnTo>
                  <a:lnTo>
                    <a:pt x="273968" y="60602"/>
                  </a:lnTo>
                  <a:lnTo>
                    <a:pt x="276704" y="60945"/>
                  </a:lnTo>
                  <a:lnTo>
                    <a:pt x="278313" y="61590"/>
                  </a:lnTo>
                  <a:lnTo>
                    <a:pt x="279226" y="65128"/>
                  </a:lnTo>
                  <a:lnTo>
                    <a:pt x="278918" y="65807"/>
                  </a:lnTo>
                  <a:lnTo>
                    <a:pt x="276611" y="67406"/>
                  </a:lnTo>
                  <a:lnTo>
                    <a:pt x="275935" y="68675"/>
                  </a:lnTo>
                  <a:lnTo>
                    <a:pt x="275869" y="70538"/>
                  </a:lnTo>
                  <a:lnTo>
                    <a:pt x="276277" y="72584"/>
                  </a:lnTo>
                  <a:lnTo>
                    <a:pt x="277069" y="74871"/>
                  </a:lnTo>
                  <a:lnTo>
                    <a:pt x="278874" y="77315"/>
                  </a:lnTo>
                  <a:lnTo>
                    <a:pt x="281314" y="79867"/>
                  </a:lnTo>
                  <a:lnTo>
                    <a:pt x="282917" y="81958"/>
                  </a:lnTo>
                  <a:lnTo>
                    <a:pt x="283675" y="83430"/>
                  </a:lnTo>
                  <a:lnTo>
                    <a:pt x="283951" y="84458"/>
                  </a:lnTo>
                  <a:lnTo>
                    <a:pt x="282852" y="85750"/>
                  </a:lnTo>
                  <a:lnTo>
                    <a:pt x="281863" y="88303"/>
                  </a:lnTo>
                  <a:lnTo>
                    <a:pt x="281679" y="91223"/>
                  </a:lnTo>
                  <a:lnTo>
                    <a:pt x="281230" y="93125"/>
                  </a:lnTo>
                  <a:lnTo>
                    <a:pt x="279081" y="95739"/>
                  </a:lnTo>
                  <a:lnTo>
                    <a:pt x="277596" y="96665"/>
                  </a:lnTo>
                  <a:lnTo>
                    <a:pt x="277173" y="98043"/>
                  </a:lnTo>
                  <a:lnTo>
                    <a:pt x="276991" y="100353"/>
                  </a:lnTo>
                  <a:lnTo>
                    <a:pt x="277427" y="103166"/>
                  </a:lnTo>
                  <a:lnTo>
                    <a:pt x="277577" y="105065"/>
                  </a:lnTo>
                  <a:lnTo>
                    <a:pt x="278034" y="106431"/>
                  </a:lnTo>
                  <a:lnTo>
                    <a:pt x="278708" y="107322"/>
                  </a:lnTo>
                  <a:lnTo>
                    <a:pt x="282155" y="108897"/>
                  </a:lnTo>
                  <a:lnTo>
                    <a:pt x="284085" y="112118"/>
                  </a:lnTo>
                  <a:lnTo>
                    <a:pt x="285288" y="114698"/>
                  </a:lnTo>
                  <a:lnTo>
                    <a:pt x="287641" y="121435"/>
                  </a:lnTo>
                  <a:lnTo>
                    <a:pt x="281783" y="122275"/>
                  </a:lnTo>
                  <a:lnTo>
                    <a:pt x="277380" y="120588"/>
                  </a:lnTo>
                  <a:lnTo>
                    <a:pt x="275184" y="121433"/>
                  </a:lnTo>
                  <a:lnTo>
                    <a:pt x="271342" y="121469"/>
                  </a:lnTo>
                  <a:lnTo>
                    <a:pt x="266980" y="122133"/>
                  </a:lnTo>
                  <a:lnTo>
                    <a:pt x="265510" y="123452"/>
                  </a:lnTo>
                  <a:lnTo>
                    <a:pt x="264354" y="123982"/>
                  </a:lnTo>
                  <a:lnTo>
                    <a:pt x="260308" y="122120"/>
                  </a:lnTo>
                  <a:lnTo>
                    <a:pt x="256488" y="119040"/>
                  </a:lnTo>
                  <a:lnTo>
                    <a:pt x="253696" y="121389"/>
                  </a:lnTo>
                  <a:lnTo>
                    <a:pt x="251889" y="121834"/>
                  </a:lnTo>
                  <a:lnTo>
                    <a:pt x="250265" y="119708"/>
                  </a:lnTo>
                  <a:lnTo>
                    <a:pt x="248846" y="119363"/>
                  </a:lnTo>
                  <a:lnTo>
                    <a:pt x="248079" y="120072"/>
                  </a:lnTo>
                  <a:lnTo>
                    <a:pt x="247408" y="121949"/>
                  </a:lnTo>
                  <a:lnTo>
                    <a:pt x="246339" y="123425"/>
                  </a:lnTo>
                  <a:lnTo>
                    <a:pt x="246060" y="124359"/>
                  </a:lnTo>
                  <a:lnTo>
                    <a:pt x="245875" y="128120"/>
                  </a:lnTo>
                  <a:lnTo>
                    <a:pt x="245596" y="128991"/>
                  </a:lnTo>
                  <a:lnTo>
                    <a:pt x="241886" y="128505"/>
                  </a:lnTo>
                  <a:lnTo>
                    <a:pt x="242109" y="129491"/>
                  </a:lnTo>
                  <a:lnTo>
                    <a:pt x="242916" y="129987"/>
                  </a:lnTo>
                  <a:lnTo>
                    <a:pt x="243242" y="130612"/>
                  </a:lnTo>
                  <a:lnTo>
                    <a:pt x="241897" y="131433"/>
                  </a:lnTo>
                  <a:lnTo>
                    <a:pt x="238213" y="131356"/>
                  </a:lnTo>
                  <a:lnTo>
                    <a:pt x="237837" y="132227"/>
                  </a:lnTo>
                  <a:lnTo>
                    <a:pt x="238874" y="133603"/>
                  </a:lnTo>
                  <a:lnTo>
                    <a:pt x="238066" y="134807"/>
                  </a:lnTo>
                  <a:lnTo>
                    <a:pt x="237317" y="135281"/>
                  </a:lnTo>
                  <a:lnTo>
                    <a:pt x="232918" y="136028"/>
                  </a:lnTo>
                  <a:lnTo>
                    <a:pt x="230372" y="135857"/>
                  </a:lnTo>
                  <a:lnTo>
                    <a:pt x="229645" y="136636"/>
                  </a:lnTo>
                  <a:lnTo>
                    <a:pt x="229441" y="137647"/>
                  </a:lnTo>
                  <a:lnTo>
                    <a:pt x="229923" y="138639"/>
                  </a:lnTo>
                  <a:lnTo>
                    <a:pt x="231046" y="139167"/>
                  </a:lnTo>
                  <a:lnTo>
                    <a:pt x="231415" y="139796"/>
                  </a:lnTo>
                  <a:lnTo>
                    <a:pt x="231338" y="141158"/>
                  </a:lnTo>
                  <a:lnTo>
                    <a:pt x="230403" y="141405"/>
                  </a:lnTo>
                  <a:lnTo>
                    <a:pt x="227749" y="139012"/>
                  </a:lnTo>
                  <a:lnTo>
                    <a:pt x="226941" y="139135"/>
                  </a:lnTo>
                  <a:lnTo>
                    <a:pt x="227548" y="140380"/>
                  </a:lnTo>
                  <a:lnTo>
                    <a:pt x="229064" y="141736"/>
                  </a:lnTo>
                  <a:lnTo>
                    <a:pt x="229940" y="143120"/>
                  </a:lnTo>
                  <a:lnTo>
                    <a:pt x="230707" y="144785"/>
                  </a:lnTo>
                  <a:lnTo>
                    <a:pt x="230558" y="146046"/>
                  </a:lnTo>
                  <a:lnTo>
                    <a:pt x="227263" y="150112"/>
                  </a:lnTo>
                  <a:lnTo>
                    <a:pt x="224363" y="152677"/>
                  </a:lnTo>
                  <a:lnTo>
                    <a:pt x="222199" y="154984"/>
                  </a:lnTo>
                  <a:lnTo>
                    <a:pt x="220923" y="157427"/>
                  </a:lnTo>
                  <a:lnTo>
                    <a:pt x="222400" y="158658"/>
                  </a:lnTo>
                  <a:lnTo>
                    <a:pt x="224043" y="160431"/>
                  </a:lnTo>
                  <a:lnTo>
                    <a:pt x="225198" y="163837"/>
                  </a:lnTo>
                  <a:lnTo>
                    <a:pt x="226576" y="166868"/>
                  </a:lnTo>
                  <a:lnTo>
                    <a:pt x="229357" y="169760"/>
                  </a:lnTo>
                  <a:lnTo>
                    <a:pt x="228798" y="171430"/>
                  </a:lnTo>
                  <a:lnTo>
                    <a:pt x="228150" y="172728"/>
                  </a:lnTo>
                  <a:lnTo>
                    <a:pt x="223523" y="175583"/>
                  </a:lnTo>
                  <a:lnTo>
                    <a:pt x="218276" y="179878"/>
                  </a:lnTo>
                  <a:lnTo>
                    <a:pt x="212620" y="190827"/>
                  </a:lnTo>
                  <a:lnTo>
                    <a:pt x="210739" y="192290"/>
                  </a:lnTo>
                  <a:lnTo>
                    <a:pt x="205788" y="194137"/>
                  </a:lnTo>
                  <a:lnTo>
                    <a:pt x="203967" y="195923"/>
                  </a:lnTo>
                  <a:lnTo>
                    <a:pt x="200281" y="198045"/>
                  </a:lnTo>
                  <a:lnTo>
                    <a:pt x="193846" y="199865"/>
                  </a:lnTo>
                  <a:lnTo>
                    <a:pt x="190927" y="202400"/>
                  </a:lnTo>
                  <a:lnTo>
                    <a:pt x="189609" y="205019"/>
                  </a:lnTo>
                  <a:lnTo>
                    <a:pt x="188143" y="205205"/>
                  </a:lnTo>
                  <a:lnTo>
                    <a:pt x="186690" y="204182"/>
                  </a:lnTo>
                  <a:lnTo>
                    <a:pt x="184751" y="203420"/>
                  </a:lnTo>
                  <a:lnTo>
                    <a:pt x="184498" y="205128"/>
                  </a:lnTo>
                  <a:lnTo>
                    <a:pt x="184580" y="206381"/>
                  </a:lnTo>
                  <a:lnTo>
                    <a:pt x="181477" y="204524"/>
                  </a:lnTo>
                  <a:lnTo>
                    <a:pt x="180013" y="206227"/>
                  </a:lnTo>
                  <a:lnTo>
                    <a:pt x="178869" y="209070"/>
                  </a:lnTo>
                  <a:lnTo>
                    <a:pt x="174403" y="212891"/>
                  </a:lnTo>
                  <a:lnTo>
                    <a:pt x="169590" y="212204"/>
                  </a:lnTo>
                  <a:lnTo>
                    <a:pt x="169050" y="212878"/>
                  </a:lnTo>
                  <a:lnTo>
                    <a:pt x="170331" y="213366"/>
                  </a:lnTo>
                  <a:lnTo>
                    <a:pt x="170525" y="213976"/>
                  </a:lnTo>
                  <a:lnTo>
                    <a:pt x="169651" y="214301"/>
                  </a:lnTo>
                  <a:lnTo>
                    <a:pt x="168327" y="214267"/>
                  </a:lnTo>
                  <a:lnTo>
                    <a:pt x="166284" y="215021"/>
                  </a:lnTo>
                  <a:lnTo>
                    <a:pt x="164941" y="214962"/>
                  </a:lnTo>
                  <a:lnTo>
                    <a:pt x="164304" y="216765"/>
                  </a:lnTo>
                  <a:lnTo>
                    <a:pt x="163265" y="218950"/>
                  </a:lnTo>
                  <a:lnTo>
                    <a:pt x="160546" y="219854"/>
                  </a:lnTo>
                  <a:lnTo>
                    <a:pt x="159143" y="220040"/>
                  </a:lnTo>
                  <a:lnTo>
                    <a:pt x="158450" y="221281"/>
                  </a:lnTo>
                  <a:lnTo>
                    <a:pt x="162632" y="221541"/>
                  </a:lnTo>
                  <a:lnTo>
                    <a:pt x="162298" y="222591"/>
                  </a:lnTo>
                  <a:lnTo>
                    <a:pt x="162203" y="223640"/>
                  </a:lnTo>
                  <a:lnTo>
                    <a:pt x="161771" y="224765"/>
                  </a:lnTo>
                  <a:lnTo>
                    <a:pt x="157016" y="226384"/>
                  </a:lnTo>
                  <a:lnTo>
                    <a:pt x="156284" y="227659"/>
                  </a:lnTo>
                  <a:lnTo>
                    <a:pt x="155291" y="228449"/>
                  </a:lnTo>
                  <a:lnTo>
                    <a:pt x="153176" y="228404"/>
                  </a:lnTo>
                  <a:lnTo>
                    <a:pt x="153254" y="227668"/>
                  </a:lnTo>
                  <a:lnTo>
                    <a:pt x="153600" y="226835"/>
                  </a:lnTo>
                  <a:lnTo>
                    <a:pt x="150449" y="226910"/>
                  </a:lnTo>
                  <a:lnTo>
                    <a:pt x="149467" y="225080"/>
                  </a:lnTo>
                  <a:lnTo>
                    <a:pt x="148869" y="225549"/>
                  </a:lnTo>
                  <a:lnTo>
                    <a:pt x="149223" y="227026"/>
                  </a:lnTo>
                  <a:lnTo>
                    <a:pt x="150048" y="228561"/>
                  </a:lnTo>
                  <a:lnTo>
                    <a:pt x="150965" y="230809"/>
                  </a:lnTo>
                  <a:lnTo>
                    <a:pt x="150220" y="232230"/>
                  </a:lnTo>
                  <a:lnTo>
                    <a:pt x="149387" y="232934"/>
                  </a:lnTo>
                  <a:lnTo>
                    <a:pt x="149994" y="233584"/>
                  </a:lnTo>
                  <a:lnTo>
                    <a:pt x="151676" y="234079"/>
                  </a:lnTo>
                  <a:lnTo>
                    <a:pt x="152356" y="234966"/>
                  </a:lnTo>
                  <a:lnTo>
                    <a:pt x="150361" y="235726"/>
                  </a:lnTo>
                  <a:lnTo>
                    <a:pt x="147871" y="238333"/>
                  </a:lnTo>
                  <a:lnTo>
                    <a:pt x="145290" y="238397"/>
                  </a:lnTo>
                  <a:lnTo>
                    <a:pt x="143712" y="240117"/>
                  </a:lnTo>
                  <a:lnTo>
                    <a:pt x="142036" y="240111"/>
                  </a:lnTo>
                  <a:lnTo>
                    <a:pt x="140674" y="239028"/>
                  </a:lnTo>
                  <a:lnTo>
                    <a:pt x="138490" y="238138"/>
                  </a:lnTo>
                  <a:lnTo>
                    <a:pt x="137787" y="239707"/>
                  </a:lnTo>
                  <a:lnTo>
                    <a:pt x="137674" y="240954"/>
                  </a:lnTo>
                  <a:lnTo>
                    <a:pt x="138905" y="244105"/>
                  </a:lnTo>
                  <a:lnTo>
                    <a:pt x="141255" y="246541"/>
                  </a:lnTo>
                  <a:lnTo>
                    <a:pt x="143431" y="247592"/>
                  </a:lnTo>
                  <a:lnTo>
                    <a:pt x="141865" y="248301"/>
                  </a:lnTo>
                  <a:lnTo>
                    <a:pt x="140700" y="249875"/>
                  </a:lnTo>
                  <a:lnTo>
                    <a:pt x="139294" y="254783"/>
                  </a:lnTo>
                  <a:lnTo>
                    <a:pt x="138529" y="256712"/>
                  </a:lnTo>
                  <a:lnTo>
                    <a:pt x="137700" y="260113"/>
                  </a:lnTo>
                  <a:lnTo>
                    <a:pt x="138225" y="262978"/>
                  </a:lnTo>
                  <a:lnTo>
                    <a:pt x="138646" y="264385"/>
                  </a:lnTo>
                  <a:lnTo>
                    <a:pt x="139711" y="266294"/>
                  </a:lnTo>
                  <a:lnTo>
                    <a:pt x="136817" y="266048"/>
                  </a:lnTo>
                  <a:lnTo>
                    <a:pt x="133761" y="264933"/>
                  </a:lnTo>
                  <a:lnTo>
                    <a:pt x="134187" y="267248"/>
                  </a:lnTo>
                  <a:lnTo>
                    <a:pt x="132310" y="269981"/>
                  </a:lnTo>
                  <a:lnTo>
                    <a:pt x="132660" y="272389"/>
                  </a:lnTo>
                  <a:lnTo>
                    <a:pt x="133051" y="273956"/>
                  </a:lnTo>
                  <a:lnTo>
                    <a:pt x="132470" y="276546"/>
                  </a:lnTo>
                  <a:lnTo>
                    <a:pt x="133353" y="277359"/>
                  </a:lnTo>
                  <a:lnTo>
                    <a:pt x="133833" y="278899"/>
                  </a:lnTo>
                  <a:lnTo>
                    <a:pt x="133042" y="280036"/>
                  </a:lnTo>
                  <a:lnTo>
                    <a:pt x="133394" y="281014"/>
                  </a:lnTo>
                  <a:lnTo>
                    <a:pt x="133526" y="284473"/>
                  </a:lnTo>
                  <a:lnTo>
                    <a:pt x="134126" y="289873"/>
                  </a:lnTo>
                  <a:lnTo>
                    <a:pt x="133906" y="291014"/>
                  </a:lnTo>
                  <a:lnTo>
                    <a:pt x="135586" y="295695"/>
                  </a:lnTo>
                  <a:lnTo>
                    <a:pt x="135195" y="297333"/>
                  </a:lnTo>
                  <a:lnTo>
                    <a:pt x="134969" y="299419"/>
                  </a:lnTo>
                  <a:lnTo>
                    <a:pt x="137376" y="301421"/>
                  </a:lnTo>
                  <a:lnTo>
                    <a:pt x="139525" y="301389"/>
                  </a:lnTo>
                  <a:lnTo>
                    <a:pt x="141702" y="301358"/>
                  </a:lnTo>
                  <a:lnTo>
                    <a:pt x="142533" y="301860"/>
                  </a:lnTo>
                  <a:lnTo>
                    <a:pt x="143367" y="303275"/>
                  </a:lnTo>
                  <a:lnTo>
                    <a:pt x="144038" y="304945"/>
                  </a:lnTo>
                  <a:lnTo>
                    <a:pt x="145830" y="304807"/>
                  </a:lnTo>
                  <a:lnTo>
                    <a:pt x="148691" y="303448"/>
                  </a:lnTo>
                  <a:lnTo>
                    <a:pt x="150553" y="303124"/>
                  </a:lnTo>
                  <a:lnTo>
                    <a:pt x="151782" y="305736"/>
                  </a:lnTo>
                  <a:lnTo>
                    <a:pt x="155124" y="309182"/>
                  </a:lnTo>
                  <a:lnTo>
                    <a:pt x="157070" y="310724"/>
                  </a:lnTo>
                  <a:lnTo>
                    <a:pt x="160376" y="311535"/>
                  </a:lnTo>
                  <a:lnTo>
                    <a:pt x="163859" y="314308"/>
                  </a:lnTo>
                  <a:lnTo>
                    <a:pt x="163371" y="317646"/>
                  </a:lnTo>
                  <a:lnTo>
                    <a:pt x="164824" y="318760"/>
                  </a:lnTo>
                  <a:lnTo>
                    <a:pt x="168934" y="320076"/>
                  </a:lnTo>
                  <a:lnTo>
                    <a:pt x="170387" y="321849"/>
                  </a:lnTo>
                  <a:lnTo>
                    <a:pt x="171084" y="323359"/>
                  </a:lnTo>
                  <a:lnTo>
                    <a:pt x="172166" y="324611"/>
                  </a:lnTo>
                  <a:lnTo>
                    <a:pt x="173431" y="328388"/>
                  </a:lnTo>
                  <a:lnTo>
                    <a:pt x="172991" y="330712"/>
                  </a:lnTo>
                  <a:lnTo>
                    <a:pt x="171335" y="331510"/>
                  </a:lnTo>
                  <a:lnTo>
                    <a:pt x="167424" y="333997"/>
                  </a:lnTo>
                  <a:lnTo>
                    <a:pt x="165681" y="335851"/>
                  </a:lnTo>
                  <a:lnTo>
                    <a:pt x="164314" y="337006"/>
                  </a:lnTo>
                  <a:lnTo>
                    <a:pt x="160430" y="339479"/>
                  </a:lnTo>
                  <a:lnTo>
                    <a:pt x="159007" y="339923"/>
                  </a:lnTo>
                  <a:lnTo>
                    <a:pt x="157644" y="341207"/>
                  </a:lnTo>
                  <a:lnTo>
                    <a:pt x="156327" y="341769"/>
                  </a:lnTo>
                  <a:lnTo>
                    <a:pt x="155148" y="341446"/>
                  </a:lnTo>
                  <a:lnTo>
                    <a:pt x="150740" y="343770"/>
                  </a:lnTo>
                  <a:lnTo>
                    <a:pt x="151084" y="344762"/>
                  </a:lnTo>
                  <a:lnTo>
                    <a:pt x="154464" y="345182"/>
                  </a:lnTo>
                  <a:lnTo>
                    <a:pt x="156187" y="344684"/>
                  </a:lnTo>
                  <a:lnTo>
                    <a:pt x="157513" y="343516"/>
                  </a:lnTo>
                  <a:lnTo>
                    <a:pt x="158961" y="343248"/>
                  </a:lnTo>
                  <a:lnTo>
                    <a:pt x="160283" y="343468"/>
                  </a:lnTo>
                  <a:lnTo>
                    <a:pt x="161684" y="342548"/>
                  </a:lnTo>
                  <a:lnTo>
                    <a:pt x="162784" y="342180"/>
                  </a:lnTo>
                  <a:lnTo>
                    <a:pt x="163920" y="342621"/>
                  </a:lnTo>
                  <a:lnTo>
                    <a:pt x="165187" y="344828"/>
                  </a:lnTo>
                  <a:lnTo>
                    <a:pt x="162557" y="345976"/>
                  </a:lnTo>
                  <a:lnTo>
                    <a:pt x="160691" y="346028"/>
                  </a:lnTo>
                  <a:lnTo>
                    <a:pt x="159780" y="349640"/>
                  </a:lnTo>
                  <a:lnTo>
                    <a:pt x="158650" y="351190"/>
                  </a:lnTo>
                  <a:lnTo>
                    <a:pt x="157841" y="351935"/>
                  </a:lnTo>
                  <a:lnTo>
                    <a:pt x="153701" y="353469"/>
                  </a:lnTo>
                  <a:lnTo>
                    <a:pt x="150970" y="355412"/>
                  </a:lnTo>
                  <a:lnTo>
                    <a:pt x="147750" y="356975"/>
                  </a:lnTo>
                  <a:lnTo>
                    <a:pt x="146344" y="356635"/>
                  </a:lnTo>
                  <a:lnTo>
                    <a:pt x="144226" y="358223"/>
                  </a:lnTo>
                  <a:lnTo>
                    <a:pt x="139518" y="360101"/>
                  </a:lnTo>
                  <a:lnTo>
                    <a:pt x="137106" y="362629"/>
                  </a:lnTo>
                  <a:lnTo>
                    <a:pt x="131693" y="364888"/>
                  </a:lnTo>
                  <a:lnTo>
                    <a:pt x="128935" y="366724"/>
                  </a:lnTo>
                  <a:lnTo>
                    <a:pt x="121444" y="366820"/>
                  </a:lnTo>
                  <a:lnTo>
                    <a:pt x="114290" y="366417"/>
                  </a:lnTo>
                  <a:lnTo>
                    <a:pt x="112044" y="367290"/>
                  </a:lnTo>
                  <a:lnTo>
                    <a:pt x="114340" y="367560"/>
                  </a:lnTo>
                  <a:lnTo>
                    <a:pt x="115948" y="368416"/>
                  </a:lnTo>
                  <a:lnTo>
                    <a:pt x="117877" y="368059"/>
                  </a:lnTo>
                  <a:lnTo>
                    <a:pt x="122410" y="368487"/>
                  </a:lnTo>
                  <a:lnTo>
                    <a:pt x="124742" y="368953"/>
                  </a:lnTo>
                  <a:lnTo>
                    <a:pt x="127735" y="371949"/>
                  </a:lnTo>
                  <a:lnTo>
                    <a:pt x="125534" y="373013"/>
                  </a:lnTo>
                  <a:lnTo>
                    <a:pt x="121723" y="373829"/>
                  </a:lnTo>
                  <a:lnTo>
                    <a:pt x="123152" y="378067"/>
                  </a:lnTo>
                  <a:lnTo>
                    <a:pt x="124331" y="380919"/>
                  </a:lnTo>
                  <a:lnTo>
                    <a:pt x="122788" y="382639"/>
                  </a:lnTo>
                  <a:lnTo>
                    <a:pt x="122673" y="390443"/>
                  </a:lnTo>
                  <a:lnTo>
                    <a:pt x="120507" y="390592"/>
                  </a:lnTo>
                  <a:lnTo>
                    <a:pt x="119587" y="393812"/>
                  </a:lnTo>
                  <a:lnTo>
                    <a:pt x="120269" y="395452"/>
                  </a:lnTo>
                  <a:lnTo>
                    <a:pt x="120216" y="399257"/>
                  </a:lnTo>
                  <a:lnTo>
                    <a:pt x="120667" y="401599"/>
                  </a:lnTo>
                  <a:lnTo>
                    <a:pt x="121729" y="403752"/>
                  </a:lnTo>
                  <a:lnTo>
                    <a:pt x="121256" y="405996"/>
                  </a:lnTo>
                  <a:lnTo>
                    <a:pt x="117832" y="411238"/>
                  </a:lnTo>
                  <a:lnTo>
                    <a:pt x="117910" y="413693"/>
                  </a:lnTo>
                  <a:lnTo>
                    <a:pt x="118525" y="415150"/>
                  </a:lnTo>
                  <a:lnTo>
                    <a:pt x="118980" y="417477"/>
                  </a:lnTo>
                  <a:lnTo>
                    <a:pt x="117424" y="421945"/>
                  </a:lnTo>
                  <a:lnTo>
                    <a:pt x="116324" y="425671"/>
                  </a:lnTo>
                  <a:lnTo>
                    <a:pt x="115018" y="428802"/>
                  </a:lnTo>
                  <a:lnTo>
                    <a:pt x="112094" y="432553"/>
                  </a:lnTo>
                  <a:lnTo>
                    <a:pt x="110639" y="435353"/>
                  </a:lnTo>
                  <a:lnTo>
                    <a:pt x="107233" y="444067"/>
                  </a:lnTo>
                  <a:lnTo>
                    <a:pt x="105545" y="445792"/>
                  </a:lnTo>
                  <a:lnTo>
                    <a:pt x="103474" y="447117"/>
                  </a:lnTo>
                  <a:lnTo>
                    <a:pt x="101166" y="445891"/>
                  </a:lnTo>
                  <a:lnTo>
                    <a:pt x="99049" y="445223"/>
                  </a:lnTo>
                  <a:lnTo>
                    <a:pt x="96464" y="445304"/>
                  </a:lnTo>
                  <a:lnTo>
                    <a:pt x="92416" y="446309"/>
                  </a:lnTo>
                  <a:lnTo>
                    <a:pt x="86326" y="445641"/>
                  </a:lnTo>
                  <a:lnTo>
                    <a:pt x="80375" y="445963"/>
                  </a:lnTo>
                  <a:lnTo>
                    <a:pt x="78870" y="446831"/>
                  </a:lnTo>
                  <a:lnTo>
                    <a:pt x="79772" y="449981"/>
                  </a:lnTo>
                  <a:lnTo>
                    <a:pt x="77579" y="450394"/>
                  </a:lnTo>
                  <a:lnTo>
                    <a:pt x="75434" y="449498"/>
                  </a:lnTo>
                  <a:lnTo>
                    <a:pt x="73547" y="450567"/>
                  </a:lnTo>
                  <a:lnTo>
                    <a:pt x="71970" y="451739"/>
                  </a:lnTo>
                  <a:lnTo>
                    <a:pt x="68874" y="454516"/>
                  </a:lnTo>
                  <a:lnTo>
                    <a:pt x="67837" y="456225"/>
                  </a:lnTo>
                  <a:lnTo>
                    <a:pt x="67570" y="459439"/>
                  </a:lnTo>
                  <a:lnTo>
                    <a:pt x="69196" y="462318"/>
                  </a:lnTo>
                  <a:lnTo>
                    <a:pt x="70638" y="465684"/>
                  </a:lnTo>
                  <a:lnTo>
                    <a:pt x="66924" y="469739"/>
                  </a:lnTo>
                  <a:lnTo>
                    <a:pt x="64851" y="469876"/>
                  </a:lnTo>
                  <a:lnTo>
                    <a:pt x="58800" y="468752"/>
                  </a:lnTo>
                  <a:lnTo>
                    <a:pt x="48077" y="471291"/>
                  </a:lnTo>
                  <a:lnTo>
                    <a:pt x="38446" y="469283"/>
                  </a:lnTo>
                  <a:lnTo>
                    <a:pt x="39657" y="467112"/>
                  </a:lnTo>
                  <a:lnTo>
                    <a:pt x="39617" y="465514"/>
                  </a:lnTo>
                  <a:lnTo>
                    <a:pt x="40161" y="463055"/>
                  </a:lnTo>
                  <a:lnTo>
                    <a:pt x="40484" y="460536"/>
                  </a:lnTo>
                  <a:lnTo>
                    <a:pt x="40394" y="458849"/>
                  </a:lnTo>
                  <a:lnTo>
                    <a:pt x="39688" y="457050"/>
                  </a:lnTo>
                  <a:lnTo>
                    <a:pt x="37313" y="454694"/>
                  </a:lnTo>
                  <a:lnTo>
                    <a:pt x="31961" y="446722"/>
                  </a:lnTo>
                  <a:lnTo>
                    <a:pt x="30378" y="443349"/>
                  </a:lnTo>
                  <a:lnTo>
                    <a:pt x="29277" y="441942"/>
                  </a:lnTo>
                  <a:lnTo>
                    <a:pt x="30070" y="441866"/>
                  </a:lnTo>
                  <a:lnTo>
                    <a:pt x="34477" y="443679"/>
                  </a:lnTo>
                  <a:lnTo>
                    <a:pt x="35505" y="443456"/>
                  </a:lnTo>
                  <a:lnTo>
                    <a:pt x="36585" y="442775"/>
                  </a:lnTo>
                  <a:lnTo>
                    <a:pt x="35270" y="440179"/>
                  </a:lnTo>
                  <a:lnTo>
                    <a:pt x="34140" y="439003"/>
                  </a:lnTo>
                  <a:lnTo>
                    <a:pt x="33374" y="437243"/>
                  </a:lnTo>
                  <a:lnTo>
                    <a:pt x="35954" y="436767"/>
                  </a:lnTo>
                  <a:lnTo>
                    <a:pt x="37818" y="436872"/>
                  </a:lnTo>
                  <a:lnTo>
                    <a:pt x="39191" y="434890"/>
                  </a:lnTo>
                  <a:lnTo>
                    <a:pt x="38399" y="431681"/>
                  </a:lnTo>
                  <a:lnTo>
                    <a:pt x="36397" y="430693"/>
                  </a:lnTo>
                  <a:lnTo>
                    <a:pt x="34725" y="430263"/>
                  </a:lnTo>
                  <a:lnTo>
                    <a:pt x="31521" y="425210"/>
                  </a:lnTo>
                  <a:lnTo>
                    <a:pt x="28178" y="422589"/>
                  </a:lnTo>
                  <a:lnTo>
                    <a:pt x="22216" y="412449"/>
                  </a:lnTo>
                  <a:lnTo>
                    <a:pt x="20035" y="405461"/>
                  </a:lnTo>
                  <a:lnTo>
                    <a:pt x="18008" y="406126"/>
                  </a:lnTo>
                  <a:lnTo>
                    <a:pt x="17023" y="403076"/>
                  </a:lnTo>
                  <a:lnTo>
                    <a:pt x="16317" y="400184"/>
                  </a:lnTo>
                  <a:lnTo>
                    <a:pt x="16176" y="398055"/>
                  </a:lnTo>
                  <a:lnTo>
                    <a:pt x="12998" y="396834"/>
                  </a:lnTo>
                  <a:lnTo>
                    <a:pt x="12868" y="395340"/>
                  </a:lnTo>
                  <a:lnTo>
                    <a:pt x="12296" y="388660"/>
                  </a:lnTo>
                  <a:lnTo>
                    <a:pt x="8886" y="387761"/>
                  </a:lnTo>
                  <a:lnTo>
                    <a:pt x="6681" y="384002"/>
                  </a:lnTo>
                  <a:lnTo>
                    <a:pt x="6288" y="376872"/>
                  </a:lnTo>
                  <a:lnTo>
                    <a:pt x="4043" y="375571"/>
                  </a:lnTo>
                  <a:lnTo>
                    <a:pt x="2235" y="375932"/>
                  </a:lnTo>
                  <a:lnTo>
                    <a:pt x="2320" y="374160"/>
                  </a:lnTo>
                  <a:lnTo>
                    <a:pt x="2751" y="372496"/>
                  </a:lnTo>
                  <a:lnTo>
                    <a:pt x="1696" y="365889"/>
                  </a:lnTo>
                  <a:lnTo>
                    <a:pt x="1343" y="359841"/>
                  </a:lnTo>
                  <a:lnTo>
                    <a:pt x="486" y="358012"/>
                  </a:lnTo>
                  <a:lnTo>
                    <a:pt x="0" y="355868"/>
                  </a:lnTo>
                  <a:lnTo>
                    <a:pt x="436" y="354014"/>
                  </a:lnTo>
                  <a:lnTo>
                    <a:pt x="1076" y="352949"/>
                  </a:lnTo>
                  <a:lnTo>
                    <a:pt x="3276" y="352669"/>
                  </a:lnTo>
                  <a:lnTo>
                    <a:pt x="5332" y="354309"/>
                  </a:lnTo>
                  <a:lnTo>
                    <a:pt x="7154" y="358440"/>
                  </a:lnTo>
                  <a:lnTo>
                    <a:pt x="8765" y="358977"/>
                  </a:lnTo>
                  <a:lnTo>
                    <a:pt x="10959" y="357902"/>
                  </a:lnTo>
                  <a:lnTo>
                    <a:pt x="12495" y="354890"/>
                  </a:lnTo>
                  <a:lnTo>
                    <a:pt x="13371" y="350363"/>
                  </a:lnTo>
                  <a:lnTo>
                    <a:pt x="14395" y="346042"/>
                  </a:lnTo>
                  <a:lnTo>
                    <a:pt x="13183" y="341411"/>
                  </a:lnTo>
                  <a:lnTo>
                    <a:pt x="11890" y="337334"/>
                  </a:lnTo>
                  <a:lnTo>
                    <a:pt x="11799" y="336135"/>
                  </a:lnTo>
                  <a:lnTo>
                    <a:pt x="15194" y="332688"/>
                  </a:lnTo>
                  <a:lnTo>
                    <a:pt x="16232" y="329881"/>
                  </a:lnTo>
                  <a:lnTo>
                    <a:pt x="17358" y="327204"/>
                  </a:lnTo>
                  <a:lnTo>
                    <a:pt x="18599" y="326293"/>
                  </a:lnTo>
                  <a:lnTo>
                    <a:pt x="20448" y="326085"/>
                  </a:lnTo>
                  <a:lnTo>
                    <a:pt x="22601" y="325581"/>
                  </a:lnTo>
                  <a:lnTo>
                    <a:pt x="25315" y="323786"/>
                  </a:lnTo>
                  <a:lnTo>
                    <a:pt x="27748" y="321381"/>
                  </a:lnTo>
                  <a:lnTo>
                    <a:pt x="29608" y="319172"/>
                  </a:lnTo>
                  <a:lnTo>
                    <a:pt x="30238" y="314796"/>
                  </a:lnTo>
                  <a:lnTo>
                    <a:pt x="30264" y="312594"/>
                  </a:lnTo>
                  <a:lnTo>
                    <a:pt x="31083" y="310957"/>
                  </a:lnTo>
                  <a:lnTo>
                    <a:pt x="31875" y="307757"/>
                  </a:lnTo>
                  <a:lnTo>
                    <a:pt x="31104" y="304595"/>
                  </a:lnTo>
                  <a:lnTo>
                    <a:pt x="28705" y="299791"/>
                  </a:lnTo>
                  <a:lnTo>
                    <a:pt x="25816" y="293016"/>
                  </a:lnTo>
                  <a:lnTo>
                    <a:pt x="25362" y="289308"/>
                  </a:lnTo>
                  <a:lnTo>
                    <a:pt x="26679" y="288619"/>
                  </a:lnTo>
                  <a:lnTo>
                    <a:pt x="29198" y="288004"/>
                  </a:lnTo>
                  <a:lnTo>
                    <a:pt x="33961" y="287826"/>
                  </a:lnTo>
                  <a:lnTo>
                    <a:pt x="34471" y="287388"/>
                  </a:lnTo>
                  <a:lnTo>
                    <a:pt x="34952" y="285761"/>
                  </a:lnTo>
                  <a:lnTo>
                    <a:pt x="36025" y="283550"/>
                  </a:lnTo>
                  <a:lnTo>
                    <a:pt x="37172" y="281938"/>
                  </a:lnTo>
                  <a:lnTo>
                    <a:pt x="37956" y="279631"/>
                  </a:lnTo>
                  <a:lnTo>
                    <a:pt x="38334" y="277538"/>
                  </a:lnTo>
                  <a:lnTo>
                    <a:pt x="35609" y="274382"/>
                  </a:lnTo>
                  <a:lnTo>
                    <a:pt x="32039" y="271147"/>
                  </a:lnTo>
                  <a:lnTo>
                    <a:pt x="29623" y="270074"/>
                  </a:lnTo>
                  <a:lnTo>
                    <a:pt x="25317" y="267346"/>
                  </a:lnTo>
                  <a:lnTo>
                    <a:pt x="22294" y="265062"/>
                  </a:lnTo>
                  <a:lnTo>
                    <a:pt x="24026" y="256346"/>
                  </a:lnTo>
                  <a:lnTo>
                    <a:pt x="25315" y="249836"/>
                  </a:lnTo>
                  <a:lnTo>
                    <a:pt x="25522" y="248251"/>
                  </a:lnTo>
                  <a:lnTo>
                    <a:pt x="25570" y="245790"/>
                  </a:lnTo>
                  <a:lnTo>
                    <a:pt x="21391" y="235264"/>
                  </a:lnTo>
                  <a:lnTo>
                    <a:pt x="21553" y="232916"/>
                  </a:lnTo>
                  <a:lnTo>
                    <a:pt x="21951" y="230799"/>
                  </a:lnTo>
                  <a:lnTo>
                    <a:pt x="21503" y="227185"/>
                  </a:lnTo>
                  <a:lnTo>
                    <a:pt x="21260" y="223946"/>
                  </a:lnTo>
                  <a:lnTo>
                    <a:pt x="21977" y="222963"/>
                  </a:lnTo>
                  <a:lnTo>
                    <a:pt x="23682" y="221133"/>
                  </a:lnTo>
                  <a:lnTo>
                    <a:pt x="22056" y="218291"/>
                  </a:lnTo>
                  <a:lnTo>
                    <a:pt x="21925" y="218060"/>
                  </a:lnTo>
                  <a:lnTo>
                    <a:pt x="18856" y="211011"/>
                  </a:lnTo>
                  <a:lnTo>
                    <a:pt x="23549" y="204008"/>
                  </a:lnTo>
                  <a:lnTo>
                    <a:pt x="22732" y="200377"/>
                  </a:lnTo>
                  <a:lnTo>
                    <a:pt x="25535" y="197738"/>
                  </a:lnTo>
                  <a:lnTo>
                    <a:pt x="30638" y="191681"/>
                  </a:lnTo>
                  <a:lnTo>
                    <a:pt x="33508" y="188267"/>
                  </a:lnTo>
                  <a:lnTo>
                    <a:pt x="34117" y="187670"/>
                  </a:lnTo>
                  <a:lnTo>
                    <a:pt x="36388" y="186168"/>
                  </a:lnTo>
                  <a:lnTo>
                    <a:pt x="40696" y="184385"/>
                  </a:lnTo>
                  <a:lnTo>
                    <a:pt x="45471" y="183516"/>
                  </a:lnTo>
                  <a:lnTo>
                    <a:pt x="47596" y="183527"/>
                  </a:lnTo>
                  <a:lnTo>
                    <a:pt x="55801" y="184734"/>
                  </a:lnTo>
                  <a:lnTo>
                    <a:pt x="62210" y="185673"/>
                  </a:lnTo>
                  <a:lnTo>
                    <a:pt x="63143" y="184730"/>
                  </a:lnTo>
                  <a:lnTo>
                    <a:pt x="64482" y="182795"/>
                  </a:lnTo>
                  <a:lnTo>
                    <a:pt x="66205" y="180035"/>
                  </a:lnTo>
                  <a:lnTo>
                    <a:pt x="66356" y="176962"/>
                  </a:lnTo>
                  <a:lnTo>
                    <a:pt x="65734" y="172439"/>
                  </a:lnTo>
                  <a:lnTo>
                    <a:pt x="64799" y="169727"/>
                  </a:lnTo>
                  <a:lnTo>
                    <a:pt x="60286" y="167963"/>
                  </a:lnTo>
                  <a:lnTo>
                    <a:pt x="55350" y="165542"/>
                  </a:lnTo>
                  <a:lnTo>
                    <a:pt x="61420" y="157854"/>
                  </a:lnTo>
                  <a:lnTo>
                    <a:pt x="65629" y="152501"/>
                  </a:lnTo>
                  <a:lnTo>
                    <a:pt x="70876" y="144422"/>
                  </a:lnTo>
                  <a:lnTo>
                    <a:pt x="72508" y="141051"/>
                  </a:lnTo>
                  <a:lnTo>
                    <a:pt x="73689" y="139711"/>
                  </a:lnTo>
                  <a:lnTo>
                    <a:pt x="75233" y="127217"/>
                  </a:lnTo>
                  <a:lnTo>
                    <a:pt x="76257" y="123708"/>
                  </a:lnTo>
                  <a:lnTo>
                    <a:pt x="77114" y="121873"/>
                  </a:lnTo>
                  <a:lnTo>
                    <a:pt x="77127" y="119986"/>
                  </a:lnTo>
                  <a:lnTo>
                    <a:pt x="76570" y="116802"/>
                  </a:lnTo>
                  <a:lnTo>
                    <a:pt x="75095" y="109590"/>
                  </a:lnTo>
                  <a:lnTo>
                    <a:pt x="83381" y="108696"/>
                  </a:lnTo>
                  <a:lnTo>
                    <a:pt x="86080" y="108190"/>
                  </a:lnTo>
                  <a:lnTo>
                    <a:pt x="88585" y="107326"/>
                  </a:lnTo>
                  <a:lnTo>
                    <a:pt x="93485" y="105086"/>
                  </a:lnTo>
                  <a:lnTo>
                    <a:pt x="95892" y="103105"/>
                  </a:lnTo>
                  <a:lnTo>
                    <a:pt x="94547" y="96329"/>
                  </a:lnTo>
                  <a:lnTo>
                    <a:pt x="97512" y="94031"/>
                  </a:lnTo>
                  <a:lnTo>
                    <a:pt x="104746" y="86006"/>
                  </a:lnTo>
                  <a:lnTo>
                    <a:pt x="112563" y="78290"/>
                  </a:lnTo>
                  <a:lnTo>
                    <a:pt x="116229" y="75362"/>
                  </a:lnTo>
                  <a:lnTo>
                    <a:pt x="116609" y="73929"/>
                  </a:lnTo>
                  <a:lnTo>
                    <a:pt x="116910" y="71624"/>
                  </a:lnTo>
                  <a:lnTo>
                    <a:pt x="115281" y="67999"/>
                  </a:lnTo>
                  <a:lnTo>
                    <a:pt x="113532" y="65749"/>
                  </a:lnTo>
                  <a:lnTo>
                    <a:pt x="110125" y="61479"/>
                  </a:lnTo>
                  <a:lnTo>
                    <a:pt x="111587" y="58496"/>
                  </a:lnTo>
                  <a:lnTo>
                    <a:pt x="114098" y="57916"/>
                  </a:lnTo>
                  <a:lnTo>
                    <a:pt x="117415" y="56743"/>
                  </a:lnTo>
                  <a:lnTo>
                    <a:pt x="120002" y="54187"/>
                  </a:lnTo>
                  <a:lnTo>
                    <a:pt x="120254" y="53858"/>
                  </a:lnTo>
                  <a:lnTo>
                    <a:pt x="124634" y="43774"/>
                  </a:lnTo>
                  <a:lnTo>
                    <a:pt x="133189" y="38646"/>
                  </a:lnTo>
                  <a:lnTo>
                    <a:pt x="136597" y="35843"/>
                  </a:lnTo>
                  <a:lnTo>
                    <a:pt x="141907" y="37949"/>
                  </a:lnTo>
                  <a:lnTo>
                    <a:pt x="149689" y="41124"/>
                  </a:lnTo>
                  <a:lnTo>
                    <a:pt x="153150" y="36451"/>
                  </a:lnTo>
                  <a:lnTo>
                    <a:pt x="154295" y="34715"/>
                  </a:lnTo>
                  <a:lnTo>
                    <a:pt x="155437" y="32154"/>
                  </a:lnTo>
                  <a:lnTo>
                    <a:pt x="154979" y="27717"/>
                  </a:lnTo>
                  <a:lnTo>
                    <a:pt x="154783" y="21940"/>
                  </a:lnTo>
                  <a:lnTo>
                    <a:pt x="155126" y="19614"/>
                  </a:lnTo>
                  <a:lnTo>
                    <a:pt x="158232" y="18577"/>
                  </a:lnTo>
                  <a:lnTo>
                    <a:pt x="159903" y="18309"/>
                  </a:lnTo>
                  <a:lnTo>
                    <a:pt x="168553" y="20702"/>
                  </a:lnTo>
                  <a:lnTo>
                    <a:pt x="170730" y="20661"/>
                  </a:lnTo>
                  <a:lnTo>
                    <a:pt x="174807" y="20983"/>
                  </a:lnTo>
                  <a:lnTo>
                    <a:pt x="179370" y="22034"/>
                  </a:lnTo>
                  <a:lnTo>
                    <a:pt x="188927" y="24826"/>
                  </a:lnTo>
                  <a:lnTo>
                    <a:pt x="192881" y="25981"/>
                  </a:lnTo>
                  <a:lnTo>
                    <a:pt x="195088" y="26205"/>
                  </a:lnTo>
                  <a:lnTo>
                    <a:pt x="196993" y="24905"/>
                  </a:lnTo>
                  <a:lnTo>
                    <a:pt x="201063" y="21566"/>
                  </a:lnTo>
                  <a:lnTo>
                    <a:pt x="195066" y="19091"/>
                  </a:lnTo>
                  <a:lnTo>
                    <a:pt x="199016" y="16583"/>
                  </a:lnTo>
                  <a:lnTo>
                    <a:pt x="201063" y="14051"/>
                  </a:lnTo>
                  <a:lnTo>
                    <a:pt x="202819" y="10934"/>
                  </a:lnTo>
                  <a:lnTo>
                    <a:pt x="203451" y="7280"/>
                  </a:lnTo>
                  <a:lnTo>
                    <a:pt x="203209" y="5312"/>
                  </a:lnTo>
                  <a:lnTo>
                    <a:pt x="201998" y="3971"/>
                  </a:lnTo>
                  <a:lnTo>
                    <a:pt x="198336" y="619"/>
                  </a:lnTo>
                  <a:lnTo>
                    <a:pt x="206634" y="13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8" name="ee4p_UA_1_15912">
              <a:extLst>
                <a:ext uri="{FF2B5EF4-FFF2-40B4-BE49-F238E27FC236}">
                  <a16:creationId xmlns:a16="http://schemas.microsoft.com/office/drawing/2014/main" id="{CC85165F-04F4-FFBE-0DE0-E63F245E74A8}"/>
                </a:ext>
              </a:extLst>
            </p:cNvPr>
            <p:cNvSpPr>
              <a:spLocks noChangeAspect="1"/>
            </p:cNvSpPr>
            <p:nvPr>
              <p:custDataLst>
                <p:tags r:id="rId60"/>
              </p:custDataLst>
            </p:nvPr>
          </p:nvSpPr>
          <p:spPr>
            <a:xfrm>
              <a:off x="5711734" y="4258461"/>
              <a:ext cx="1577526" cy="895745"/>
            </a:xfrm>
            <a:custGeom>
              <a:avLst/>
              <a:gdLst>
                <a:gd name="connsiteX0" fmla="*/ 207344 w 397940"/>
                <a:gd name="connsiteY0" fmla="*/ 171473 h 225957"/>
                <a:gd name="connsiteX1" fmla="*/ 209026 w 397940"/>
                <a:gd name="connsiteY1" fmla="*/ 173412 h 225957"/>
                <a:gd name="connsiteX2" fmla="*/ 210212 w 397940"/>
                <a:gd name="connsiteY2" fmla="*/ 174260 h 225957"/>
                <a:gd name="connsiteX3" fmla="*/ 218475 w 397940"/>
                <a:gd name="connsiteY3" fmla="*/ 176160 h 225957"/>
                <a:gd name="connsiteX4" fmla="*/ 221524 w 397940"/>
                <a:gd name="connsiteY4" fmla="*/ 177522 h 225957"/>
                <a:gd name="connsiteX5" fmla="*/ 218413 w 397940"/>
                <a:gd name="connsiteY5" fmla="*/ 177159 h 225957"/>
                <a:gd name="connsiteX6" fmla="*/ 211576 w 397940"/>
                <a:gd name="connsiteY6" fmla="*/ 175879 h 225957"/>
                <a:gd name="connsiteX7" fmla="*/ 208562 w 397940"/>
                <a:gd name="connsiteY7" fmla="*/ 174670 h 225957"/>
                <a:gd name="connsiteX8" fmla="*/ 207784 w 397940"/>
                <a:gd name="connsiteY8" fmla="*/ 173318 h 225957"/>
                <a:gd name="connsiteX9" fmla="*/ 246666 w 397940"/>
                <a:gd name="connsiteY9" fmla="*/ 0 h 225957"/>
                <a:gd name="connsiteX10" fmla="*/ 250309 w 397940"/>
                <a:gd name="connsiteY10" fmla="*/ 587 h 225957"/>
                <a:gd name="connsiteX11" fmla="*/ 253881 w 397940"/>
                <a:gd name="connsiteY11" fmla="*/ 622 h 225957"/>
                <a:gd name="connsiteX12" fmla="*/ 256576 w 397940"/>
                <a:gd name="connsiteY12" fmla="*/ 261 h 225957"/>
                <a:gd name="connsiteX13" fmla="*/ 258424 w 397940"/>
                <a:gd name="connsiteY13" fmla="*/ 1126 h 225957"/>
                <a:gd name="connsiteX14" fmla="*/ 260707 w 397940"/>
                <a:gd name="connsiteY14" fmla="*/ 3030 h 225957"/>
                <a:gd name="connsiteX15" fmla="*/ 262769 w 397940"/>
                <a:gd name="connsiteY15" fmla="*/ 5862 h 225957"/>
                <a:gd name="connsiteX16" fmla="*/ 264930 w 397940"/>
                <a:gd name="connsiteY16" fmla="*/ 11080 h 225957"/>
                <a:gd name="connsiteX17" fmla="*/ 271227 w 397940"/>
                <a:gd name="connsiteY17" fmla="*/ 16962 h 225957"/>
                <a:gd name="connsiteX18" fmla="*/ 271335 w 397940"/>
                <a:gd name="connsiteY18" fmla="*/ 18109 h 225957"/>
                <a:gd name="connsiteX19" fmla="*/ 270817 w 397940"/>
                <a:gd name="connsiteY19" fmla="*/ 18846 h 225957"/>
                <a:gd name="connsiteX20" fmla="*/ 267718 w 397940"/>
                <a:gd name="connsiteY20" fmla="*/ 19561 h 225957"/>
                <a:gd name="connsiteX21" fmla="*/ 265107 w 397940"/>
                <a:gd name="connsiteY21" fmla="*/ 19946 h 225957"/>
                <a:gd name="connsiteX22" fmla="*/ 264982 w 397940"/>
                <a:gd name="connsiteY22" fmla="*/ 20953 h 225957"/>
                <a:gd name="connsiteX23" fmla="*/ 265675 w 397940"/>
                <a:gd name="connsiteY23" fmla="*/ 22042 h 225957"/>
                <a:gd name="connsiteX24" fmla="*/ 266872 w 397940"/>
                <a:gd name="connsiteY24" fmla="*/ 23635 h 225957"/>
                <a:gd name="connsiteX25" fmla="*/ 267057 w 397940"/>
                <a:gd name="connsiteY25" fmla="*/ 25685 h 225957"/>
                <a:gd name="connsiteX26" fmla="*/ 266997 w 397940"/>
                <a:gd name="connsiteY26" fmla="*/ 27569 h 225957"/>
                <a:gd name="connsiteX27" fmla="*/ 267513 w 397940"/>
                <a:gd name="connsiteY27" fmla="*/ 29233 h 225957"/>
                <a:gd name="connsiteX28" fmla="*/ 268511 w 397940"/>
                <a:gd name="connsiteY28" fmla="*/ 29909 h 225957"/>
                <a:gd name="connsiteX29" fmla="*/ 268636 w 397940"/>
                <a:gd name="connsiteY29" fmla="*/ 30745 h 225957"/>
                <a:gd name="connsiteX30" fmla="*/ 267481 w 397940"/>
                <a:gd name="connsiteY30" fmla="*/ 31766 h 225957"/>
                <a:gd name="connsiteX31" fmla="*/ 267159 w 397940"/>
                <a:gd name="connsiteY31" fmla="*/ 32396 h 225957"/>
                <a:gd name="connsiteX32" fmla="*/ 267608 w 397940"/>
                <a:gd name="connsiteY32" fmla="*/ 32735 h 225957"/>
                <a:gd name="connsiteX33" fmla="*/ 273287 w 397940"/>
                <a:gd name="connsiteY33" fmla="*/ 32932 h 225957"/>
                <a:gd name="connsiteX34" fmla="*/ 276068 w 397940"/>
                <a:gd name="connsiteY34" fmla="*/ 33926 h 225957"/>
                <a:gd name="connsiteX35" fmla="*/ 278180 w 397940"/>
                <a:gd name="connsiteY35" fmla="*/ 34831 h 225957"/>
                <a:gd name="connsiteX36" fmla="*/ 279243 w 397940"/>
                <a:gd name="connsiteY36" fmla="*/ 34915 h 225957"/>
                <a:gd name="connsiteX37" fmla="*/ 281635 w 397940"/>
                <a:gd name="connsiteY37" fmla="*/ 34333 h 225957"/>
                <a:gd name="connsiteX38" fmla="*/ 284326 w 397940"/>
                <a:gd name="connsiteY38" fmla="*/ 33966 h 225957"/>
                <a:gd name="connsiteX39" fmla="*/ 285958 w 397940"/>
                <a:gd name="connsiteY39" fmla="*/ 33917 h 225957"/>
                <a:gd name="connsiteX40" fmla="*/ 286589 w 397940"/>
                <a:gd name="connsiteY40" fmla="*/ 34584 h 225957"/>
                <a:gd name="connsiteX41" fmla="*/ 287092 w 397940"/>
                <a:gd name="connsiteY41" fmla="*/ 36334 h 225957"/>
                <a:gd name="connsiteX42" fmla="*/ 288038 w 397940"/>
                <a:gd name="connsiteY42" fmla="*/ 38084 h 225957"/>
                <a:gd name="connsiteX43" fmla="*/ 288921 w 397940"/>
                <a:gd name="connsiteY43" fmla="*/ 38584 h 225957"/>
                <a:gd name="connsiteX44" fmla="*/ 290493 w 397940"/>
                <a:gd name="connsiteY44" fmla="*/ 38500 h 225957"/>
                <a:gd name="connsiteX45" fmla="*/ 291439 w 397940"/>
                <a:gd name="connsiteY45" fmla="*/ 38584 h 225957"/>
                <a:gd name="connsiteX46" fmla="*/ 291944 w 397940"/>
                <a:gd name="connsiteY46" fmla="*/ 39249 h 225957"/>
                <a:gd name="connsiteX47" fmla="*/ 291376 w 397940"/>
                <a:gd name="connsiteY47" fmla="*/ 40249 h 225957"/>
                <a:gd name="connsiteX48" fmla="*/ 291502 w 397940"/>
                <a:gd name="connsiteY48" fmla="*/ 41329 h 225957"/>
                <a:gd name="connsiteX49" fmla="*/ 292195 w 397940"/>
                <a:gd name="connsiteY49" fmla="*/ 42660 h 225957"/>
                <a:gd name="connsiteX50" fmla="*/ 293015 w 397940"/>
                <a:gd name="connsiteY50" fmla="*/ 45733 h 225957"/>
                <a:gd name="connsiteX51" fmla="*/ 293771 w 397940"/>
                <a:gd name="connsiteY51" fmla="*/ 46646 h 225957"/>
                <a:gd name="connsiteX52" fmla="*/ 294274 w 397940"/>
                <a:gd name="connsiteY52" fmla="*/ 47808 h 225957"/>
                <a:gd name="connsiteX53" fmla="*/ 294274 w 397940"/>
                <a:gd name="connsiteY53" fmla="*/ 49135 h 225957"/>
                <a:gd name="connsiteX54" fmla="*/ 293644 w 397940"/>
                <a:gd name="connsiteY54" fmla="*/ 50295 h 225957"/>
                <a:gd name="connsiteX55" fmla="*/ 293203 w 397940"/>
                <a:gd name="connsiteY55" fmla="*/ 51205 h 225957"/>
                <a:gd name="connsiteX56" fmla="*/ 293644 w 397940"/>
                <a:gd name="connsiteY56" fmla="*/ 53275 h 225957"/>
                <a:gd name="connsiteX57" fmla="*/ 295343 w 397940"/>
                <a:gd name="connsiteY57" fmla="*/ 55592 h 225957"/>
                <a:gd name="connsiteX58" fmla="*/ 296604 w 397940"/>
                <a:gd name="connsiteY58" fmla="*/ 56170 h 225957"/>
                <a:gd name="connsiteX59" fmla="*/ 297613 w 397940"/>
                <a:gd name="connsiteY59" fmla="*/ 58236 h 225957"/>
                <a:gd name="connsiteX60" fmla="*/ 299439 w 397940"/>
                <a:gd name="connsiteY60" fmla="*/ 58896 h 225957"/>
                <a:gd name="connsiteX61" fmla="*/ 302147 w 397940"/>
                <a:gd name="connsiteY61" fmla="*/ 57163 h 225957"/>
                <a:gd name="connsiteX62" fmla="*/ 304227 w 397940"/>
                <a:gd name="connsiteY62" fmla="*/ 56254 h 225957"/>
                <a:gd name="connsiteX63" fmla="*/ 306827 w 397940"/>
                <a:gd name="connsiteY63" fmla="*/ 56759 h 225957"/>
                <a:gd name="connsiteX64" fmla="*/ 309228 w 397940"/>
                <a:gd name="connsiteY64" fmla="*/ 57082 h 225957"/>
                <a:gd name="connsiteX65" fmla="*/ 310843 w 397940"/>
                <a:gd name="connsiteY65" fmla="*/ 58263 h 225957"/>
                <a:gd name="connsiteX66" fmla="*/ 312035 w 397940"/>
                <a:gd name="connsiteY66" fmla="*/ 59887 h 225957"/>
                <a:gd name="connsiteX67" fmla="*/ 313422 w 397940"/>
                <a:gd name="connsiteY67" fmla="*/ 60794 h 225957"/>
                <a:gd name="connsiteX68" fmla="*/ 314810 w 397940"/>
                <a:gd name="connsiteY68" fmla="*/ 60320 h 225957"/>
                <a:gd name="connsiteX69" fmla="*/ 317706 w 397940"/>
                <a:gd name="connsiteY69" fmla="*/ 60794 h 225957"/>
                <a:gd name="connsiteX70" fmla="*/ 319029 w 397940"/>
                <a:gd name="connsiteY70" fmla="*/ 62114 h 225957"/>
                <a:gd name="connsiteX71" fmla="*/ 320351 w 397940"/>
                <a:gd name="connsiteY71" fmla="*/ 62856 h 225957"/>
                <a:gd name="connsiteX72" fmla="*/ 322052 w 397940"/>
                <a:gd name="connsiteY72" fmla="*/ 61785 h 225957"/>
                <a:gd name="connsiteX73" fmla="*/ 323439 w 397940"/>
                <a:gd name="connsiteY73" fmla="*/ 60465 h 225957"/>
                <a:gd name="connsiteX74" fmla="*/ 328511 w 397940"/>
                <a:gd name="connsiteY74" fmla="*/ 59082 h 225957"/>
                <a:gd name="connsiteX75" fmla="*/ 331668 w 397940"/>
                <a:gd name="connsiteY75" fmla="*/ 58736 h 225957"/>
                <a:gd name="connsiteX76" fmla="*/ 332549 w 397940"/>
                <a:gd name="connsiteY76" fmla="*/ 58464 h 225957"/>
                <a:gd name="connsiteX77" fmla="*/ 334402 w 397940"/>
                <a:gd name="connsiteY77" fmla="*/ 57476 h 225957"/>
                <a:gd name="connsiteX78" fmla="*/ 336354 w 397940"/>
                <a:gd name="connsiteY78" fmla="*/ 56819 h 225957"/>
                <a:gd name="connsiteX79" fmla="*/ 338116 w 397940"/>
                <a:gd name="connsiteY79" fmla="*/ 56997 h 225957"/>
                <a:gd name="connsiteX80" fmla="*/ 339852 w 397940"/>
                <a:gd name="connsiteY80" fmla="*/ 59049 h 225957"/>
                <a:gd name="connsiteX81" fmla="*/ 341643 w 397940"/>
                <a:gd name="connsiteY81" fmla="*/ 60465 h 225957"/>
                <a:gd name="connsiteX82" fmla="*/ 342146 w 397940"/>
                <a:gd name="connsiteY82" fmla="*/ 62691 h 225957"/>
                <a:gd name="connsiteX83" fmla="*/ 344337 w 397940"/>
                <a:gd name="connsiteY83" fmla="*/ 65753 h 225957"/>
                <a:gd name="connsiteX84" fmla="*/ 349779 w 397940"/>
                <a:gd name="connsiteY84" fmla="*/ 69936 h 225957"/>
                <a:gd name="connsiteX85" fmla="*/ 351915 w 397940"/>
                <a:gd name="connsiteY85" fmla="*/ 71211 h 225957"/>
                <a:gd name="connsiteX86" fmla="*/ 353366 w 397940"/>
                <a:gd name="connsiteY86" fmla="*/ 70986 h 225957"/>
                <a:gd name="connsiteX87" fmla="*/ 354124 w 397940"/>
                <a:gd name="connsiteY87" fmla="*/ 70652 h 225957"/>
                <a:gd name="connsiteX88" fmla="*/ 354476 w 397940"/>
                <a:gd name="connsiteY88" fmla="*/ 70215 h 225957"/>
                <a:gd name="connsiteX89" fmla="*/ 354804 w 397940"/>
                <a:gd name="connsiteY89" fmla="*/ 68170 h 225957"/>
                <a:gd name="connsiteX90" fmla="*/ 355493 w 397940"/>
                <a:gd name="connsiteY90" fmla="*/ 67417 h 225957"/>
                <a:gd name="connsiteX91" fmla="*/ 356596 w 397940"/>
                <a:gd name="connsiteY91" fmla="*/ 67392 h 225957"/>
                <a:gd name="connsiteX92" fmla="*/ 360855 w 397940"/>
                <a:gd name="connsiteY92" fmla="*/ 69940 h 225957"/>
                <a:gd name="connsiteX93" fmla="*/ 363083 w 397940"/>
                <a:gd name="connsiteY93" fmla="*/ 70214 h 225957"/>
                <a:gd name="connsiteX94" fmla="*/ 365201 w 397940"/>
                <a:gd name="connsiteY94" fmla="*/ 70263 h 225957"/>
                <a:gd name="connsiteX95" fmla="*/ 368052 w 397940"/>
                <a:gd name="connsiteY95" fmla="*/ 72240 h 225957"/>
                <a:gd name="connsiteX96" fmla="*/ 371185 w 397940"/>
                <a:gd name="connsiteY96" fmla="*/ 73958 h 225957"/>
                <a:gd name="connsiteX97" fmla="*/ 373603 w 397940"/>
                <a:gd name="connsiteY97" fmla="*/ 74139 h 225957"/>
                <a:gd name="connsiteX98" fmla="*/ 375532 w 397940"/>
                <a:gd name="connsiteY98" fmla="*/ 73467 h 225957"/>
                <a:gd name="connsiteX99" fmla="*/ 376856 w 397940"/>
                <a:gd name="connsiteY99" fmla="*/ 73058 h 225957"/>
                <a:gd name="connsiteX100" fmla="*/ 377674 w 397940"/>
                <a:gd name="connsiteY100" fmla="*/ 73713 h 225957"/>
                <a:gd name="connsiteX101" fmla="*/ 378430 w 397940"/>
                <a:gd name="connsiteY101" fmla="*/ 75190 h 225957"/>
                <a:gd name="connsiteX102" fmla="*/ 379689 w 397940"/>
                <a:gd name="connsiteY102" fmla="*/ 76338 h 225957"/>
                <a:gd name="connsiteX103" fmla="*/ 381138 w 397940"/>
                <a:gd name="connsiteY103" fmla="*/ 76666 h 225957"/>
                <a:gd name="connsiteX104" fmla="*/ 383223 w 397940"/>
                <a:gd name="connsiteY104" fmla="*/ 76741 h 225957"/>
                <a:gd name="connsiteX105" fmla="*/ 386845 w 397940"/>
                <a:gd name="connsiteY105" fmla="*/ 78966 h 225957"/>
                <a:gd name="connsiteX106" fmla="*/ 390250 w 397940"/>
                <a:gd name="connsiteY106" fmla="*/ 81226 h 225957"/>
                <a:gd name="connsiteX107" fmla="*/ 392379 w 397940"/>
                <a:gd name="connsiteY107" fmla="*/ 81351 h 225957"/>
                <a:gd name="connsiteX108" fmla="*/ 394185 w 397940"/>
                <a:gd name="connsiteY108" fmla="*/ 80688 h 225957"/>
                <a:gd name="connsiteX109" fmla="*/ 395780 w 397940"/>
                <a:gd name="connsiteY109" fmla="*/ 80517 h 225957"/>
                <a:gd name="connsiteX110" fmla="*/ 396886 w 397940"/>
                <a:gd name="connsiteY110" fmla="*/ 81087 h 225957"/>
                <a:gd name="connsiteX111" fmla="*/ 397201 w 397940"/>
                <a:gd name="connsiteY111" fmla="*/ 82069 h 225957"/>
                <a:gd name="connsiteX112" fmla="*/ 396381 w 397940"/>
                <a:gd name="connsiteY112" fmla="*/ 83378 h 225957"/>
                <a:gd name="connsiteX113" fmla="*/ 396381 w 397940"/>
                <a:gd name="connsiteY113" fmla="*/ 85258 h 225957"/>
                <a:gd name="connsiteX114" fmla="*/ 397892 w 397940"/>
                <a:gd name="connsiteY114" fmla="*/ 87055 h 225957"/>
                <a:gd name="connsiteX115" fmla="*/ 397940 w 397940"/>
                <a:gd name="connsiteY115" fmla="*/ 88820 h 225957"/>
                <a:gd name="connsiteX116" fmla="*/ 397508 w 397940"/>
                <a:gd name="connsiteY116" fmla="*/ 90413 h 225957"/>
                <a:gd name="connsiteX117" fmla="*/ 396651 w 397940"/>
                <a:gd name="connsiteY117" fmla="*/ 91880 h 225957"/>
                <a:gd name="connsiteX118" fmla="*/ 394580 w 397940"/>
                <a:gd name="connsiteY118" fmla="*/ 93894 h 225957"/>
                <a:gd name="connsiteX119" fmla="*/ 392664 w 397940"/>
                <a:gd name="connsiteY119" fmla="*/ 95773 h 225957"/>
                <a:gd name="connsiteX120" fmla="*/ 389784 w 397940"/>
                <a:gd name="connsiteY120" fmla="*/ 96558 h 225957"/>
                <a:gd name="connsiteX121" fmla="*/ 388171 w 397940"/>
                <a:gd name="connsiteY121" fmla="*/ 97376 h 225957"/>
                <a:gd name="connsiteX122" fmla="*/ 388594 w 397940"/>
                <a:gd name="connsiteY122" fmla="*/ 98755 h 225957"/>
                <a:gd name="connsiteX123" fmla="*/ 389648 w 397940"/>
                <a:gd name="connsiteY123" fmla="*/ 100041 h 225957"/>
                <a:gd name="connsiteX124" fmla="*/ 392090 w 397940"/>
                <a:gd name="connsiteY124" fmla="*/ 101081 h 225957"/>
                <a:gd name="connsiteX125" fmla="*/ 394863 w 397940"/>
                <a:gd name="connsiteY125" fmla="*/ 101838 h 225957"/>
                <a:gd name="connsiteX126" fmla="*/ 395182 w 397940"/>
                <a:gd name="connsiteY126" fmla="*/ 102673 h 225957"/>
                <a:gd name="connsiteX127" fmla="*/ 394759 w 397940"/>
                <a:gd name="connsiteY127" fmla="*/ 103092 h 225957"/>
                <a:gd name="connsiteX128" fmla="*/ 392982 w 397940"/>
                <a:gd name="connsiteY128" fmla="*/ 103480 h 225957"/>
                <a:gd name="connsiteX129" fmla="*/ 390522 w 397940"/>
                <a:gd name="connsiteY129" fmla="*/ 103082 h 225957"/>
                <a:gd name="connsiteX130" fmla="*/ 389704 w 397940"/>
                <a:gd name="connsiteY130" fmla="*/ 103812 h 225957"/>
                <a:gd name="connsiteX131" fmla="*/ 388570 w 397940"/>
                <a:gd name="connsiteY131" fmla="*/ 105028 h 225957"/>
                <a:gd name="connsiteX132" fmla="*/ 387815 w 397940"/>
                <a:gd name="connsiteY132" fmla="*/ 107215 h 225957"/>
                <a:gd name="connsiteX133" fmla="*/ 387246 w 397940"/>
                <a:gd name="connsiteY133" fmla="*/ 109239 h 225957"/>
                <a:gd name="connsiteX134" fmla="*/ 389916 w 397940"/>
                <a:gd name="connsiteY134" fmla="*/ 109788 h 225957"/>
                <a:gd name="connsiteX135" fmla="*/ 391468 w 397940"/>
                <a:gd name="connsiteY135" fmla="*/ 110614 h 225957"/>
                <a:gd name="connsiteX136" fmla="*/ 391952 w 397940"/>
                <a:gd name="connsiteY136" fmla="*/ 112276 h 225957"/>
                <a:gd name="connsiteX137" fmla="*/ 392507 w 397940"/>
                <a:gd name="connsiteY137" fmla="*/ 114123 h 225957"/>
                <a:gd name="connsiteX138" fmla="*/ 392667 w 397940"/>
                <a:gd name="connsiteY138" fmla="*/ 115785 h 225957"/>
                <a:gd name="connsiteX139" fmla="*/ 391783 w 397940"/>
                <a:gd name="connsiteY139" fmla="*/ 116592 h 225957"/>
                <a:gd name="connsiteX140" fmla="*/ 391730 w 397940"/>
                <a:gd name="connsiteY140" fmla="*/ 117418 h 225957"/>
                <a:gd name="connsiteX141" fmla="*/ 392146 w 397940"/>
                <a:gd name="connsiteY141" fmla="*/ 117824 h 225957"/>
                <a:gd name="connsiteX142" fmla="*/ 393293 w 397940"/>
                <a:gd name="connsiteY142" fmla="*/ 118008 h 225957"/>
                <a:gd name="connsiteX143" fmla="*/ 394172 w 397940"/>
                <a:gd name="connsiteY143" fmla="*/ 118377 h 225957"/>
                <a:gd name="connsiteX144" fmla="*/ 394241 w 397940"/>
                <a:gd name="connsiteY144" fmla="*/ 119253 h 225957"/>
                <a:gd name="connsiteX145" fmla="*/ 392561 w 397940"/>
                <a:gd name="connsiteY145" fmla="*/ 121220 h 225957"/>
                <a:gd name="connsiteX146" fmla="*/ 390989 w 397940"/>
                <a:gd name="connsiteY146" fmla="*/ 124979 h 225957"/>
                <a:gd name="connsiteX147" fmla="*/ 390144 w 397940"/>
                <a:gd name="connsiteY147" fmla="*/ 126978 h 225957"/>
                <a:gd name="connsiteX148" fmla="*/ 390209 w 397940"/>
                <a:gd name="connsiteY148" fmla="*/ 129146 h 225957"/>
                <a:gd name="connsiteX149" fmla="*/ 389263 w 397940"/>
                <a:gd name="connsiteY149" fmla="*/ 130350 h 225957"/>
                <a:gd name="connsiteX150" fmla="*/ 387551 w 397940"/>
                <a:gd name="connsiteY150" fmla="*/ 130452 h 225957"/>
                <a:gd name="connsiteX151" fmla="*/ 381636 w 397940"/>
                <a:gd name="connsiteY151" fmla="*/ 130662 h 225957"/>
                <a:gd name="connsiteX152" fmla="*/ 376495 w 397940"/>
                <a:gd name="connsiteY152" fmla="*/ 130559 h 225957"/>
                <a:gd name="connsiteX153" fmla="*/ 374269 w 397940"/>
                <a:gd name="connsiteY153" fmla="*/ 130247 h 225957"/>
                <a:gd name="connsiteX154" fmla="*/ 370785 w 397940"/>
                <a:gd name="connsiteY154" fmla="*/ 130060 h 225957"/>
                <a:gd name="connsiteX155" fmla="*/ 369060 w 397940"/>
                <a:gd name="connsiteY155" fmla="*/ 130570 h 225957"/>
                <a:gd name="connsiteX156" fmla="*/ 366776 w 397940"/>
                <a:gd name="connsiteY156" fmla="*/ 134029 h 225957"/>
                <a:gd name="connsiteX157" fmla="*/ 365044 w 397940"/>
                <a:gd name="connsiteY157" fmla="*/ 135384 h 225957"/>
                <a:gd name="connsiteX158" fmla="*/ 362176 w 397940"/>
                <a:gd name="connsiteY158" fmla="*/ 136607 h 225957"/>
                <a:gd name="connsiteX159" fmla="*/ 359034 w 397940"/>
                <a:gd name="connsiteY159" fmla="*/ 136957 h 225957"/>
                <a:gd name="connsiteX160" fmla="*/ 357233 w 397940"/>
                <a:gd name="connsiteY160" fmla="*/ 138383 h 225957"/>
                <a:gd name="connsiteX161" fmla="*/ 356601 w 397940"/>
                <a:gd name="connsiteY161" fmla="*/ 140618 h 225957"/>
                <a:gd name="connsiteX162" fmla="*/ 356551 w 397940"/>
                <a:gd name="connsiteY162" fmla="*/ 142598 h 225957"/>
                <a:gd name="connsiteX163" fmla="*/ 356257 w 397940"/>
                <a:gd name="connsiteY163" fmla="*/ 143586 h 225957"/>
                <a:gd name="connsiteX164" fmla="*/ 355575 w 397940"/>
                <a:gd name="connsiteY164" fmla="*/ 144452 h 225957"/>
                <a:gd name="connsiteX165" fmla="*/ 355331 w 397940"/>
                <a:gd name="connsiteY165" fmla="*/ 145068 h 225957"/>
                <a:gd name="connsiteX166" fmla="*/ 355477 w 397940"/>
                <a:gd name="connsiteY166" fmla="*/ 145747 h 225957"/>
                <a:gd name="connsiteX167" fmla="*/ 356208 w 397940"/>
                <a:gd name="connsiteY167" fmla="*/ 145994 h 225957"/>
                <a:gd name="connsiteX168" fmla="*/ 357086 w 397940"/>
                <a:gd name="connsiteY168" fmla="*/ 146303 h 225957"/>
                <a:gd name="connsiteX169" fmla="*/ 357086 w 397940"/>
                <a:gd name="connsiteY169" fmla="*/ 146797 h 225957"/>
                <a:gd name="connsiteX170" fmla="*/ 356745 w 397940"/>
                <a:gd name="connsiteY170" fmla="*/ 147414 h 225957"/>
                <a:gd name="connsiteX171" fmla="*/ 355769 w 397940"/>
                <a:gd name="connsiteY171" fmla="*/ 148092 h 225957"/>
                <a:gd name="connsiteX172" fmla="*/ 355331 w 397940"/>
                <a:gd name="connsiteY172" fmla="*/ 149141 h 225957"/>
                <a:gd name="connsiteX173" fmla="*/ 355430 w 397940"/>
                <a:gd name="connsiteY173" fmla="*/ 150249 h 225957"/>
                <a:gd name="connsiteX174" fmla="*/ 355618 w 397940"/>
                <a:gd name="connsiteY174" fmla="*/ 151483 h 225957"/>
                <a:gd name="connsiteX175" fmla="*/ 354821 w 397940"/>
                <a:gd name="connsiteY175" fmla="*/ 151796 h 225957"/>
                <a:gd name="connsiteX176" fmla="*/ 347091 w 397940"/>
                <a:gd name="connsiteY176" fmla="*/ 151360 h 225957"/>
                <a:gd name="connsiteX177" fmla="*/ 340781 w 397940"/>
                <a:gd name="connsiteY177" fmla="*/ 151954 h 225957"/>
                <a:gd name="connsiteX178" fmla="*/ 336281 w 397940"/>
                <a:gd name="connsiteY178" fmla="*/ 156355 h 225957"/>
                <a:gd name="connsiteX179" fmla="*/ 333599 w 397940"/>
                <a:gd name="connsiteY179" fmla="*/ 156343 h 225957"/>
                <a:gd name="connsiteX180" fmla="*/ 329818 w 397940"/>
                <a:gd name="connsiteY180" fmla="*/ 157489 h 225957"/>
                <a:gd name="connsiteX181" fmla="*/ 327263 w 397940"/>
                <a:gd name="connsiteY181" fmla="*/ 158912 h 225957"/>
                <a:gd name="connsiteX182" fmla="*/ 324229 w 397940"/>
                <a:gd name="connsiteY182" fmla="*/ 161995 h 225957"/>
                <a:gd name="connsiteX183" fmla="*/ 321882 w 397940"/>
                <a:gd name="connsiteY183" fmla="*/ 160611 h 225957"/>
                <a:gd name="connsiteX184" fmla="*/ 319010 w 397940"/>
                <a:gd name="connsiteY184" fmla="*/ 160651 h 225957"/>
                <a:gd name="connsiteX185" fmla="*/ 316207 w 397940"/>
                <a:gd name="connsiteY185" fmla="*/ 161490 h 225957"/>
                <a:gd name="connsiteX186" fmla="*/ 312834 w 397940"/>
                <a:gd name="connsiteY186" fmla="*/ 163547 h 225957"/>
                <a:gd name="connsiteX187" fmla="*/ 310958 w 397940"/>
                <a:gd name="connsiteY187" fmla="*/ 163911 h 225957"/>
                <a:gd name="connsiteX188" fmla="*/ 307205 w 397940"/>
                <a:gd name="connsiteY188" fmla="*/ 163319 h 225957"/>
                <a:gd name="connsiteX189" fmla="*/ 302832 w 397940"/>
                <a:gd name="connsiteY189" fmla="*/ 164500 h 225957"/>
                <a:gd name="connsiteX190" fmla="*/ 293391 w 397940"/>
                <a:gd name="connsiteY190" fmla="*/ 171244 h 225957"/>
                <a:gd name="connsiteX191" fmla="*/ 290217 w 397940"/>
                <a:gd name="connsiteY191" fmla="*/ 176160 h 225957"/>
                <a:gd name="connsiteX192" fmla="*/ 289061 w 397940"/>
                <a:gd name="connsiteY192" fmla="*/ 177121 h 225957"/>
                <a:gd name="connsiteX193" fmla="*/ 287468 w 397940"/>
                <a:gd name="connsiteY193" fmla="*/ 178319 h 225957"/>
                <a:gd name="connsiteX194" fmla="*/ 285764 w 397940"/>
                <a:gd name="connsiteY194" fmla="*/ 178924 h 225957"/>
                <a:gd name="connsiteX195" fmla="*/ 284864 w 397940"/>
                <a:gd name="connsiteY195" fmla="*/ 178868 h 225957"/>
                <a:gd name="connsiteX196" fmla="*/ 289357 w 397940"/>
                <a:gd name="connsiteY196" fmla="*/ 175378 h 225957"/>
                <a:gd name="connsiteX197" fmla="*/ 290737 w 397940"/>
                <a:gd name="connsiteY197" fmla="*/ 174068 h 225957"/>
                <a:gd name="connsiteX198" fmla="*/ 290975 w 397940"/>
                <a:gd name="connsiteY198" fmla="*/ 173101 h 225957"/>
                <a:gd name="connsiteX199" fmla="*/ 290998 w 397940"/>
                <a:gd name="connsiteY199" fmla="*/ 171541 h 225957"/>
                <a:gd name="connsiteX200" fmla="*/ 289636 w 397940"/>
                <a:gd name="connsiteY200" fmla="*/ 169601 h 225957"/>
                <a:gd name="connsiteX201" fmla="*/ 285958 w 397940"/>
                <a:gd name="connsiteY201" fmla="*/ 174407 h 225957"/>
                <a:gd name="connsiteX202" fmla="*/ 283868 w 397940"/>
                <a:gd name="connsiteY202" fmla="*/ 175104 h 225957"/>
                <a:gd name="connsiteX203" fmla="*/ 281216 w 397940"/>
                <a:gd name="connsiteY203" fmla="*/ 176548 h 225957"/>
                <a:gd name="connsiteX204" fmla="*/ 281087 w 397940"/>
                <a:gd name="connsiteY204" fmla="*/ 179764 h 225957"/>
                <a:gd name="connsiteX205" fmla="*/ 281387 w 397940"/>
                <a:gd name="connsiteY205" fmla="*/ 182146 h 225957"/>
                <a:gd name="connsiteX206" fmla="*/ 282477 w 397940"/>
                <a:gd name="connsiteY206" fmla="*/ 185142 h 225957"/>
                <a:gd name="connsiteX207" fmla="*/ 285047 w 397940"/>
                <a:gd name="connsiteY207" fmla="*/ 190042 h 225957"/>
                <a:gd name="connsiteX208" fmla="*/ 290295 w 397940"/>
                <a:gd name="connsiteY208" fmla="*/ 197027 h 225957"/>
                <a:gd name="connsiteX209" fmla="*/ 292810 w 397940"/>
                <a:gd name="connsiteY209" fmla="*/ 199588 h 225957"/>
                <a:gd name="connsiteX210" fmla="*/ 294659 w 397940"/>
                <a:gd name="connsiteY210" fmla="*/ 200611 h 225957"/>
                <a:gd name="connsiteX211" fmla="*/ 296881 w 397940"/>
                <a:gd name="connsiteY211" fmla="*/ 200759 h 225957"/>
                <a:gd name="connsiteX212" fmla="*/ 301147 w 397940"/>
                <a:gd name="connsiteY212" fmla="*/ 198607 h 225957"/>
                <a:gd name="connsiteX213" fmla="*/ 302972 w 397940"/>
                <a:gd name="connsiteY213" fmla="*/ 198271 h 225957"/>
                <a:gd name="connsiteX214" fmla="*/ 306939 w 397940"/>
                <a:gd name="connsiteY214" fmla="*/ 199092 h 225957"/>
                <a:gd name="connsiteX215" fmla="*/ 308360 w 397940"/>
                <a:gd name="connsiteY215" fmla="*/ 197653 h 225957"/>
                <a:gd name="connsiteX216" fmla="*/ 310424 w 397940"/>
                <a:gd name="connsiteY216" fmla="*/ 196858 h 225957"/>
                <a:gd name="connsiteX217" fmla="*/ 313074 w 397940"/>
                <a:gd name="connsiteY217" fmla="*/ 196757 h 225957"/>
                <a:gd name="connsiteX218" fmla="*/ 316097 w 397940"/>
                <a:gd name="connsiteY218" fmla="*/ 197402 h 225957"/>
                <a:gd name="connsiteX219" fmla="*/ 319368 w 397940"/>
                <a:gd name="connsiteY219" fmla="*/ 198492 h 225957"/>
                <a:gd name="connsiteX220" fmla="*/ 318025 w 397940"/>
                <a:gd name="connsiteY220" fmla="*/ 200955 h 225957"/>
                <a:gd name="connsiteX221" fmla="*/ 316622 w 397940"/>
                <a:gd name="connsiteY221" fmla="*/ 202913 h 225957"/>
                <a:gd name="connsiteX222" fmla="*/ 316127 w 397940"/>
                <a:gd name="connsiteY222" fmla="*/ 205078 h 225957"/>
                <a:gd name="connsiteX223" fmla="*/ 315352 w 397940"/>
                <a:gd name="connsiteY223" fmla="*/ 207482 h 225957"/>
                <a:gd name="connsiteX224" fmla="*/ 311737 w 397940"/>
                <a:gd name="connsiteY224" fmla="*/ 208560 h 225957"/>
                <a:gd name="connsiteX225" fmla="*/ 307865 w 397940"/>
                <a:gd name="connsiteY225" fmla="*/ 208428 h 225957"/>
                <a:gd name="connsiteX226" fmla="*/ 303782 w 397940"/>
                <a:gd name="connsiteY226" fmla="*/ 209125 h 225957"/>
                <a:gd name="connsiteX227" fmla="*/ 302311 w 397940"/>
                <a:gd name="connsiteY227" fmla="*/ 208187 h 225957"/>
                <a:gd name="connsiteX228" fmla="*/ 301335 w 397940"/>
                <a:gd name="connsiteY228" fmla="*/ 207333 h 225957"/>
                <a:gd name="connsiteX229" fmla="*/ 299524 w 397940"/>
                <a:gd name="connsiteY229" fmla="*/ 206481 h 225957"/>
                <a:gd name="connsiteX230" fmla="*/ 297135 w 397940"/>
                <a:gd name="connsiteY230" fmla="*/ 206006 h 225957"/>
                <a:gd name="connsiteX231" fmla="*/ 294991 w 397940"/>
                <a:gd name="connsiteY231" fmla="*/ 206577 h 225957"/>
                <a:gd name="connsiteX232" fmla="*/ 292454 w 397940"/>
                <a:gd name="connsiteY232" fmla="*/ 209860 h 225957"/>
                <a:gd name="connsiteX233" fmla="*/ 287965 w 397940"/>
                <a:gd name="connsiteY233" fmla="*/ 212102 h 225957"/>
                <a:gd name="connsiteX234" fmla="*/ 286481 w 397940"/>
                <a:gd name="connsiteY234" fmla="*/ 214659 h 225957"/>
                <a:gd name="connsiteX235" fmla="*/ 282061 w 397940"/>
                <a:gd name="connsiteY235" fmla="*/ 214088 h 225957"/>
                <a:gd name="connsiteX236" fmla="*/ 278282 w 397940"/>
                <a:gd name="connsiteY236" fmla="*/ 214536 h 225957"/>
                <a:gd name="connsiteX237" fmla="*/ 272821 w 397940"/>
                <a:gd name="connsiteY237" fmla="*/ 216866 h 225957"/>
                <a:gd name="connsiteX238" fmla="*/ 268660 w 397940"/>
                <a:gd name="connsiteY238" fmla="*/ 221856 h 225957"/>
                <a:gd name="connsiteX239" fmla="*/ 264075 w 397940"/>
                <a:gd name="connsiteY239" fmla="*/ 224972 h 225957"/>
                <a:gd name="connsiteX240" fmla="*/ 260439 w 397940"/>
                <a:gd name="connsiteY240" fmla="*/ 225957 h 225957"/>
                <a:gd name="connsiteX241" fmla="*/ 257027 w 397940"/>
                <a:gd name="connsiteY241" fmla="*/ 225649 h 225957"/>
                <a:gd name="connsiteX242" fmla="*/ 254820 w 397940"/>
                <a:gd name="connsiteY242" fmla="*/ 224717 h 225957"/>
                <a:gd name="connsiteX243" fmla="*/ 250283 w 397940"/>
                <a:gd name="connsiteY243" fmla="*/ 221442 h 225957"/>
                <a:gd name="connsiteX244" fmla="*/ 250549 w 397940"/>
                <a:gd name="connsiteY244" fmla="*/ 220267 h 225957"/>
                <a:gd name="connsiteX245" fmla="*/ 251182 w 397940"/>
                <a:gd name="connsiteY245" fmla="*/ 219674 h 225957"/>
                <a:gd name="connsiteX246" fmla="*/ 252039 w 397940"/>
                <a:gd name="connsiteY246" fmla="*/ 217988 h 225957"/>
                <a:gd name="connsiteX247" fmla="*/ 253855 w 397940"/>
                <a:gd name="connsiteY247" fmla="*/ 211788 h 225957"/>
                <a:gd name="connsiteX248" fmla="*/ 253611 w 397940"/>
                <a:gd name="connsiteY248" fmla="*/ 209776 h 225957"/>
                <a:gd name="connsiteX249" fmla="*/ 252594 w 397940"/>
                <a:gd name="connsiteY249" fmla="*/ 206600 h 225957"/>
                <a:gd name="connsiteX250" fmla="*/ 248996 w 397940"/>
                <a:gd name="connsiteY250" fmla="*/ 204131 h 225957"/>
                <a:gd name="connsiteX251" fmla="*/ 246100 w 397940"/>
                <a:gd name="connsiteY251" fmla="*/ 204599 h 225957"/>
                <a:gd name="connsiteX252" fmla="*/ 244451 w 397940"/>
                <a:gd name="connsiteY252" fmla="*/ 203941 h 225957"/>
                <a:gd name="connsiteX253" fmla="*/ 238519 w 397940"/>
                <a:gd name="connsiteY253" fmla="*/ 199738 h 225957"/>
                <a:gd name="connsiteX254" fmla="*/ 235291 w 397940"/>
                <a:gd name="connsiteY254" fmla="*/ 199440 h 225957"/>
                <a:gd name="connsiteX255" fmla="*/ 231723 w 397940"/>
                <a:gd name="connsiteY255" fmla="*/ 200288 h 225957"/>
                <a:gd name="connsiteX256" fmla="*/ 230408 w 397940"/>
                <a:gd name="connsiteY256" fmla="*/ 199676 h 225957"/>
                <a:gd name="connsiteX257" fmla="*/ 229439 w 397940"/>
                <a:gd name="connsiteY257" fmla="*/ 198210 h 225957"/>
                <a:gd name="connsiteX258" fmla="*/ 236515 w 397940"/>
                <a:gd name="connsiteY258" fmla="*/ 193012 h 225957"/>
                <a:gd name="connsiteX259" fmla="*/ 243464 w 397940"/>
                <a:gd name="connsiteY259" fmla="*/ 188714 h 225957"/>
                <a:gd name="connsiteX260" fmla="*/ 246511 w 397940"/>
                <a:gd name="connsiteY260" fmla="*/ 188272 h 225957"/>
                <a:gd name="connsiteX261" fmla="*/ 250627 w 397940"/>
                <a:gd name="connsiteY261" fmla="*/ 186269 h 225957"/>
                <a:gd name="connsiteX262" fmla="*/ 255019 w 397940"/>
                <a:gd name="connsiteY262" fmla="*/ 183259 h 225957"/>
                <a:gd name="connsiteX263" fmla="*/ 254397 w 397940"/>
                <a:gd name="connsiteY263" fmla="*/ 180890 h 225957"/>
                <a:gd name="connsiteX264" fmla="*/ 253455 w 397940"/>
                <a:gd name="connsiteY264" fmla="*/ 179138 h 225957"/>
                <a:gd name="connsiteX265" fmla="*/ 251348 w 397940"/>
                <a:gd name="connsiteY265" fmla="*/ 179619 h 225957"/>
                <a:gd name="connsiteX266" fmla="*/ 249823 w 397940"/>
                <a:gd name="connsiteY266" fmla="*/ 180206 h 225957"/>
                <a:gd name="connsiteX267" fmla="*/ 246144 w 397940"/>
                <a:gd name="connsiteY267" fmla="*/ 178325 h 225957"/>
                <a:gd name="connsiteX268" fmla="*/ 244790 w 397940"/>
                <a:gd name="connsiteY268" fmla="*/ 176940 h 225957"/>
                <a:gd name="connsiteX269" fmla="*/ 239031 w 397940"/>
                <a:gd name="connsiteY269" fmla="*/ 178377 h 225957"/>
                <a:gd name="connsiteX270" fmla="*/ 235826 w 397940"/>
                <a:gd name="connsiteY270" fmla="*/ 178164 h 225957"/>
                <a:gd name="connsiteX271" fmla="*/ 228748 w 397940"/>
                <a:gd name="connsiteY271" fmla="*/ 179485 h 225957"/>
                <a:gd name="connsiteX272" fmla="*/ 225500 w 397940"/>
                <a:gd name="connsiteY272" fmla="*/ 178195 h 225957"/>
                <a:gd name="connsiteX273" fmla="*/ 218996 w 397940"/>
                <a:gd name="connsiteY273" fmla="*/ 174580 h 225957"/>
                <a:gd name="connsiteX274" fmla="*/ 216551 w 397940"/>
                <a:gd name="connsiteY274" fmla="*/ 173853 h 225957"/>
                <a:gd name="connsiteX275" fmla="*/ 214474 w 397940"/>
                <a:gd name="connsiteY275" fmla="*/ 174007 h 225957"/>
                <a:gd name="connsiteX276" fmla="*/ 213340 w 397940"/>
                <a:gd name="connsiteY276" fmla="*/ 172817 h 225957"/>
                <a:gd name="connsiteX277" fmla="*/ 214731 w 397940"/>
                <a:gd name="connsiteY277" fmla="*/ 172221 h 225957"/>
                <a:gd name="connsiteX278" fmla="*/ 216346 w 397940"/>
                <a:gd name="connsiteY278" fmla="*/ 172151 h 225957"/>
                <a:gd name="connsiteX279" fmla="*/ 218022 w 397940"/>
                <a:gd name="connsiteY279" fmla="*/ 171715 h 225957"/>
                <a:gd name="connsiteX280" fmla="*/ 218495 w 397940"/>
                <a:gd name="connsiteY280" fmla="*/ 171084 h 225957"/>
                <a:gd name="connsiteX281" fmla="*/ 218394 w 397940"/>
                <a:gd name="connsiteY281" fmla="*/ 169897 h 225957"/>
                <a:gd name="connsiteX282" fmla="*/ 215016 w 397940"/>
                <a:gd name="connsiteY282" fmla="*/ 168996 h 225957"/>
                <a:gd name="connsiteX283" fmla="*/ 211874 w 397940"/>
                <a:gd name="connsiteY283" fmla="*/ 168737 h 225957"/>
                <a:gd name="connsiteX284" fmla="*/ 209883 w 397940"/>
                <a:gd name="connsiteY284" fmla="*/ 167669 h 225957"/>
                <a:gd name="connsiteX285" fmla="*/ 208363 w 397940"/>
                <a:gd name="connsiteY285" fmla="*/ 166446 h 225957"/>
                <a:gd name="connsiteX286" fmla="*/ 211926 w 397940"/>
                <a:gd name="connsiteY286" fmla="*/ 166427 h 225957"/>
                <a:gd name="connsiteX287" fmla="*/ 215506 w 397940"/>
                <a:gd name="connsiteY287" fmla="*/ 167352 h 225957"/>
                <a:gd name="connsiteX288" fmla="*/ 221112 w 397940"/>
                <a:gd name="connsiteY288" fmla="*/ 167693 h 225957"/>
                <a:gd name="connsiteX289" fmla="*/ 226195 w 397940"/>
                <a:gd name="connsiteY289" fmla="*/ 168649 h 225957"/>
                <a:gd name="connsiteX290" fmla="*/ 227469 w 397940"/>
                <a:gd name="connsiteY290" fmla="*/ 167460 h 225957"/>
                <a:gd name="connsiteX291" fmla="*/ 230423 w 397940"/>
                <a:gd name="connsiteY291" fmla="*/ 165399 h 225957"/>
                <a:gd name="connsiteX292" fmla="*/ 230987 w 397940"/>
                <a:gd name="connsiteY292" fmla="*/ 164742 h 225957"/>
                <a:gd name="connsiteX293" fmla="*/ 226035 w 397940"/>
                <a:gd name="connsiteY293" fmla="*/ 166153 h 225957"/>
                <a:gd name="connsiteX294" fmla="*/ 221019 w 397940"/>
                <a:gd name="connsiteY294" fmla="*/ 165253 h 225957"/>
                <a:gd name="connsiteX295" fmla="*/ 219186 w 397940"/>
                <a:gd name="connsiteY295" fmla="*/ 163995 h 225957"/>
                <a:gd name="connsiteX296" fmla="*/ 217637 w 397940"/>
                <a:gd name="connsiteY296" fmla="*/ 162151 h 225957"/>
                <a:gd name="connsiteX297" fmla="*/ 216987 w 397940"/>
                <a:gd name="connsiteY297" fmla="*/ 160047 h 225957"/>
                <a:gd name="connsiteX298" fmla="*/ 217411 w 397940"/>
                <a:gd name="connsiteY298" fmla="*/ 158085 h 225957"/>
                <a:gd name="connsiteX299" fmla="*/ 216869 w 397940"/>
                <a:gd name="connsiteY299" fmla="*/ 154539 h 225957"/>
                <a:gd name="connsiteX300" fmla="*/ 215215 w 397940"/>
                <a:gd name="connsiteY300" fmla="*/ 151380 h 225957"/>
                <a:gd name="connsiteX301" fmla="*/ 214628 w 397940"/>
                <a:gd name="connsiteY301" fmla="*/ 149645 h 225957"/>
                <a:gd name="connsiteX302" fmla="*/ 212880 w 397940"/>
                <a:gd name="connsiteY302" fmla="*/ 148089 h 225957"/>
                <a:gd name="connsiteX303" fmla="*/ 214599 w 397940"/>
                <a:gd name="connsiteY303" fmla="*/ 151607 h 225957"/>
                <a:gd name="connsiteX304" fmla="*/ 215241 w 397940"/>
                <a:gd name="connsiteY304" fmla="*/ 153945 h 225957"/>
                <a:gd name="connsiteX305" fmla="*/ 216275 w 397940"/>
                <a:gd name="connsiteY305" fmla="*/ 156097 h 225957"/>
                <a:gd name="connsiteX306" fmla="*/ 216031 w 397940"/>
                <a:gd name="connsiteY306" fmla="*/ 161794 h 225957"/>
                <a:gd name="connsiteX307" fmla="*/ 215394 w 397940"/>
                <a:gd name="connsiteY307" fmla="*/ 163793 h 225957"/>
                <a:gd name="connsiteX308" fmla="*/ 213332 w 397940"/>
                <a:gd name="connsiteY308" fmla="*/ 164297 h 225957"/>
                <a:gd name="connsiteX309" fmla="*/ 210622 w 397940"/>
                <a:gd name="connsiteY309" fmla="*/ 163997 h 225957"/>
                <a:gd name="connsiteX310" fmla="*/ 207860 w 397940"/>
                <a:gd name="connsiteY310" fmla="*/ 163376 h 225957"/>
                <a:gd name="connsiteX311" fmla="*/ 208551 w 397940"/>
                <a:gd name="connsiteY311" fmla="*/ 160245 h 225957"/>
                <a:gd name="connsiteX312" fmla="*/ 207080 w 397940"/>
                <a:gd name="connsiteY312" fmla="*/ 161328 h 225957"/>
                <a:gd name="connsiteX313" fmla="*/ 205003 w 397940"/>
                <a:gd name="connsiteY313" fmla="*/ 164375 h 225957"/>
                <a:gd name="connsiteX314" fmla="*/ 203176 w 397940"/>
                <a:gd name="connsiteY314" fmla="*/ 164829 h 225957"/>
                <a:gd name="connsiteX315" fmla="*/ 199119 w 397940"/>
                <a:gd name="connsiteY315" fmla="*/ 164496 h 225957"/>
                <a:gd name="connsiteX316" fmla="*/ 191589 w 397940"/>
                <a:gd name="connsiteY316" fmla="*/ 166510 h 225957"/>
                <a:gd name="connsiteX317" fmla="*/ 191071 w 397940"/>
                <a:gd name="connsiteY317" fmla="*/ 168702 h 225957"/>
                <a:gd name="connsiteX318" fmla="*/ 189939 w 397940"/>
                <a:gd name="connsiteY318" fmla="*/ 171665 h 225957"/>
                <a:gd name="connsiteX319" fmla="*/ 188847 w 397940"/>
                <a:gd name="connsiteY319" fmla="*/ 173389 h 225957"/>
                <a:gd name="connsiteX320" fmla="*/ 188503 w 397940"/>
                <a:gd name="connsiteY320" fmla="*/ 174428 h 225957"/>
                <a:gd name="connsiteX321" fmla="*/ 185292 w 397940"/>
                <a:gd name="connsiteY321" fmla="*/ 178886 h 225957"/>
                <a:gd name="connsiteX322" fmla="*/ 184882 w 397940"/>
                <a:gd name="connsiteY322" fmla="*/ 179307 h 225957"/>
                <a:gd name="connsiteX323" fmla="*/ 178825 w 397940"/>
                <a:gd name="connsiteY323" fmla="*/ 185475 h 225957"/>
                <a:gd name="connsiteX324" fmla="*/ 178054 w 397940"/>
                <a:gd name="connsiteY324" fmla="*/ 185938 h 225957"/>
                <a:gd name="connsiteX325" fmla="*/ 174128 w 397940"/>
                <a:gd name="connsiteY325" fmla="*/ 187371 h 225957"/>
                <a:gd name="connsiteX326" fmla="*/ 171807 w 397940"/>
                <a:gd name="connsiteY326" fmla="*/ 188626 h 225957"/>
                <a:gd name="connsiteX327" fmla="*/ 170028 w 397940"/>
                <a:gd name="connsiteY327" fmla="*/ 189186 h 225957"/>
                <a:gd name="connsiteX328" fmla="*/ 167017 w 397940"/>
                <a:gd name="connsiteY328" fmla="*/ 188563 h 225957"/>
                <a:gd name="connsiteX329" fmla="*/ 165765 w 397940"/>
                <a:gd name="connsiteY329" fmla="*/ 189451 h 225957"/>
                <a:gd name="connsiteX330" fmla="*/ 165173 w 397940"/>
                <a:gd name="connsiteY330" fmla="*/ 190550 h 225957"/>
                <a:gd name="connsiteX331" fmla="*/ 165162 w 397940"/>
                <a:gd name="connsiteY331" fmla="*/ 192821 h 225957"/>
                <a:gd name="connsiteX332" fmla="*/ 166691 w 397940"/>
                <a:gd name="connsiteY332" fmla="*/ 194452 h 225957"/>
                <a:gd name="connsiteX333" fmla="*/ 167944 w 397940"/>
                <a:gd name="connsiteY333" fmla="*/ 199870 h 225957"/>
                <a:gd name="connsiteX334" fmla="*/ 167477 w 397940"/>
                <a:gd name="connsiteY334" fmla="*/ 202156 h 225957"/>
                <a:gd name="connsiteX335" fmla="*/ 166285 w 397940"/>
                <a:gd name="connsiteY335" fmla="*/ 200676 h 225957"/>
                <a:gd name="connsiteX336" fmla="*/ 164422 w 397940"/>
                <a:gd name="connsiteY336" fmla="*/ 199116 h 225957"/>
                <a:gd name="connsiteX337" fmla="*/ 160796 w 397940"/>
                <a:gd name="connsiteY337" fmla="*/ 197775 h 225957"/>
                <a:gd name="connsiteX338" fmla="*/ 156812 w 397940"/>
                <a:gd name="connsiteY338" fmla="*/ 198234 h 225957"/>
                <a:gd name="connsiteX339" fmla="*/ 152476 w 397940"/>
                <a:gd name="connsiteY339" fmla="*/ 200494 h 225957"/>
                <a:gd name="connsiteX340" fmla="*/ 149533 w 397940"/>
                <a:gd name="connsiteY340" fmla="*/ 201334 h 225957"/>
                <a:gd name="connsiteX341" fmla="*/ 147984 w 397940"/>
                <a:gd name="connsiteY341" fmla="*/ 200754 h 225957"/>
                <a:gd name="connsiteX342" fmla="*/ 147043 w 397940"/>
                <a:gd name="connsiteY342" fmla="*/ 200787 h 225957"/>
                <a:gd name="connsiteX343" fmla="*/ 146708 w 397940"/>
                <a:gd name="connsiteY343" fmla="*/ 201435 h 225957"/>
                <a:gd name="connsiteX344" fmla="*/ 146780 w 397940"/>
                <a:gd name="connsiteY344" fmla="*/ 201965 h 225957"/>
                <a:gd name="connsiteX345" fmla="*/ 147257 w 397940"/>
                <a:gd name="connsiteY345" fmla="*/ 202376 h 225957"/>
                <a:gd name="connsiteX346" fmla="*/ 147187 w 397940"/>
                <a:gd name="connsiteY346" fmla="*/ 202676 h 225957"/>
                <a:gd name="connsiteX347" fmla="*/ 146579 w 397940"/>
                <a:gd name="connsiteY347" fmla="*/ 202863 h 225957"/>
                <a:gd name="connsiteX348" fmla="*/ 139736 w 397940"/>
                <a:gd name="connsiteY348" fmla="*/ 201272 h 225957"/>
                <a:gd name="connsiteX349" fmla="*/ 136782 w 397940"/>
                <a:gd name="connsiteY349" fmla="*/ 199766 h 225957"/>
                <a:gd name="connsiteX350" fmla="*/ 134456 w 397940"/>
                <a:gd name="connsiteY350" fmla="*/ 196930 h 225957"/>
                <a:gd name="connsiteX351" fmla="*/ 135613 w 397940"/>
                <a:gd name="connsiteY351" fmla="*/ 196012 h 225957"/>
                <a:gd name="connsiteX352" fmla="*/ 136620 w 397940"/>
                <a:gd name="connsiteY352" fmla="*/ 195608 h 225957"/>
                <a:gd name="connsiteX353" fmla="*/ 140181 w 397940"/>
                <a:gd name="connsiteY353" fmla="*/ 195372 h 225957"/>
                <a:gd name="connsiteX354" fmla="*/ 140792 w 397940"/>
                <a:gd name="connsiteY354" fmla="*/ 195082 h 225957"/>
                <a:gd name="connsiteX355" fmla="*/ 140852 w 397940"/>
                <a:gd name="connsiteY355" fmla="*/ 194427 h 225957"/>
                <a:gd name="connsiteX356" fmla="*/ 141118 w 397940"/>
                <a:gd name="connsiteY356" fmla="*/ 193579 h 225957"/>
                <a:gd name="connsiteX357" fmla="*/ 141023 w 397940"/>
                <a:gd name="connsiteY357" fmla="*/ 192330 h 225957"/>
                <a:gd name="connsiteX358" fmla="*/ 140627 w 397940"/>
                <a:gd name="connsiteY358" fmla="*/ 191011 h 225957"/>
                <a:gd name="connsiteX359" fmla="*/ 142191 w 397940"/>
                <a:gd name="connsiteY359" fmla="*/ 189084 h 225957"/>
                <a:gd name="connsiteX360" fmla="*/ 144519 w 397940"/>
                <a:gd name="connsiteY360" fmla="*/ 187484 h 225957"/>
                <a:gd name="connsiteX361" fmla="*/ 145883 w 397940"/>
                <a:gd name="connsiteY361" fmla="*/ 185881 h 225957"/>
                <a:gd name="connsiteX362" fmla="*/ 146093 w 397940"/>
                <a:gd name="connsiteY362" fmla="*/ 183532 h 225957"/>
                <a:gd name="connsiteX363" fmla="*/ 148542 w 397940"/>
                <a:gd name="connsiteY363" fmla="*/ 182387 h 225957"/>
                <a:gd name="connsiteX364" fmla="*/ 150714 w 397940"/>
                <a:gd name="connsiteY364" fmla="*/ 180418 h 225957"/>
                <a:gd name="connsiteX365" fmla="*/ 151247 w 397940"/>
                <a:gd name="connsiteY365" fmla="*/ 178270 h 225957"/>
                <a:gd name="connsiteX366" fmla="*/ 152007 w 397940"/>
                <a:gd name="connsiteY366" fmla="*/ 176920 h 225957"/>
                <a:gd name="connsiteX367" fmla="*/ 150625 w 397940"/>
                <a:gd name="connsiteY367" fmla="*/ 173821 h 225957"/>
                <a:gd name="connsiteX368" fmla="*/ 150334 w 397940"/>
                <a:gd name="connsiteY368" fmla="*/ 171775 h 225957"/>
                <a:gd name="connsiteX369" fmla="*/ 150265 w 397940"/>
                <a:gd name="connsiteY369" fmla="*/ 170059 h 225957"/>
                <a:gd name="connsiteX370" fmla="*/ 150949 w 397940"/>
                <a:gd name="connsiteY370" fmla="*/ 169105 h 225957"/>
                <a:gd name="connsiteX371" fmla="*/ 152973 w 397940"/>
                <a:gd name="connsiteY371" fmla="*/ 168036 h 225957"/>
                <a:gd name="connsiteX372" fmla="*/ 155104 w 397940"/>
                <a:gd name="connsiteY372" fmla="*/ 167207 h 225957"/>
                <a:gd name="connsiteX373" fmla="*/ 155987 w 397940"/>
                <a:gd name="connsiteY373" fmla="*/ 167288 h 225957"/>
                <a:gd name="connsiteX374" fmla="*/ 156309 w 397940"/>
                <a:gd name="connsiteY374" fmla="*/ 167816 h 225957"/>
                <a:gd name="connsiteX375" fmla="*/ 156393 w 397940"/>
                <a:gd name="connsiteY375" fmla="*/ 171301 h 225957"/>
                <a:gd name="connsiteX376" fmla="*/ 156819 w 397940"/>
                <a:gd name="connsiteY376" fmla="*/ 171367 h 225957"/>
                <a:gd name="connsiteX377" fmla="*/ 157499 w 397940"/>
                <a:gd name="connsiteY377" fmla="*/ 170933 h 225957"/>
                <a:gd name="connsiteX378" fmla="*/ 158611 w 397940"/>
                <a:gd name="connsiteY378" fmla="*/ 168881 h 225957"/>
                <a:gd name="connsiteX379" fmla="*/ 159377 w 397940"/>
                <a:gd name="connsiteY379" fmla="*/ 169478 h 225957"/>
                <a:gd name="connsiteX380" fmla="*/ 160556 w 397940"/>
                <a:gd name="connsiteY380" fmla="*/ 169705 h 225957"/>
                <a:gd name="connsiteX381" fmla="*/ 161440 w 397940"/>
                <a:gd name="connsiteY381" fmla="*/ 169176 h 225957"/>
                <a:gd name="connsiteX382" fmla="*/ 162014 w 397940"/>
                <a:gd name="connsiteY382" fmla="*/ 169237 h 225957"/>
                <a:gd name="connsiteX383" fmla="*/ 162726 w 397940"/>
                <a:gd name="connsiteY383" fmla="*/ 169767 h 225957"/>
                <a:gd name="connsiteX384" fmla="*/ 164143 w 397940"/>
                <a:gd name="connsiteY384" fmla="*/ 170513 h 225957"/>
                <a:gd name="connsiteX385" fmla="*/ 165467 w 397940"/>
                <a:gd name="connsiteY385" fmla="*/ 170761 h 225957"/>
                <a:gd name="connsiteX386" fmla="*/ 166564 w 397940"/>
                <a:gd name="connsiteY386" fmla="*/ 170264 h 225957"/>
                <a:gd name="connsiteX387" fmla="*/ 167499 w 397940"/>
                <a:gd name="connsiteY387" fmla="*/ 169377 h 225957"/>
                <a:gd name="connsiteX388" fmla="*/ 168497 w 397940"/>
                <a:gd name="connsiteY388" fmla="*/ 169680 h 225957"/>
                <a:gd name="connsiteX389" fmla="*/ 170397 w 397940"/>
                <a:gd name="connsiteY389" fmla="*/ 172100 h 225957"/>
                <a:gd name="connsiteX390" fmla="*/ 171284 w 397940"/>
                <a:gd name="connsiteY390" fmla="*/ 171832 h 225957"/>
                <a:gd name="connsiteX391" fmla="*/ 175655 w 397940"/>
                <a:gd name="connsiteY391" fmla="*/ 171343 h 225957"/>
                <a:gd name="connsiteX392" fmla="*/ 176359 w 397940"/>
                <a:gd name="connsiteY392" fmla="*/ 170685 h 225957"/>
                <a:gd name="connsiteX393" fmla="*/ 176879 w 397940"/>
                <a:gd name="connsiteY393" fmla="*/ 170088 h 225957"/>
                <a:gd name="connsiteX394" fmla="*/ 172308 w 397940"/>
                <a:gd name="connsiteY394" fmla="*/ 166875 h 225957"/>
                <a:gd name="connsiteX395" fmla="*/ 172539 w 397940"/>
                <a:gd name="connsiteY395" fmla="*/ 164481 h 225957"/>
                <a:gd name="connsiteX396" fmla="*/ 172710 w 397940"/>
                <a:gd name="connsiteY396" fmla="*/ 161734 h 225957"/>
                <a:gd name="connsiteX397" fmla="*/ 172170 w 397940"/>
                <a:gd name="connsiteY397" fmla="*/ 160102 h 225957"/>
                <a:gd name="connsiteX398" fmla="*/ 171280 w 397940"/>
                <a:gd name="connsiteY398" fmla="*/ 158807 h 225957"/>
                <a:gd name="connsiteX399" fmla="*/ 167784 w 397940"/>
                <a:gd name="connsiteY399" fmla="*/ 157302 h 225957"/>
                <a:gd name="connsiteX400" fmla="*/ 165087 w 397940"/>
                <a:gd name="connsiteY400" fmla="*/ 155743 h 225957"/>
                <a:gd name="connsiteX401" fmla="*/ 164517 w 397940"/>
                <a:gd name="connsiteY401" fmla="*/ 155040 h 225957"/>
                <a:gd name="connsiteX402" fmla="*/ 164443 w 397940"/>
                <a:gd name="connsiteY402" fmla="*/ 154128 h 225957"/>
                <a:gd name="connsiteX403" fmla="*/ 164329 w 397940"/>
                <a:gd name="connsiteY403" fmla="*/ 152710 h 225957"/>
                <a:gd name="connsiteX404" fmla="*/ 163258 w 397940"/>
                <a:gd name="connsiteY404" fmla="*/ 151492 h 225957"/>
                <a:gd name="connsiteX405" fmla="*/ 163167 w 397940"/>
                <a:gd name="connsiteY405" fmla="*/ 150461 h 225957"/>
                <a:gd name="connsiteX406" fmla="*/ 163850 w 397940"/>
                <a:gd name="connsiteY406" fmla="*/ 148853 h 225957"/>
                <a:gd name="connsiteX407" fmla="*/ 164016 w 397940"/>
                <a:gd name="connsiteY407" fmla="*/ 147139 h 225957"/>
                <a:gd name="connsiteX408" fmla="*/ 163791 w 397940"/>
                <a:gd name="connsiteY408" fmla="*/ 146462 h 225957"/>
                <a:gd name="connsiteX409" fmla="*/ 163161 w 397940"/>
                <a:gd name="connsiteY409" fmla="*/ 145910 h 225957"/>
                <a:gd name="connsiteX410" fmla="*/ 161945 w 397940"/>
                <a:gd name="connsiteY410" fmla="*/ 145856 h 225957"/>
                <a:gd name="connsiteX411" fmla="*/ 160347 w 397940"/>
                <a:gd name="connsiteY411" fmla="*/ 144865 h 225957"/>
                <a:gd name="connsiteX412" fmla="*/ 159250 w 397940"/>
                <a:gd name="connsiteY412" fmla="*/ 143529 h 225957"/>
                <a:gd name="connsiteX413" fmla="*/ 156305 w 397940"/>
                <a:gd name="connsiteY413" fmla="*/ 141602 h 225957"/>
                <a:gd name="connsiteX414" fmla="*/ 155402 w 397940"/>
                <a:gd name="connsiteY414" fmla="*/ 141288 h 225957"/>
                <a:gd name="connsiteX415" fmla="*/ 154851 w 397940"/>
                <a:gd name="connsiteY415" fmla="*/ 140333 h 225957"/>
                <a:gd name="connsiteX416" fmla="*/ 154588 w 397940"/>
                <a:gd name="connsiteY416" fmla="*/ 139192 h 225957"/>
                <a:gd name="connsiteX417" fmla="*/ 155206 w 397940"/>
                <a:gd name="connsiteY417" fmla="*/ 137774 h 225957"/>
                <a:gd name="connsiteX418" fmla="*/ 155983 w 397940"/>
                <a:gd name="connsiteY418" fmla="*/ 135590 h 225957"/>
                <a:gd name="connsiteX419" fmla="*/ 156529 w 397940"/>
                <a:gd name="connsiteY419" fmla="*/ 133539 h 225957"/>
                <a:gd name="connsiteX420" fmla="*/ 156538 w 397940"/>
                <a:gd name="connsiteY420" fmla="*/ 132316 h 225957"/>
                <a:gd name="connsiteX421" fmla="*/ 156177 w 397940"/>
                <a:gd name="connsiteY421" fmla="*/ 129290 h 225957"/>
                <a:gd name="connsiteX422" fmla="*/ 154642 w 397940"/>
                <a:gd name="connsiteY422" fmla="*/ 126975 h 225957"/>
                <a:gd name="connsiteX423" fmla="*/ 153925 w 397940"/>
                <a:gd name="connsiteY423" fmla="*/ 126668 h 225957"/>
                <a:gd name="connsiteX424" fmla="*/ 152686 w 397940"/>
                <a:gd name="connsiteY424" fmla="*/ 127320 h 225957"/>
                <a:gd name="connsiteX425" fmla="*/ 151279 w 397940"/>
                <a:gd name="connsiteY425" fmla="*/ 127865 h 225957"/>
                <a:gd name="connsiteX426" fmla="*/ 150170 w 397940"/>
                <a:gd name="connsiteY426" fmla="*/ 127354 h 225957"/>
                <a:gd name="connsiteX427" fmla="*/ 148902 w 397940"/>
                <a:gd name="connsiteY427" fmla="*/ 126098 h 225957"/>
                <a:gd name="connsiteX428" fmla="*/ 146868 w 397940"/>
                <a:gd name="connsiteY428" fmla="*/ 122599 h 225957"/>
                <a:gd name="connsiteX429" fmla="*/ 143061 w 397940"/>
                <a:gd name="connsiteY429" fmla="*/ 121898 h 225957"/>
                <a:gd name="connsiteX430" fmla="*/ 141487 w 397940"/>
                <a:gd name="connsiteY430" fmla="*/ 121731 h 225957"/>
                <a:gd name="connsiteX431" fmla="*/ 139997 w 397940"/>
                <a:gd name="connsiteY431" fmla="*/ 123420 h 225957"/>
                <a:gd name="connsiteX432" fmla="*/ 139531 w 397940"/>
                <a:gd name="connsiteY432" fmla="*/ 122907 h 225957"/>
                <a:gd name="connsiteX433" fmla="*/ 139112 w 397940"/>
                <a:gd name="connsiteY433" fmla="*/ 121828 h 225957"/>
                <a:gd name="connsiteX434" fmla="*/ 138326 w 397940"/>
                <a:gd name="connsiteY434" fmla="*/ 121397 h 225957"/>
                <a:gd name="connsiteX435" fmla="*/ 137287 w 397940"/>
                <a:gd name="connsiteY435" fmla="*/ 121897 h 225957"/>
                <a:gd name="connsiteX436" fmla="*/ 136987 w 397940"/>
                <a:gd name="connsiteY436" fmla="*/ 121416 h 225957"/>
                <a:gd name="connsiteX437" fmla="*/ 137434 w 397940"/>
                <a:gd name="connsiteY437" fmla="*/ 119957 h 225957"/>
                <a:gd name="connsiteX438" fmla="*/ 136192 w 397940"/>
                <a:gd name="connsiteY438" fmla="*/ 119235 h 225957"/>
                <a:gd name="connsiteX439" fmla="*/ 133268 w 397940"/>
                <a:gd name="connsiteY439" fmla="*/ 119251 h 225957"/>
                <a:gd name="connsiteX440" fmla="*/ 131714 w 397940"/>
                <a:gd name="connsiteY440" fmla="*/ 118713 h 225957"/>
                <a:gd name="connsiteX441" fmla="*/ 131528 w 397940"/>
                <a:gd name="connsiteY441" fmla="*/ 117615 h 225957"/>
                <a:gd name="connsiteX442" fmla="*/ 130608 w 397940"/>
                <a:gd name="connsiteY442" fmla="*/ 116894 h 225957"/>
                <a:gd name="connsiteX443" fmla="*/ 128947 w 397940"/>
                <a:gd name="connsiteY443" fmla="*/ 116547 h 225957"/>
                <a:gd name="connsiteX444" fmla="*/ 127339 w 397940"/>
                <a:gd name="connsiteY444" fmla="*/ 115649 h 225957"/>
                <a:gd name="connsiteX445" fmla="*/ 125778 w 397940"/>
                <a:gd name="connsiteY445" fmla="*/ 114203 h 225957"/>
                <a:gd name="connsiteX446" fmla="*/ 123443 w 397940"/>
                <a:gd name="connsiteY446" fmla="*/ 113260 h 225957"/>
                <a:gd name="connsiteX447" fmla="*/ 120331 w 397940"/>
                <a:gd name="connsiteY447" fmla="*/ 112824 h 225957"/>
                <a:gd name="connsiteX448" fmla="*/ 120077 w 397940"/>
                <a:gd name="connsiteY448" fmla="*/ 112668 h 225957"/>
                <a:gd name="connsiteX449" fmla="*/ 119790 w 397940"/>
                <a:gd name="connsiteY449" fmla="*/ 112460 h 225957"/>
                <a:gd name="connsiteX450" fmla="*/ 117781 w 397940"/>
                <a:gd name="connsiteY450" fmla="*/ 113443 h 225957"/>
                <a:gd name="connsiteX451" fmla="*/ 116574 w 397940"/>
                <a:gd name="connsiteY451" fmla="*/ 114221 h 225957"/>
                <a:gd name="connsiteX452" fmla="*/ 115095 w 397940"/>
                <a:gd name="connsiteY452" fmla="*/ 113737 h 225957"/>
                <a:gd name="connsiteX453" fmla="*/ 112698 w 397940"/>
                <a:gd name="connsiteY453" fmla="*/ 115473 h 225957"/>
                <a:gd name="connsiteX454" fmla="*/ 107833 w 397940"/>
                <a:gd name="connsiteY454" fmla="*/ 115563 h 225957"/>
                <a:gd name="connsiteX455" fmla="*/ 105447 w 397940"/>
                <a:gd name="connsiteY455" fmla="*/ 115459 h 225957"/>
                <a:gd name="connsiteX456" fmla="*/ 104263 w 397940"/>
                <a:gd name="connsiteY456" fmla="*/ 115028 h 225957"/>
                <a:gd name="connsiteX457" fmla="*/ 99694 w 397940"/>
                <a:gd name="connsiteY457" fmla="*/ 117662 h 225957"/>
                <a:gd name="connsiteX458" fmla="*/ 99219 w 397940"/>
                <a:gd name="connsiteY458" fmla="*/ 118632 h 225957"/>
                <a:gd name="connsiteX459" fmla="*/ 98191 w 397940"/>
                <a:gd name="connsiteY459" fmla="*/ 118955 h 225957"/>
                <a:gd name="connsiteX460" fmla="*/ 95315 w 397940"/>
                <a:gd name="connsiteY460" fmla="*/ 119478 h 225957"/>
                <a:gd name="connsiteX461" fmla="*/ 92292 w 397940"/>
                <a:gd name="connsiteY461" fmla="*/ 120220 h 225957"/>
                <a:gd name="connsiteX462" fmla="*/ 91657 w 397940"/>
                <a:gd name="connsiteY462" fmla="*/ 122778 h 225957"/>
                <a:gd name="connsiteX463" fmla="*/ 90756 w 397940"/>
                <a:gd name="connsiteY463" fmla="*/ 124159 h 225957"/>
                <a:gd name="connsiteX464" fmla="*/ 89131 w 397940"/>
                <a:gd name="connsiteY464" fmla="*/ 126186 h 225957"/>
                <a:gd name="connsiteX465" fmla="*/ 83514 w 397940"/>
                <a:gd name="connsiteY465" fmla="*/ 126890 h 225957"/>
                <a:gd name="connsiteX466" fmla="*/ 78662 w 397940"/>
                <a:gd name="connsiteY466" fmla="*/ 127880 h 225957"/>
                <a:gd name="connsiteX467" fmla="*/ 73687 w 397940"/>
                <a:gd name="connsiteY467" fmla="*/ 128491 h 225957"/>
                <a:gd name="connsiteX468" fmla="*/ 67171 w 397940"/>
                <a:gd name="connsiteY468" fmla="*/ 130962 h 225957"/>
                <a:gd name="connsiteX469" fmla="*/ 65053 w 397940"/>
                <a:gd name="connsiteY469" fmla="*/ 133140 h 225957"/>
                <a:gd name="connsiteX470" fmla="*/ 62959 w 397940"/>
                <a:gd name="connsiteY470" fmla="*/ 133747 h 225957"/>
                <a:gd name="connsiteX471" fmla="*/ 61063 w 397940"/>
                <a:gd name="connsiteY471" fmla="*/ 133926 h 225957"/>
                <a:gd name="connsiteX472" fmla="*/ 59836 w 397940"/>
                <a:gd name="connsiteY472" fmla="*/ 132714 h 225957"/>
                <a:gd name="connsiteX473" fmla="*/ 55703 w 397940"/>
                <a:gd name="connsiteY473" fmla="*/ 129457 h 225957"/>
                <a:gd name="connsiteX474" fmla="*/ 54109 w 397940"/>
                <a:gd name="connsiteY474" fmla="*/ 127920 h 225957"/>
                <a:gd name="connsiteX475" fmla="*/ 52013 w 397940"/>
                <a:gd name="connsiteY475" fmla="*/ 127467 h 225957"/>
                <a:gd name="connsiteX476" fmla="*/ 49733 w 397940"/>
                <a:gd name="connsiteY476" fmla="*/ 127723 h 225957"/>
                <a:gd name="connsiteX477" fmla="*/ 47543 w 397940"/>
                <a:gd name="connsiteY477" fmla="*/ 128480 h 225957"/>
                <a:gd name="connsiteX478" fmla="*/ 45239 w 397940"/>
                <a:gd name="connsiteY478" fmla="*/ 128625 h 225957"/>
                <a:gd name="connsiteX479" fmla="*/ 42630 w 397940"/>
                <a:gd name="connsiteY479" fmla="*/ 127533 h 225957"/>
                <a:gd name="connsiteX480" fmla="*/ 42356 w 397940"/>
                <a:gd name="connsiteY480" fmla="*/ 127639 h 225957"/>
                <a:gd name="connsiteX481" fmla="*/ 41350 w 397940"/>
                <a:gd name="connsiteY481" fmla="*/ 127786 h 225957"/>
                <a:gd name="connsiteX482" fmla="*/ 34874 w 397940"/>
                <a:gd name="connsiteY482" fmla="*/ 126466 h 225957"/>
                <a:gd name="connsiteX483" fmla="*/ 34278 w 397940"/>
                <a:gd name="connsiteY483" fmla="*/ 126247 h 225957"/>
                <a:gd name="connsiteX484" fmla="*/ 33991 w 397940"/>
                <a:gd name="connsiteY484" fmla="*/ 126192 h 225957"/>
                <a:gd name="connsiteX485" fmla="*/ 33099 w 397940"/>
                <a:gd name="connsiteY485" fmla="*/ 126093 h 225957"/>
                <a:gd name="connsiteX486" fmla="*/ 28223 w 397940"/>
                <a:gd name="connsiteY486" fmla="*/ 126258 h 225957"/>
                <a:gd name="connsiteX487" fmla="*/ 23677 w 397940"/>
                <a:gd name="connsiteY487" fmla="*/ 123589 h 225957"/>
                <a:gd name="connsiteX488" fmla="*/ 22280 w 397940"/>
                <a:gd name="connsiteY488" fmla="*/ 123508 h 225957"/>
                <a:gd name="connsiteX489" fmla="*/ 21205 w 397940"/>
                <a:gd name="connsiteY489" fmla="*/ 124589 h 225957"/>
                <a:gd name="connsiteX490" fmla="*/ 20408 w 397940"/>
                <a:gd name="connsiteY490" fmla="*/ 125791 h 225957"/>
                <a:gd name="connsiteX491" fmla="*/ 17270 w 397940"/>
                <a:gd name="connsiteY491" fmla="*/ 126984 h 225957"/>
                <a:gd name="connsiteX492" fmla="*/ 16469 w 397940"/>
                <a:gd name="connsiteY492" fmla="*/ 127463 h 225957"/>
                <a:gd name="connsiteX493" fmla="*/ 16014 w 397940"/>
                <a:gd name="connsiteY493" fmla="*/ 127095 h 225957"/>
                <a:gd name="connsiteX494" fmla="*/ 15802 w 397940"/>
                <a:gd name="connsiteY494" fmla="*/ 126058 h 225957"/>
                <a:gd name="connsiteX495" fmla="*/ 16040 w 397940"/>
                <a:gd name="connsiteY495" fmla="*/ 125141 h 225957"/>
                <a:gd name="connsiteX496" fmla="*/ 15575 w 397940"/>
                <a:gd name="connsiteY496" fmla="*/ 124273 h 225957"/>
                <a:gd name="connsiteX497" fmla="*/ 14381 w 397940"/>
                <a:gd name="connsiteY497" fmla="*/ 123287 h 225957"/>
                <a:gd name="connsiteX498" fmla="*/ 14092 w 397940"/>
                <a:gd name="connsiteY498" fmla="*/ 122880 h 225957"/>
                <a:gd name="connsiteX499" fmla="*/ 12598 w 397940"/>
                <a:gd name="connsiteY499" fmla="*/ 122954 h 225957"/>
                <a:gd name="connsiteX500" fmla="*/ 12190 w 397940"/>
                <a:gd name="connsiteY500" fmla="*/ 123050 h 225957"/>
                <a:gd name="connsiteX501" fmla="*/ 12040 w 397940"/>
                <a:gd name="connsiteY501" fmla="*/ 123028 h 225957"/>
                <a:gd name="connsiteX502" fmla="*/ 9963 w 397940"/>
                <a:gd name="connsiteY502" fmla="*/ 122191 h 225957"/>
                <a:gd name="connsiteX503" fmla="*/ 8585 w 397940"/>
                <a:gd name="connsiteY503" fmla="*/ 120174 h 225957"/>
                <a:gd name="connsiteX504" fmla="*/ 6456 w 397940"/>
                <a:gd name="connsiteY504" fmla="*/ 119101 h 225957"/>
                <a:gd name="connsiteX505" fmla="*/ 4828 w 397940"/>
                <a:gd name="connsiteY505" fmla="*/ 118740 h 225957"/>
                <a:gd name="connsiteX506" fmla="*/ 4087 w 397940"/>
                <a:gd name="connsiteY506" fmla="*/ 117875 h 225957"/>
                <a:gd name="connsiteX507" fmla="*/ 3610 w 397940"/>
                <a:gd name="connsiteY507" fmla="*/ 116724 h 225957"/>
                <a:gd name="connsiteX508" fmla="*/ 3102 w 397940"/>
                <a:gd name="connsiteY508" fmla="*/ 115854 h 225957"/>
                <a:gd name="connsiteX509" fmla="*/ 3042 w 397940"/>
                <a:gd name="connsiteY509" fmla="*/ 115772 h 225957"/>
                <a:gd name="connsiteX510" fmla="*/ 2695 w 397940"/>
                <a:gd name="connsiteY510" fmla="*/ 114455 h 225957"/>
                <a:gd name="connsiteX511" fmla="*/ 2196 w 397940"/>
                <a:gd name="connsiteY511" fmla="*/ 114319 h 225957"/>
                <a:gd name="connsiteX512" fmla="*/ 2107 w 397940"/>
                <a:gd name="connsiteY512" fmla="*/ 114284 h 225957"/>
                <a:gd name="connsiteX513" fmla="*/ 0 w 397940"/>
                <a:gd name="connsiteY513" fmla="*/ 114513 h 225957"/>
                <a:gd name="connsiteX514" fmla="*/ 244 w 397940"/>
                <a:gd name="connsiteY514" fmla="*/ 109884 h 225957"/>
                <a:gd name="connsiteX515" fmla="*/ 3612 w 397940"/>
                <a:gd name="connsiteY515" fmla="*/ 106550 h 225957"/>
                <a:gd name="connsiteX516" fmla="*/ 4439 w 397940"/>
                <a:gd name="connsiteY516" fmla="*/ 104866 h 225957"/>
                <a:gd name="connsiteX517" fmla="*/ 5696 w 397940"/>
                <a:gd name="connsiteY517" fmla="*/ 101209 h 225957"/>
                <a:gd name="connsiteX518" fmla="*/ 6638 w 397940"/>
                <a:gd name="connsiteY518" fmla="*/ 99497 h 225957"/>
                <a:gd name="connsiteX519" fmla="*/ 7769 w 397940"/>
                <a:gd name="connsiteY519" fmla="*/ 98079 h 225957"/>
                <a:gd name="connsiteX520" fmla="*/ 8674 w 397940"/>
                <a:gd name="connsiteY520" fmla="*/ 96706 h 225957"/>
                <a:gd name="connsiteX521" fmla="*/ 8996 w 397940"/>
                <a:gd name="connsiteY521" fmla="*/ 95526 h 225957"/>
                <a:gd name="connsiteX522" fmla="*/ 9909 w 397940"/>
                <a:gd name="connsiteY522" fmla="*/ 95398 h 225957"/>
                <a:gd name="connsiteX523" fmla="*/ 12591 w 397940"/>
                <a:gd name="connsiteY523" fmla="*/ 96462 h 225957"/>
                <a:gd name="connsiteX524" fmla="*/ 14990 w 397940"/>
                <a:gd name="connsiteY524" fmla="*/ 97009 h 225957"/>
                <a:gd name="connsiteX525" fmla="*/ 15653 w 397940"/>
                <a:gd name="connsiteY525" fmla="*/ 96491 h 225957"/>
                <a:gd name="connsiteX526" fmla="*/ 15925 w 397940"/>
                <a:gd name="connsiteY526" fmla="*/ 95811 h 225957"/>
                <a:gd name="connsiteX527" fmla="*/ 15815 w 397940"/>
                <a:gd name="connsiteY527" fmla="*/ 95282 h 225957"/>
                <a:gd name="connsiteX528" fmla="*/ 13893 w 397940"/>
                <a:gd name="connsiteY528" fmla="*/ 93712 h 225957"/>
                <a:gd name="connsiteX529" fmla="*/ 12688 w 397940"/>
                <a:gd name="connsiteY529" fmla="*/ 92712 h 225957"/>
                <a:gd name="connsiteX530" fmla="*/ 12615 w 397940"/>
                <a:gd name="connsiteY530" fmla="*/ 92097 h 225957"/>
                <a:gd name="connsiteX531" fmla="*/ 13049 w 397940"/>
                <a:gd name="connsiteY531" fmla="*/ 90717 h 225957"/>
                <a:gd name="connsiteX532" fmla="*/ 13280 w 397940"/>
                <a:gd name="connsiteY532" fmla="*/ 89165 h 225957"/>
                <a:gd name="connsiteX533" fmla="*/ 13003 w 397940"/>
                <a:gd name="connsiteY533" fmla="*/ 87486 h 225957"/>
                <a:gd name="connsiteX534" fmla="*/ 11693 w 397940"/>
                <a:gd name="connsiteY534" fmla="*/ 83762 h 225957"/>
                <a:gd name="connsiteX535" fmla="*/ 11444 w 397940"/>
                <a:gd name="connsiteY535" fmla="*/ 82174 h 225957"/>
                <a:gd name="connsiteX536" fmla="*/ 12699 w 397940"/>
                <a:gd name="connsiteY536" fmla="*/ 80244 h 225957"/>
                <a:gd name="connsiteX537" fmla="*/ 16780 w 397940"/>
                <a:gd name="connsiteY537" fmla="*/ 75641 h 225957"/>
                <a:gd name="connsiteX538" fmla="*/ 18141 w 397940"/>
                <a:gd name="connsiteY538" fmla="*/ 73910 h 225957"/>
                <a:gd name="connsiteX539" fmla="*/ 20000 w 397940"/>
                <a:gd name="connsiteY539" fmla="*/ 71815 h 225957"/>
                <a:gd name="connsiteX540" fmla="*/ 25044 w 397940"/>
                <a:gd name="connsiteY540" fmla="*/ 66799 h 225957"/>
                <a:gd name="connsiteX541" fmla="*/ 28232 w 397940"/>
                <a:gd name="connsiteY541" fmla="*/ 63878 h 225957"/>
                <a:gd name="connsiteX542" fmla="*/ 30389 w 397940"/>
                <a:gd name="connsiteY542" fmla="*/ 62260 h 225957"/>
                <a:gd name="connsiteX543" fmla="*/ 33548 w 397940"/>
                <a:gd name="connsiteY543" fmla="*/ 59445 h 225957"/>
                <a:gd name="connsiteX544" fmla="*/ 34934 w 397940"/>
                <a:gd name="connsiteY544" fmla="*/ 57987 h 225957"/>
                <a:gd name="connsiteX545" fmla="*/ 40704 w 397940"/>
                <a:gd name="connsiteY545" fmla="*/ 57038 h 225957"/>
                <a:gd name="connsiteX546" fmla="*/ 41419 w 397940"/>
                <a:gd name="connsiteY546" fmla="*/ 55675 h 225957"/>
                <a:gd name="connsiteX547" fmla="*/ 42473 w 397940"/>
                <a:gd name="connsiteY547" fmla="*/ 54183 h 225957"/>
                <a:gd name="connsiteX548" fmla="*/ 43297 w 397940"/>
                <a:gd name="connsiteY548" fmla="*/ 53543 h 225957"/>
                <a:gd name="connsiteX549" fmla="*/ 43403 w 397940"/>
                <a:gd name="connsiteY549" fmla="*/ 51027 h 225957"/>
                <a:gd name="connsiteX550" fmla="*/ 42332 w 397940"/>
                <a:gd name="connsiteY550" fmla="*/ 47950 h 225957"/>
                <a:gd name="connsiteX551" fmla="*/ 41471 w 397940"/>
                <a:gd name="connsiteY551" fmla="*/ 46862 h 225957"/>
                <a:gd name="connsiteX552" fmla="*/ 40832 w 397940"/>
                <a:gd name="connsiteY552" fmla="*/ 46121 h 225957"/>
                <a:gd name="connsiteX553" fmla="*/ 41244 w 397940"/>
                <a:gd name="connsiteY553" fmla="*/ 45428 h 225957"/>
                <a:gd name="connsiteX554" fmla="*/ 41883 w 397940"/>
                <a:gd name="connsiteY554" fmla="*/ 45231 h 225957"/>
                <a:gd name="connsiteX555" fmla="*/ 42671 w 397940"/>
                <a:gd name="connsiteY555" fmla="*/ 45133 h 225957"/>
                <a:gd name="connsiteX556" fmla="*/ 43647 w 397940"/>
                <a:gd name="connsiteY556" fmla="*/ 44391 h 225957"/>
                <a:gd name="connsiteX557" fmla="*/ 43427 w 397940"/>
                <a:gd name="connsiteY557" fmla="*/ 43581 h 225957"/>
                <a:gd name="connsiteX558" fmla="*/ 40994 w 397940"/>
                <a:gd name="connsiteY558" fmla="*/ 41606 h 225957"/>
                <a:gd name="connsiteX559" fmla="*/ 39940 w 397940"/>
                <a:gd name="connsiteY559" fmla="*/ 40085 h 225957"/>
                <a:gd name="connsiteX560" fmla="*/ 38290 w 397940"/>
                <a:gd name="connsiteY560" fmla="*/ 36177 h 225957"/>
                <a:gd name="connsiteX561" fmla="*/ 34945 w 397940"/>
                <a:gd name="connsiteY561" fmla="*/ 32109 h 225957"/>
                <a:gd name="connsiteX562" fmla="*/ 33889 w 397940"/>
                <a:gd name="connsiteY562" fmla="*/ 30793 h 225957"/>
                <a:gd name="connsiteX563" fmla="*/ 33738 w 397940"/>
                <a:gd name="connsiteY563" fmla="*/ 29548 h 225957"/>
                <a:gd name="connsiteX564" fmla="*/ 34226 w 397940"/>
                <a:gd name="connsiteY564" fmla="*/ 28303 h 225957"/>
                <a:gd name="connsiteX565" fmla="*/ 33766 w 397940"/>
                <a:gd name="connsiteY565" fmla="*/ 26716 h 225957"/>
                <a:gd name="connsiteX566" fmla="*/ 32581 w 397940"/>
                <a:gd name="connsiteY566" fmla="*/ 24690 h 225957"/>
                <a:gd name="connsiteX567" fmla="*/ 32768 w 397940"/>
                <a:gd name="connsiteY567" fmla="*/ 24471 h 225957"/>
                <a:gd name="connsiteX568" fmla="*/ 32654 w 397940"/>
                <a:gd name="connsiteY568" fmla="*/ 21968 h 225957"/>
                <a:gd name="connsiteX569" fmla="*/ 33496 w 397940"/>
                <a:gd name="connsiteY569" fmla="*/ 21427 h 225957"/>
                <a:gd name="connsiteX570" fmla="*/ 34826 w 397940"/>
                <a:gd name="connsiteY570" fmla="*/ 21061 h 225957"/>
                <a:gd name="connsiteX571" fmla="*/ 36703 w 397940"/>
                <a:gd name="connsiteY571" fmla="*/ 21184 h 225957"/>
                <a:gd name="connsiteX572" fmla="*/ 38307 w 397940"/>
                <a:gd name="connsiteY572" fmla="*/ 21571 h 225957"/>
                <a:gd name="connsiteX573" fmla="*/ 40229 w 397940"/>
                <a:gd name="connsiteY573" fmla="*/ 22716 h 225957"/>
                <a:gd name="connsiteX574" fmla="*/ 40829 w 397940"/>
                <a:gd name="connsiteY574" fmla="*/ 22532 h 225957"/>
                <a:gd name="connsiteX575" fmla="*/ 44114 w 397940"/>
                <a:gd name="connsiteY575" fmla="*/ 20373 h 225957"/>
                <a:gd name="connsiteX576" fmla="*/ 47502 w 397940"/>
                <a:gd name="connsiteY576" fmla="*/ 17130 h 225957"/>
                <a:gd name="connsiteX577" fmla="*/ 48467 w 397940"/>
                <a:gd name="connsiteY577" fmla="*/ 15251 h 225957"/>
                <a:gd name="connsiteX578" fmla="*/ 49311 w 397940"/>
                <a:gd name="connsiteY578" fmla="*/ 14392 h 225957"/>
                <a:gd name="connsiteX579" fmla="*/ 52259 w 397940"/>
                <a:gd name="connsiteY579" fmla="*/ 13933 h 225957"/>
                <a:gd name="connsiteX580" fmla="*/ 54826 w 397940"/>
                <a:gd name="connsiteY580" fmla="*/ 13743 h 225957"/>
                <a:gd name="connsiteX581" fmla="*/ 56459 w 397940"/>
                <a:gd name="connsiteY581" fmla="*/ 13779 h 225957"/>
                <a:gd name="connsiteX582" fmla="*/ 60467 w 397940"/>
                <a:gd name="connsiteY582" fmla="*/ 13459 h 225957"/>
                <a:gd name="connsiteX583" fmla="*/ 62842 w 397940"/>
                <a:gd name="connsiteY583" fmla="*/ 13104 h 225957"/>
                <a:gd name="connsiteX584" fmla="*/ 64896 w 397940"/>
                <a:gd name="connsiteY584" fmla="*/ 12531 h 225957"/>
                <a:gd name="connsiteX585" fmla="*/ 69329 w 397940"/>
                <a:gd name="connsiteY585" fmla="*/ 12318 h 225957"/>
                <a:gd name="connsiteX586" fmla="*/ 76252 w 397940"/>
                <a:gd name="connsiteY586" fmla="*/ 12702 h 225957"/>
                <a:gd name="connsiteX587" fmla="*/ 80795 w 397940"/>
                <a:gd name="connsiteY587" fmla="*/ 12729 h 225957"/>
                <a:gd name="connsiteX588" fmla="*/ 83881 w 397940"/>
                <a:gd name="connsiteY588" fmla="*/ 13034 h 225957"/>
                <a:gd name="connsiteX589" fmla="*/ 91439 w 397940"/>
                <a:gd name="connsiteY589" fmla="*/ 14761 h 225957"/>
                <a:gd name="connsiteX590" fmla="*/ 94252 w 397940"/>
                <a:gd name="connsiteY590" fmla="*/ 15074 h 225957"/>
                <a:gd name="connsiteX591" fmla="*/ 95559 w 397940"/>
                <a:gd name="connsiteY591" fmla="*/ 15988 h 225957"/>
                <a:gd name="connsiteX592" fmla="*/ 98068 w 397940"/>
                <a:gd name="connsiteY592" fmla="*/ 16328 h 225957"/>
                <a:gd name="connsiteX593" fmla="*/ 102635 w 397940"/>
                <a:gd name="connsiteY593" fmla="*/ 17248 h 225957"/>
                <a:gd name="connsiteX594" fmla="*/ 106602 w 397940"/>
                <a:gd name="connsiteY594" fmla="*/ 17741 h 225957"/>
                <a:gd name="connsiteX595" fmla="*/ 109284 w 397940"/>
                <a:gd name="connsiteY595" fmla="*/ 17539 h 225957"/>
                <a:gd name="connsiteX596" fmla="*/ 110785 w 397940"/>
                <a:gd name="connsiteY596" fmla="*/ 17798 h 225957"/>
                <a:gd name="connsiteX597" fmla="*/ 113618 w 397940"/>
                <a:gd name="connsiteY597" fmla="*/ 21877 h 225957"/>
                <a:gd name="connsiteX598" fmla="*/ 114196 w 397940"/>
                <a:gd name="connsiteY598" fmla="*/ 22353 h 225957"/>
                <a:gd name="connsiteX599" fmla="*/ 115332 w 397940"/>
                <a:gd name="connsiteY599" fmla="*/ 22449 h 225957"/>
                <a:gd name="connsiteX600" fmla="*/ 117647 w 397940"/>
                <a:gd name="connsiteY600" fmla="*/ 22097 h 225957"/>
                <a:gd name="connsiteX601" fmla="*/ 120943 w 397940"/>
                <a:gd name="connsiteY601" fmla="*/ 22229 h 225957"/>
                <a:gd name="connsiteX602" fmla="*/ 122897 w 397940"/>
                <a:gd name="connsiteY602" fmla="*/ 23088 h 225957"/>
                <a:gd name="connsiteX603" fmla="*/ 122610 w 397940"/>
                <a:gd name="connsiteY603" fmla="*/ 25513 h 225957"/>
                <a:gd name="connsiteX604" fmla="*/ 123123 w 397940"/>
                <a:gd name="connsiteY604" fmla="*/ 25864 h 225957"/>
                <a:gd name="connsiteX605" fmla="*/ 124037 w 397940"/>
                <a:gd name="connsiteY605" fmla="*/ 25729 h 225957"/>
                <a:gd name="connsiteX606" fmla="*/ 125088 w 397940"/>
                <a:gd name="connsiteY606" fmla="*/ 24360 h 225957"/>
                <a:gd name="connsiteX607" fmla="*/ 125972 w 397940"/>
                <a:gd name="connsiteY607" fmla="*/ 22940 h 225957"/>
                <a:gd name="connsiteX608" fmla="*/ 126630 w 397940"/>
                <a:gd name="connsiteY608" fmla="*/ 22501 h 225957"/>
                <a:gd name="connsiteX609" fmla="*/ 129995 w 397940"/>
                <a:gd name="connsiteY609" fmla="*/ 23460 h 225957"/>
                <a:gd name="connsiteX610" fmla="*/ 131532 w 397940"/>
                <a:gd name="connsiteY610" fmla="*/ 23305 h 225957"/>
                <a:gd name="connsiteX611" fmla="*/ 132951 w 397940"/>
                <a:gd name="connsiteY611" fmla="*/ 22228 h 225957"/>
                <a:gd name="connsiteX612" fmla="*/ 133821 w 397940"/>
                <a:gd name="connsiteY612" fmla="*/ 22045 h 225957"/>
                <a:gd name="connsiteX613" fmla="*/ 136205 w 397940"/>
                <a:gd name="connsiteY613" fmla="*/ 22811 h 225957"/>
                <a:gd name="connsiteX614" fmla="*/ 139146 w 397940"/>
                <a:gd name="connsiteY614" fmla="*/ 23347 h 225957"/>
                <a:gd name="connsiteX615" fmla="*/ 141522 w 397940"/>
                <a:gd name="connsiteY615" fmla="*/ 23381 h 225957"/>
                <a:gd name="connsiteX616" fmla="*/ 143003 w 397940"/>
                <a:gd name="connsiteY616" fmla="*/ 23964 h 225957"/>
                <a:gd name="connsiteX617" fmla="*/ 144080 w 397940"/>
                <a:gd name="connsiteY617" fmla="*/ 26494 h 225957"/>
                <a:gd name="connsiteX618" fmla="*/ 145020 w 397940"/>
                <a:gd name="connsiteY618" fmla="*/ 27013 h 225957"/>
                <a:gd name="connsiteX619" fmla="*/ 145927 w 397940"/>
                <a:gd name="connsiteY619" fmla="*/ 27174 h 225957"/>
                <a:gd name="connsiteX620" fmla="*/ 147298 w 397940"/>
                <a:gd name="connsiteY620" fmla="*/ 24913 h 225957"/>
                <a:gd name="connsiteX621" fmla="*/ 148542 w 397940"/>
                <a:gd name="connsiteY621" fmla="*/ 24036 h 225957"/>
                <a:gd name="connsiteX622" fmla="*/ 150267 w 397940"/>
                <a:gd name="connsiteY622" fmla="*/ 23390 h 225957"/>
                <a:gd name="connsiteX623" fmla="*/ 151377 w 397940"/>
                <a:gd name="connsiteY623" fmla="*/ 23107 h 225957"/>
                <a:gd name="connsiteX624" fmla="*/ 152158 w 397940"/>
                <a:gd name="connsiteY624" fmla="*/ 22308 h 225957"/>
                <a:gd name="connsiteX625" fmla="*/ 153212 w 397940"/>
                <a:gd name="connsiteY625" fmla="*/ 21528 h 225957"/>
                <a:gd name="connsiteX626" fmla="*/ 154126 w 397940"/>
                <a:gd name="connsiteY626" fmla="*/ 21466 h 225957"/>
                <a:gd name="connsiteX627" fmla="*/ 154868 w 397940"/>
                <a:gd name="connsiteY627" fmla="*/ 21768 h 225957"/>
                <a:gd name="connsiteX628" fmla="*/ 155721 w 397940"/>
                <a:gd name="connsiteY628" fmla="*/ 22847 h 225957"/>
                <a:gd name="connsiteX629" fmla="*/ 156965 w 397940"/>
                <a:gd name="connsiteY629" fmla="*/ 25305 h 225957"/>
                <a:gd name="connsiteX630" fmla="*/ 158477 w 397940"/>
                <a:gd name="connsiteY630" fmla="*/ 27771 h 225957"/>
                <a:gd name="connsiteX631" fmla="*/ 159531 w 397940"/>
                <a:gd name="connsiteY631" fmla="*/ 28666 h 225957"/>
                <a:gd name="connsiteX632" fmla="*/ 162254 w 397940"/>
                <a:gd name="connsiteY632" fmla="*/ 27909 h 225957"/>
                <a:gd name="connsiteX633" fmla="*/ 164100 w 397940"/>
                <a:gd name="connsiteY633" fmla="*/ 27139 h 225957"/>
                <a:gd name="connsiteX634" fmla="*/ 167482 w 397940"/>
                <a:gd name="connsiteY634" fmla="*/ 26993 h 225957"/>
                <a:gd name="connsiteX635" fmla="*/ 171964 w 397940"/>
                <a:gd name="connsiteY635" fmla="*/ 26451 h 225957"/>
                <a:gd name="connsiteX636" fmla="*/ 175392 w 397940"/>
                <a:gd name="connsiteY636" fmla="*/ 25745 h 225957"/>
                <a:gd name="connsiteX637" fmla="*/ 177536 w 397940"/>
                <a:gd name="connsiteY637" fmla="*/ 25867 h 225957"/>
                <a:gd name="connsiteX638" fmla="*/ 178836 w 397940"/>
                <a:gd name="connsiteY638" fmla="*/ 26650 h 225957"/>
                <a:gd name="connsiteX639" fmla="*/ 180814 w 397940"/>
                <a:gd name="connsiteY639" fmla="*/ 28166 h 225957"/>
                <a:gd name="connsiteX640" fmla="*/ 181354 w 397940"/>
                <a:gd name="connsiteY640" fmla="*/ 30339 h 225957"/>
                <a:gd name="connsiteX641" fmla="*/ 183921 w 397940"/>
                <a:gd name="connsiteY641" fmla="*/ 31841 h 225957"/>
                <a:gd name="connsiteX642" fmla="*/ 186022 w 397940"/>
                <a:gd name="connsiteY642" fmla="*/ 32112 h 225957"/>
                <a:gd name="connsiteX643" fmla="*/ 186739 w 397940"/>
                <a:gd name="connsiteY643" fmla="*/ 30549 h 225957"/>
                <a:gd name="connsiteX644" fmla="*/ 187968 w 397940"/>
                <a:gd name="connsiteY644" fmla="*/ 29462 h 225957"/>
                <a:gd name="connsiteX645" fmla="*/ 187508 w 397940"/>
                <a:gd name="connsiteY645" fmla="*/ 27968 h 225957"/>
                <a:gd name="connsiteX646" fmla="*/ 187301 w 397940"/>
                <a:gd name="connsiteY646" fmla="*/ 26062 h 225957"/>
                <a:gd name="connsiteX647" fmla="*/ 186380 w 397940"/>
                <a:gd name="connsiteY647" fmla="*/ 24291 h 225957"/>
                <a:gd name="connsiteX648" fmla="*/ 185767 w 397940"/>
                <a:gd name="connsiteY648" fmla="*/ 22384 h 225957"/>
                <a:gd name="connsiteX649" fmla="*/ 186892 w 397940"/>
                <a:gd name="connsiteY649" fmla="*/ 19657 h 225957"/>
                <a:gd name="connsiteX650" fmla="*/ 188121 w 397940"/>
                <a:gd name="connsiteY650" fmla="*/ 17267 h 225957"/>
                <a:gd name="connsiteX651" fmla="*/ 188736 w 397940"/>
                <a:gd name="connsiteY651" fmla="*/ 15968 h 225957"/>
                <a:gd name="connsiteX652" fmla="*/ 190682 w 397940"/>
                <a:gd name="connsiteY652" fmla="*/ 13576 h 225957"/>
                <a:gd name="connsiteX653" fmla="*/ 192682 w 397940"/>
                <a:gd name="connsiteY653" fmla="*/ 11865 h 225957"/>
                <a:gd name="connsiteX654" fmla="*/ 195666 w 397940"/>
                <a:gd name="connsiteY654" fmla="*/ 9111 h 225957"/>
                <a:gd name="connsiteX655" fmla="*/ 197847 w 397940"/>
                <a:gd name="connsiteY655" fmla="*/ 8201 h 225957"/>
                <a:gd name="connsiteX656" fmla="*/ 199818 w 397940"/>
                <a:gd name="connsiteY656" fmla="*/ 8616 h 225957"/>
                <a:gd name="connsiteX657" fmla="*/ 200913 w 397940"/>
                <a:gd name="connsiteY657" fmla="*/ 8992 h 225957"/>
                <a:gd name="connsiteX658" fmla="*/ 203744 w 397940"/>
                <a:gd name="connsiteY658" fmla="*/ 7360 h 225957"/>
                <a:gd name="connsiteX659" fmla="*/ 208780 w 397940"/>
                <a:gd name="connsiteY659" fmla="*/ 7279 h 225957"/>
                <a:gd name="connsiteX660" fmla="*/ 212973 w 397940"/>
                <a:gd name="connsiteY660" fmla="*/ 7487 h 225957"/>
                <a:gd name="connsiteX661" fmla="*/ 213394 w 397940"/>
                <a:gd name="connsiteY661" fmla="*/ 7536 h 225957"/>
                <a:gd name="connsiteX662" fmla="*/ 215455 w 397940"/>
                <a:gd name="connsiteY662" fmla="*/ 8380 h 225957"/>
                <a:gd name="connsiteX663" fmla="*/ 217627 w 397940"/>
                <a:gd name="connsiteY663" fmla="*/ 9098 h 225957"/>
                <a:gd name="connsiteX664" fmla="*/ 219125 w 397940"/>
                <a:gd name="connsiteY664" fmla="*/ 9146 h 225957"/>
                <a:gd name="connsiteX665" fmla="*/ 220909 w 397940"/>
                <a:gd name="connsiteY665" fmla="*/ 8981 h 225957"/>
                <a:gd name="connsiteX666" fmla="*/ 223000 w 397940"/>
                <a:gd name="connsiteY666" fmla="*/ 8024 h 225957"/>
                <a:gd name="connsiteX667" fmla="*/ 224459 w 397940"/>
                <a:gd name="connsiteY667" fmla="*/ 7104 h 225957"/>
                <a:gd name="connsiteX668" fmla="*/ 226232 w 397940"/>
                <a:gd name="connsiteY668" fmla="*/ 2418 h 225957"/>
                <a:gd name="connsiteX669" fmla="*/ 226858 w 397940"/>
                <a:gd name="connsiteY669" fmla="*/ 1744 h 225957"/>
                <a:gd name="connsiteX670" fmla="*/ 227834 w 397940"/>
                <a:gd name="connsiteY670" fmla="*/ 1376 h 225957"/>
                <a:gd name="connsiteX671" fmla="*/ 229437 w 397940"/>
                <a:gd name="connsiteY671" fmla="*/ 1337 h 225957"/>
                <a:gd name="connsiteX672" fmla="*/ 232477 w 397940"/>
                <a:gd name="connsiteY672" fmla="*/ 2211 h 225957"/>
                <a:gd name="connsiteX673" fmla="*/ 236038 w 397940"/>
                <a:gd name="connsiteY673" fmla="*/ 2996 h 225957"/>
                <a:gd name="connsiteX674" fmla="*/ 238100 w 397940"/>
                <a:gd name="connsiteY674" fmla="*/ 2886 h 225957"/>
                <a:gd name="connsiteX675" fmla="*/ 243600 w 397940"/>
                <a:gd name="connsiteY675" fmla="*/ 390 h 22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Lst>
              <a:rect l="l" t="t" r="r" b="b"/>
              <a:pathLst>
                <a:path w="397940" h="225957">
                  <a:moveTo>
                    <a:pt x="207344" y="171473"/>
                  </a:moveTo>
                  <a:lnTo>
                    <a:pt x="209026" y="173412"/>
                  </a:lnTo>
                  <a:lnTo>
                    <a:pt x="210212" y="174260"/>
                  </a:lnTo>
                  <a:lnTo>
                    <a:pt x="218475" y="176160"/>
                  </a:lnTo>
                  <a:lnTo>
                    <a:pt x="221524" y="177522"/>
                  </a:lnTo>
                  <a:lnTo>
                    <a:pt x="218413" y="177159"/>
                  </a:lnTo>
                  <a:lnTo>
                    <a:pt x="211576" y="175879"/>
                  </a:lnTo>
                  <a:lnTo>
                    <a:pt x="208562" y="174670"/>
                  </a:lnTo>
                  <a:lnTo>
                    <a:pt x="207784" y="173318"/>
                  </a:lnTo>
                  <a:close/>
                  <a:moveTo>
                    <a:pt x="246666" y="0"/>
                  </a:moveTo>
                  <a:lnTo>
                    <a:pt x="250309" y="587"/>
                  </a:lnTo>
                  <a:lnTo>
                    <a:pt x="253881" y="622"/>
                  </a:lnTo>
                  <a:lnTo>
                    <a:pt x="256576" y="261"/>
                  </a:lnTo>
                  <a:lnTo>
                    <a:pt x="258424" y="1126"/>
                  </a:lnTo>
                  <a:lnTo>
                    <a:pt x="260707" y="3030"/>
                  </a:lnTo>
                  <a:lnTo>
                    <a:pt x="262769" y="5862"/>
                  </a:lnTo>
                  <a:lnTo>
                    <a:pt x="264930" y="11080"/>
                  </a:lnTo>
                  <a:lnTo>
                    <a:pt x="271227" y="16962"/>
                  </a:lnTo>
                  <a:lnTo>
                    <a:pt x="271335" y="18109"/>
                  </a:lnTo>
                  <a:lnTo>
                    <a:pt x="270817" y="18846"/>
                  </a:lnTo>
                  <a:lnTo>
                    <a:pt x="267718" y="19561"/>
                  </a:lnTo>
                  <a:lnTo>
                    <a:pt x="265107" y="19946"/>
                  </a:lnTo>
                  <a:lnTo>
                    <a:pt x="264982" y="20953"/>
                  </a:lnTo>
                  <a:lnTo>
                    <a:pt x="265675" y="22042"/>
                  </a:lnTo>
                  <a:lnTo>
                    <a:pt x="266872" y="23635"/>
                  </a:lnTo>
                  <a:lnTo>
                    <a:pt x="267057" y="25685"/>
                  </a:lnTo>
                  <a:lnTo>
                    <a:pt x="266997" y="27569"/>
                  </a:lnTo>
                  <a:lnTo>
                    <a:pt x="267513" y="29233"/>
                  </a:lnTo>
                  <a:lnTo>
                    <a:pt x="268511" y="29909"/>
                  </a:lnTo>
                  <a:lnTo>
                    <a:pt x="268636" y="30745"/>
                  </a:lnTo>
                  <a:lnTo>
                    <a:pt x="267481" y="31766"/>
                  </a:lnTo>
                  <a:lnTo>
                    <a:pt x="267159" y="32396"/>
                  </a:lnTo>
                  <a:lnTo>
                    <a:pt x="267608" y="32735"/>
                  </a:lnTo>
                  <a:lnTo>
                    <a:pt x="273287" y="32932"/>
                  </a:lnTo>
                  <a:lnTo>
                    <a:pt x="276068" y="33926"/>
                  </a:lnTo>
                  <a:lnTo>
                    <a:pt x="278180" y="34831"/>
                  </a:lnTo>
                  <a:lnTo>
                    <a:pt x="279243" y="34915"/>
                  </a:lnTo>
                  <a:lnTo>
                    <a:pt x="281635" y="34333"/>
                  </a:lnTo>
                  <a:lnTo>
                    <a:pt x="284326" y="33966"/>
                  </a:lnTo>
                  <a:lnTo>
                    <a:pt x="285958" y="33917"/>
                  </a:lnTo>
                  <a:lnTo>
                    <a:pt x="286589" y="34584"/>
                  </a:lnTo>
                  <a:lnTo>
                    <a:pt x="287092" y="36334"/>
                  </a:lnTo>
                  <a:lnTo>
                    <a:pt x="288038" y="38084"/>
                  </a:lnTo>
                  <a:lnTo>
                    <a:pt x="288921" y="38584"/>
                  </a:lnTo>
                  <a:lnTo>
                    <a:pt x="290493" y="38500"/>
                  </a:lnTo>
                  <a:lnTo>
                    <a:pt x="291439" y="38584"/>
                  </a:lnTo>
                  <a:lnTo>
                    <a:pt x="291944" y="39249"/>
                  </a:lnTo>
                  <a:lnTo>
                    <a:pt x="291376" y="40249"/>
                  </a:lnTo>
                  <a:lnTo>
                    <a:pt x="291502" y="41329"/>
                  </a:lnTo>
                  <a:lnTo>
                    <a:pt x="292195" y="42660"/>
                  </a:lnTo>
                  <a:lnTo>
                    <a:pt x="293015" y="45733"/>
                  </a:lnTo>
                  <a:lnTo>
                    <a:pt x="293771" y="46646"/>
                  </a:lnTo>
                  <a:lnTo>
                    <a:pt x="294274" y="47808"/>
                  </a:lnTo>
                  <a:lnTo>
                    <a:pt x="294274" y="49135"/>
                  </a:lnTo>
                  <a:lnTo>
                    <a:pt x="293644" y="50295"/>
                  </a:lnTo>
                  <a:lnTo>
                    <a:pt x="293203" y="51205"/>
                  </a:lnTo>
                  <a:lnTo>
                    <a:pt x="293644" y="53275"/>
                  </a:lnTo>
                  <a:lnTo>
                    <a:pt x="295343" y="55592"/>
                  </a:lnTo>
                  <a:lnTo>
                    <a:pt x="296604" y="56170"/>
                  </a:lnTo>
                  <a:lnTo>
                    <a:pt x="297613" y="58236"/>
                  </a:lnTo>
                  <a:lnTo>
                    <a:pt x="299439" y="58896"/>
                  </a:lnTo>
                  <a:lnTo>
                    <a:pt x="302147" y="57163"/>
                  </a:lnTo>
                  <a:lnTo>
                    <a:pt x="304227" y="56254"/>
                  </a:lnTo>
                  <a:lnTo>
                    <a:pt x="306827" y="56759"/>
                  </a:lnTo>
                  <a:lnTo>
                    <a:pt x="309228" y="57082"/>
                  </a:lnTo>
                  <a:lnTo>
                    <a:pt x="310843" y="58263"/>
                  </a:lnTo>
                  <a:lnTo>
                    <a:pt x="312035" y="59887"/>
                  </a:lnTo>
                  <a:lnTo>
                    <a:pt x="313422" y="60794"/>
                  </a:lnTo>
                  <a:lnTo>
                    <a:pt x="314810" y="60320"/>
                  </a:lnTo>
                  <a:lnTo>
                    <a:pt x="317706" y="60794"/>
                  </a:lnTo>
                  <a:lnTo>
                    <a:pt x="319029" y="62114"/>
                  </a:lnTo>
                  <a:lnTo>
                    <a:pt x="320351" y="62856"/>
                  </a:lnTo>
                  <a:lnTo>
                    <a:pt x="322052" y="61785"/>
                  </a:lnTo>
                  <a:lnTo>
                    <a:pt x="323439" y="60465"/>
                  </a:lnTo>
                  <a:lnTo>
                    <a:pt x="328511" y="59082"/>
                  </a:lnTo>
                  <a:lnTo>
                    <a:pt x="331668" y="58736"/>
                  </a:lnTo>
                  <a:lnTo>
                    <a:pt x="332549" y="58464"/>
                  </a:lnTo>
                  <a:lnTo>
                    <a:pt x="334402" y="57476"/>
                  </a:lnTo>
                  <a:lnTo>
                    <a:pt x="336354" y="56819"/>
                  </a:lnTo>
                  <a:lnTo>
                    <a:pt x="338116" y="56997"/>
                  </a:lnTo>
                  <a:lnTo>
                    <a:pt x="339852" y="59049"/>
                  </a:lnTo>
                  <a:lnTo>
                    <a:pt x="341643" y="60465"/>
                  </a:lnTo>
                  <a:lnTo>
                    <a:pt x="342146" y="62691"/>
                  </a:lnTo>
                  <a:lnTo>
                    <a:pt x="344337" y="65753"/>
                  </a:lnTo>
                  <a:lnTo>
                    <a:pt x="349779" y="69936"/>
                  </a:lnTo>
                  <a:lnTo>
                    <a:pt x="351915" y="71211"/>
                  </a:lnTo>
                  <a:lnTo>
                    <a:pt x="353366" y="70986"/>
                  </a:lnTo>
                  <a:lnTo>
                    <a:pt x="354124" y="70652"/>
                  </a:lnTo>
                  <a:lnTo>
                    <a:pt x="354476" y="70215"/>
                  </a:lnTo>
                  <a:lnTo>
                    <a:pt x="354804" y="68170"/>
                  </a:lnTo>
                  <a:lnTo>
                    <a:pt x="355493" y="67417"/>
                  </a:lnTo>
                  <a:lnTo>
                    <a:pt x="356596" y="67392"/>
                  </a:lnTo>
                  <a:lnTo>
                    <a:pt x="360855" y="69940"/>
                  </a:lnTo>
                  <a:lnTo>
                    <a:pt x="363083" y="70214"/>
                  </a:lnTo>
                  <a:lnTo>
                    <a:pt x="365201" y="70263"/>
                  </a:lnTo>
                  <a:lnTo>
                    <a:pt x="368052" y="72240"/>
                  </a:lnTo>
                  <a:lnTo>
                    <a:pt x="371185" y="73958"/>
                  </a:lnTo>
                  <a:lnTo>
                    <a:pt x="373603" y="74139"/>
                  </a:lnTo>
                  <a:lnTo>
                    <a:pt x="375532" y="73467"/>
                  </a:lnTo>
                  <a:lnTo>
                    <a:pt x="376856" y="73058"/>
                  </a:lnTo>
                  <a:lnTo>
                    <a:pt x="377674" y="73713"/>
                  </a:lnTo>
                  <a:lnTo>
                    <a:pt x="378430" y="75190"/>
                  </a:lnTo>
                  <a:lnTo>
                    <a:pt x="379689" y="76338"/>
                  </a:lnTo>
                  <a:lnTo>
                    <a:pt x="381138" y="76666"/>
                  </a:lnTo>
                  <a:lnTo>
                    <a:pt x="383223" y="76741"/>
                  </a:lnTo>
                  <a:lnTo>
                    <a:pt x="386845" y="78966"/>
                  </a:lnTo>
                  <a:lnTo>
                    <a:pt x="390250" y="81226"/>
                  </a:lnTo>
                  <a:lnTo>
                    <a:pt x="392379" y="81351"/>
                  </a:lnTo>
                  <a:lnTo>
                    <a:pt x="394185" y="80688"/>
                  </a:lnTo>
                  <a:lnTo>
                    <a:pt x="395780" y="80517"/>
                  </a:lnTo>
                  <a:lnTo>
                    <a:pt x="396886" y="81087"/>
                  </a:lnTo>
                  <a:lnTo>
                    <a:pt x="397201" y="82069"/>
                  </a:lnTo>
                  <a:lnTo>
                    <a:pt x="396381" y="83378"/>
                  </a:lnTo>
                  <a:lnTo>
                    <a:pt x="396381" y="85258"/>
                  </a:lnTo>
                  <a:lnTo>
                    <a:pt x="397892" y="87055"/>
                  </a:lnTo>
                  <a:lnTo>
                    <a:pt x="397940" y="88820"/>
                  </a:lnTo>
                  <a:lnTo>
                    <a:pt x="397508" y="90413"/>
                  </a:lnTo>
                  <a:lnTo>
                    <a:pt x="396651" y="91880"/>
                  </a:lnTo>
                  <a:lnTo>
                    <a:pt x="394580" y="93894"/>
                  </a:lnTo>
                  <a:lnTo>
                    <a:pt x="392664" y="95773"/>
                  </a:lnTo>
                  <a:lnTo>
                    <a:pt x="389784" y="96558"/>
                  </a:lnTo>
                  <a:lnTo>
                    <a:pt x="388171" y="97376"/>
                  </a:lnTo>
                  <a:lnTo>
                    <a:pt x="388594" y="98755"/>
                  </a:lnTo>
                  <a:lnTo>
                    <a:pt x="389648" y="100041"/>
                  </a:lnTo>
                  <a:lnTo>
                    <a:pt x="392090" y="101081"/>
                  </a:lnTo>
                  <a:lnTo>
                    <a:pt x="394863" y="101838"/>
                  </a:lnTo>
                  <a:lnTo>
                    <a:pt x="395182" y="102673"/>
                  </a:lnTo>
                  <a:lnTo>
                    <a:pt x="394759" y="103092"/>
                  </a:lnTo>
                  <a:lnTo>
                    <a:pt x="392982" y="103480"/>
                  </a:lnTo>
                  <a:lnTo>
                    <a:pt x="390522" y="103082"/>
                  </a:lnTo>
                  <a:lnTo>
                    <a:pt x="389704" y="103812"/>
                  </a:lnTo>
                  <a:lnTo>
                    <a:pt x="388570" y="105028"/>
                  </a:lnTo>
                  <a:lnTo>
                    <a:pt x="387815" y="107215"/>
                  </a:lnTo>
                  <a:lnTo>
                    <a:pt x="387246" y="109239"/>
                  </a:lnTo>
                  <a:lnTo>
                    <a:pt x="389916" y="109788"/>
                  </a:lnTo>
                  <a:lnTo>
                    <a:pt x="391468" y="110614"/>
                  </a:lnTo>
                  <a:lnTo>
                    <a:pt x="391952" y="112276"/>
                  </a:lnTo>
                  <a:lnTo>
                    <a:pt x="392507" y="114123"/>
                  </a:lnTo>
                  <a:lnTo>
                    <a:pt x="392667" y="115785"/>
                  </a:lnTo>
                  <a:lnTo>
                    <a:pt x="391783" y="116592"/>
                  </a:lnTo>
                  <a:lnTo>
                    <a:pt x="391730" y="117418"/>
                  </a:lnTo>
                  <a:lnTo>
                    <a:pt x="392146" y="117824"/>
                  </a:lnTo>
                  <a:lnTo>
                    <a:pt x="393293" y="118008"/>
                  </a:lnTo>
                  <a:lnTo>
                    <a:pt x="394172" y="118377"/>
                  </a:lnTo>
                  <a:lnTo>
                    <a:pt x="394241" y="119253"/>
                  </a:lnTo>
                  <a:lnTo>
                    <a:pt x="392561" y="121220"/>
                  </a:lnTo>
                  <a:lnTo>
                    <a:pt x="390989" y="124979"/>
                  </a:lnTo>
                  <a:lnTo>
                    <a:pt x="390144" y="126978"/>
                  </a:lnTo>
                  <a:lnTo>
                    <a:pt x="390209" y="129146"/>
                  </a:lnTo>
                  <a:lnTo>
                    <a:pt x="389263" y="130350"/>
                  </a:lnTo>
                  <a:lnTo>
                    <a:pt x="387551" y="130452"/>
                  </a:lnTo>
                  <a:lnTo>
                    <a:pt x="381636" y="130662"/>
                  </a:lnTo>
                  <a:lnTo>
                    <a:pt x="376495" y="130559"/>
                  </a:lnTo>
                  <a:lnTo>
                    <a:pt x="374269" y="130247"/>
                  </a:lnTo>
                  <a:lnTo>
                    <a:pt x="370785" y="130060"/>
                  </a:lnTo>
                  <a:lnTo>
                    <a:pt x="369060" y="130570"/>
                  </a:lnTo>
                  <a:lnTo>
                    <a:pt x="366776" y="134029"/>
                  </a:lnTo>
                  <a:lnTo>
                    <a:pt x="365044" y="135384"/>
                  </a:lnTo>
                  <a:lnTo>
                    <a:pt x="362176" y="136607"/>
                  </a:lnTo>
                  <a:lnTo>
                    <a:pt x="359034" y="136957"/>
                  </a:lnTo>
                  <a:lnTo>
                    <a:pt x="357233" y="138383"/>
                  </a:lnTo>
                  <a:lnTo>
                    <a:pt x="356601" y="140618"/>
                  </a:lnTo>
                  <a:lnTo>
                    <a:pt x="356551" y="142598"/>
                  </a:lnTo>
                  <a:lnTo>
                    <a:pt x="356257" y="143586"/>
                  </a:lnTo>
                  <a:lnTo>
                    <a:pt x="355575" y="144452"/>
                  </a:lnTo>
                  <a:lnTo>
                    <a:pt x="355331" y="145068"/>
                  </a:lnTo>
                  <a:lnTo>
                    <a:pt x="355477" y="145747"/>
                  </a:lnTo>
                  <a:lnTo>
                    <a:pt x="356208" y="145994"/>
                  </a:lnTo>
                  <a:lnTo>
                    <a:pt x="357086" y="146303"/>
                  </a:lnTo>
                  <a:lnTo>
                    <a:pt x="357086" y="146797"/>
                  </a:lnTo>
                  <a:lnTo>
                    <a:pt x="356745" y="147414"/>
                  </a:lnTo>
                  <a:lnTo>
                    <a:pt x="355769" y="148092"/>
                  </a:lnTo>
                  <a:lnTo>
                    <a:pt x="355331" y="149141"/>
                  </a:lnTo>
                  <a:lnTo>
                    <a:pt x="355430" y="150249"/>
                  </a:lnTo>
                  <a:lnTo>
                    <a:pt x="355618" y="151483"/>
                  </a:lnTo>
                  <a:lnTo>
                    <a:pt x="354821" y="151796"/>
                  </a:lnTo>
                  <a:lnTo>
                    <a:pt x="347091" y="151360"/>
                  </a:lnTo>
                  <a:lnTo>
                    <a:pt x="340781" y="151954"/>
                  </a:lnTo>
                  <a:lnTo>
                    <a:pt x="336281" y="156355"/>
                  </a:lnTo>
                  <a:lnTo>
                    <a:pt x="333599" y="156343"/>
                  </a:lnTo>
                  <a:lnTo>
                    <a:pt x="329818" y="157489"/>
                  </a:lnTo>
                  <a:lnTo>
                    <a:pt x="327263" y="158912"/>
                  </a:lnTo>
                  <a:lnTo>
                    <a:pt x="324229" y="161995"/>
                  </a:lnTo>
                  <a:lnTo>
                    <a:pt x="321882" y="160611"/>
                  </a:lnTo>
                  <a:lnTo>
                    <a:pt x="319010" y="160651"/>
                  </a:lnTo>
                  <a:lnTo>
                    <a:pt x="316207" y="161490"/>
                  </a:lnTo>
                  <a:lnTo>
                    <a:pt x="312834" y="163547"/>
                  </a:lnTo>
                  <a:lnTo>
                    <a:pt x="310958" y="163911"/>
                  </a:lnTo>
                  <a:lnTo>
                    <a:pt x="307205" y="163319"/>
                  </a:lnTo>
                  <a:lnTo>
                    <a:pt x="302832" y="164500"/>
                  </a:lnTo>
                  <a:lnTo>
                    <a:pt x="293391" y="171244"/>
                  </a:lnTo>
                  <a:lnTo>
                    <a:pt x="290217" y="176160"/>
                  </a:lnTo>
                  <a:lnTo>
                    <a:pt x="289061" y="177121"/>
                  </a:lnTo>
                  <a:lnTo>
                    <a:pt x="287468" y="178319"/>
                  </a:lnTo>
                  <a:lnTo>
                    <a:pt x="285764" y="178924"/>
                  </a:lnTo>
                  <a:lnTo>
                    <a:pt x="284864" y="178868"/>
                  </a:lnTo>
                  <a:lnTo>
                    <a:pt x="289357" y="175378"/>
                  </a:lnTo>
                  <a:lnTo>
                    <a:pt x="290737" y="174068"/>
                  </a:lnTo>
                  <a:lnTo>
                    <a:pt x="290975" y="173101"/>
                  </a:lnTo>
                  <a:lnTo>
                    <a:pt x="290998" y="171541"/>
                  </a:lnTo>
                  <a:lnTo>
                    <a:pt x="289636" y="169601"/>
                  </a:lnTo>
                  <a:lnTo>
                    <a:pt x="285958" y="174407"/>
                  </a:lnTo>
                  <a:lnTo>
                    <a:pt x="283868" y="175104"/>
                  </a:lnTo>
                  <a:lnTo>
                    <a:pt x="281216" y="176548"/>
                  </a:lnTo>
                  <a:lnTo>
                    <a:pt x="281087" y="179764"/>
                  </a:lnTo>
                  <a:lnTo>
                    <a:pt x="281387" y="182146"/>
                  </a:lnTo>
                  <a:lnTo>
                    <a:pt x="282477" y="185142"/>
                  </a:lnTo>
                  <a:lnTo>
                    <a:pt x="285047" y="190042"/>
                  </a:lnTo>
                  <a:lnTo>
                    <a:pt x="290295" y="197027"/>
                  </a:lnTo>
                  <a:lnTo>
                    <a:pt x="292810" y="199588"/>
                  </a:lnTo>
                  <a:lnTo>
                    <a:pt x="294659" y="200611"/>
                  </a:lnTo>
                  <a:lnTo>
                    <a:pt x="296881" y="200759"/>
                  </a:lnTo>
                  <a:lnTo>
                    <a:pt x="301147" y="198607"/>
                  </a:lnTo>
                  <a:lnTo>
                    <a:pt x="302972" y="198271"/>
                  </a:lnTo>
                  <a:lnTo>
                    <a:pt x="306939" y="199092"/>
                  </a:lnTo>
                  <a:lnTo>
                    <a:pt x="308360" y="197653"/>
                  </a:lnTo>
                  <a:lnTo>
                    <a:pt x="310424" y="196858"/>
                  </a:lnTo>
                  <a:lnTo>
                    <a:pt x="313074" y="196757"/>
                  </a:lnTo>
                  <a:lnTo>
                    <a:pt x="316097" y="197402"/>
                  </a:lnTo>
                  <a:lnTo>
                    <a:pt x="319368" y="198492"/>
                  </a:lnTo>
                  <a:lnTo>
                    <a:pt x="318025" y="200955"/>
                  </a:lnTo>
                  <a:lnTo>
                    <a:pt x="316622" y="202913"/>
                  </a:lnTo>
                  <a:lnTo>
                    <a:pt x="316127" y="205078"/>
                  </a:lnTo>
                  <a:lnTo>
                    <a:pt x="315352" y="207482"/>
                  </a:lnTo>
                  <a:lnTo>
                    <a:pt x="311737" y="208560"/>
                  </a:lnTo>
                  <a:lnTo>
                    <a:pt x="307865" y="208428"/>
                  </a:lnTo>
                  <a:lnTo>
                    <a:pt x="303782" y="209125"/>
                  </a:lnTo>
                  <a:lnTo>
                    <a:pt x="302311" y="208187"/>
                  </a:lnTo>
                  <a:lnTo>
                    <a:pt x="301335" y="207333"/>
                  </a:lnTo>
                  <a:lnTo>
                    <a:pt x="299524" y="206481"/>
                  </a:lnTo>
                  <a:lnTo>
                    <a:pt x="297135" y="206006"/>
                  </a:lnTo>
                  <a:lnTo>
                    <a:pt x="294991" y="206577"/>
                  </a:lnTo>
                  <a:lnTo>
                    <a:pt x="292454" y="209860"/>
                  </a:lnTo>
                  <a:lnTo>
                    <a:pt x="287965" y="212102"/>
                  </a:lnTo>
                  <a:lnTo>
                    <a:pt x="286481" y="214659"/>
                  </a:lnTo>
                  <a:lnTo>
                    <a:pt x="282061" y="214088"/>
                  </a:lnTo>
                  <a:lnTo>
                    <a:pt x="278282" y="214536"/>
                  </a:lnTo>
                  <a:lnTo>
                    <a:pt x="272821" y="216866"/>
                  </a:lnTo>
                  <a:lnTo>
                    <a:pt x="268660" y="221856"/>
                  </a:lnTo>
                  <a:lnTo>
                    <a:pt x="264075" y="224972"/>
                  </a:lnTo>
                  <a:lnTo>
                    <a:pt x="260439" y="225957"/>
                  </a:lnTo>
                  <a:lnTo>
                    <a:pt x="257027" y="225649"/>
                  </a:lnTo>
                  <a:lnTo>
                    <a:pt x="254820" y="224717"/>
                  </a:lnTo>
                  <a:lnTo>
                    <a:pt x="250283" y="221442"/>
                  </a:lnTo>
                  <a:lnTo>
                    <a:pt x="250549" y="220267"/>
                  </a:lnTo>
                  <a:lnTo>
                    <a:pt x="251182" y="219674"/>
                  </a:lnTo>
                  <a:lnTo>
                    <a:pt x="252039" y="217988"/>
                  </a:lnTo>
                  <a:lnTo>
                    <a:pt x="253855" y="211788"/>
                  </a:lnTo>
                  <a:lnTo>
                    <a:pt x="253611" y="209776"/>
                  </a:lnTo>
                  <a:lnTo>
                    <a:pt x="252594" y="206600"/>
                  </a:lnTo>
                  <a:lnTo>
                    <a:pt x="248996" y="204131"/>
                  </a:lnTo>
                  <a:lnTo>
                    <a:pt x="246100" y="204599"/>
                  </a:lnTo>
                  <a:lnTo>
                    <a:pt x="244451" y="203941"/>
                  </a:lnTo>
                  <a:lnTo>
                    <a:pt x="238519" y="199738"/>
                  </a:lnTo>
                  <a:lnTo>
                    <a:pt x="235291" y="199440"/>
                  </a:lnTo>
                  <a:lnTo>
                    <a:pt x="231723" y="200288"/>
                  </a:lnTo>
                  <a:lnTo>
                    <a:pt x="230408" y="199676"/>
                  </a:lnTo>
                  <a:lnTo>
                    <a:pt x="229439" y="198210"/>
                  </a:lnTo>
                  <a:lnTo>
                    <a:pt x="236515" y="193012"/>
                  </a:lnTo>
                  <a:lnTo>
                    <a:pt x="243464" y="188714"/>
                  </a:lnTo>
                  <a:lnTo>
                    <a:pt x="246511" y="188272"/>
                  </a:lnTo>
                  <a:lnTo>
                    <a:pt x="250627" y="186269"/>
                  </a:lnTo>
                  <a:lnTo>
                    <a:pt x="255019" y="183259"/>
                  </a:lnTo>
                  <a:lnTo>
                    <a:pt x="254397" y="180890"/>
                  </a:lnTo>
                  <a:lnTo>
                    <a:pt x="253455" y="179138"/>
                  </a:lnTo>
                  <a:lnTo>
                    <a:pt x="251348" y="179619"/>
                  </a:lnTo>
                  <a:lnTo>
                    <a:pt x="249823" y="180206"/>
                  </a:lnTo>
                  <a:lnTo>
                    <a:pt x="246144" y="178325"/>
                  </a:lnTo>
                  <a:lnTo>
                    <a:pt x="244790" y="176940"/>
                  </a:lnTo>
                  <a:lnTo>
                    <a:pt x="239031" y="178377"/>
                  </a:lnTo>
                  <a:lnTo>
                    <a:pt x="235826" y="178164"/>
                  </a:lnTo>
                  <a:lnTo>
                    <a:pt x="228748" y="179485"/>
                  </a:lnTo>
                  <a:lnTo>
                    <a:pt x="225500" y="178195"/>
                  </a:lnTo>
                  <a:lnTo>
                    <a:pt x="218996" y="174580"/>
                  </a:lnTo>
                  <a:lnTo>
                    <a:pt x="216551" y="173853"/>
                  </a:lnTo>
                  <a:lnTo>
                    <a:pt x="214474" y="174007"/>
                  </a:lnTo>
                  <a:lnTo>
                    <a:pt x="213340" y="172817"/>
                  </a:lnTo>
                  <a:lnTo>
                    <a:pt x="214731" y="172221"/>
                  </a:lnTo>
                  <a:lnTo>
                    <a:pt x="216346" y="172151"/>
                  </a:lnTo>
                  <a:lnTo>
                    <a:pt x="218022" y="171715"/>
                  </a:lnTo>
                  <a:lnTo>
                    <a:pt x="218495" y="171084"/>
                  </a:lnTo>
                  <a:lnTo>
                    <a:pt x="218394" y="169897"/>
                  </a:lnTo>
                  <a:lnTo>
                    <a:pt x="215016" y="168996"/>
                  </a:lnTo>
                  <a:lnTo>
                    <a:pt x="211874" y="168737"/>
                  </a:lnTo>
                  <a:lnTo>
                    <a:pt x="209883" y="167669"/>
                  </a:lnTo>
                  <a:lnTo>
                    <a:pt x="208363" y="166446"/>
                  </a:lnTo>
                  <a:lnTo>
                    <a:pt x="211926" y="166427"/>
                  </a:lnTo>
                  <a:lnTo>
                    <a:pt x="215506" y="167352"/>
                  </a:lnTo>
                  <a:lnTo>
                    <a:pt x="221112" y="167693"/>
                  </a:lnTo>
                  <a:lnTo>
                    <a:pt x="226195" y="168649"/>
                  </a:lnTo>
                  <a:lnTo>
                    <a:pt x="227469" y="167460"/>
                  </a:lnTo>
                  <a:lnTo>
                    <a:pt x="230423" y="165399"/>
                  </a:lnTo>
                  <a:lnTo>
                    <a:pt x="230987" y="164742"/>
                  </a:lnTo>
                  <a:lnTo>
                    <a:pt x="226035" y="166153"/>
                  </a:lnTo>
                  <a:lnTo>
                    <a:pt x="221019" y="165253"/>
                  </a:lnTo>
                  <a:lnTo>
                    <a:pt x="219186" y="163995"/>
                  </a:lnTo>
                  <a:lnTo>
                    <a:pt x="217637" y="162151"/>
                  </a:lnTo>
                  <a:lnTo>
                    <a:pt x="216987" y="160047"/>
                  </a:lnTo>
                  <a:lnTo>
                    <a:pt x="217411" y="158085"/>
                  </a:lnTo>
                  <a:lnTo>
                    <a:pt x="216869" y="154539"/>
                  </a:lnTo>
                  <a:lnTo>
                    <a:pt x="215215" y="151380"/>
                  </a:lnTo>
                  <a:lnTo>
                    <a:pt x="214628" y="149645"/>
                  </a:lnTo>
                  <a:lnTo>
                    <a:pt x="212880" y="148089"/>
                  </a:lnTo>
                  <a:lnTo>
                    <a:pt x="214599" y="151607"/>
                  </a:lnTo>
                  <a:lnTo>
                    <a:pt x="215241" y="153945"/>
                  </a:lnTo>
                  <a:lnTo>
                    <a:pt x="216275" y="156097"/>
                  </a:lnTo>
                  <a:lnTo>
                    <a:pt x="216031" y="161794"/>
                  </a:lnTo>
                  <a:lnTo>
                    <a:pt x="215394" y="163793"/>
                  </a:lnTo>
                  <a:lnTo>
                    <a:pt x="213332" y="164297"/>
                  </a:lnTo>
                  <a:lnTo>
                    <a:pt x="210622" y="163997"/>
                  </a:lnTo>
                  <a:lnTo>
                    <a:pt x="207860" y="163376"/>
                  </a:lnTo>
                  <a:lnTo>
                    <a:pt x="208551" y="160245"/>
                  </a:lnTo>
                  <a:lnTo>
                    <a:pt x="207080" y="161328"/>
                  </a:lnTo>
                  <a:lnTo>
                    <a:pt x="205003" y="164375"/>
                  </a:lnTo>
                  <a:lnTo>
                    <a:pt x="203176" y="164829"/>
                  </a:lnTo>
                  <a:lnTo>
                    <a:pt x="199119" y="164496"/>
                  </a:lnTo>
                  <a:lnTo>
                    <a:pt x="191589" y="166510"/>
                  </a:lnTo>
                  <a:lnTo>
                    <a:pt x="191071" y="168702"/>
                  </a:lnTo>
                  <a:lnTo>
                    <a:pt x="189939" y="171665"/>
                  </a:lnTo>
                  <a:lnTo>
                    <a:pt x="188847" y="173389"/>
                  </a:lnTo>
                  <a:lnTo>
                    <a:pt x="188503" y="174428"/>
                  </a:lnTo>
                  <a:lnTo>
                    <a:pt x="185292" y="178886"/>
                  </a:lnTo>
                  <a:lnTo>
                    <a:pt x="184882" y="179307"/>
                  </a:lnTo>
                  <a:lnTo>
                    <a:pt x="178825" y="185475"/>
                  </a:lnTo>
                  <a:lnTo>
                    <a:pt x="178054" y="185938"/>
                  </a:lnTo>
                  <a:lnTo>
                    <a:pt x="174128" y="187371"/>
                  </a:lnTo>
                  <a:lnTo>
                    <a:pt x="171807" y="188626"/>
                  </a:lnTo>
                  <a:lnTo>
                    <a:pt x="170028" y="189186"/>
                  </a:lnTo>
                  <a:lnTo>
                    <a:pt x="167017" y="188563"/>
                  </a:lnTo>
                  <a:lnTo>
                    <a:pt x="165765" y="189451"/>
                  </a:lnTo>
                  <a:lnTo>
                    <a:pt x="165173" y="190550"/>
                  </a:lnTo>
                  <a:lnTo>
                    <a:pt x="165162" y="192821"/>
                  </a:lnTo>
                  <a:lnTo>
                    <a:pt x="166691" y="194452"/>
                  </a:lnTo>
                  <a:lnTo>
                    <a:pt x="167944" y="199870"/>
                  </a:lnTo>
                  <a:lnTo>
                    <a:pt x="167477" y="202156"/>
                  </a:lnTo>
                  <a:lnTo>
                    <a:pt x="166285" y="200676"/>
                  </a:lnTo>
                  <a:lnTo>
                    <a:pt x="164422" y="199116"/>
                  </a:lnTo>
                  <a:lnTo>
                    <a:pt x="160796" y="197775"/>
                  </a:lnTo>
                  <a:lnTo>
                    <a:pt x="156812" y="198234"/>
                  </a:lnTo>
                  <a:lnTo>
                    <a:pt x="152476" y="200494"/>
                  </a:lnTo>
                  <a:lnTo>
                    <a:pt x="149533" y="201334"/>
                  </a:lnTo>
                  <a:lnTo>
                    <a:pt x="147984" y="200754"/>
                  </a:lnTo>
                  <a:lnTo>
                    <a:pt x="147043" y="200787"/>
                  </a:lnTo>
                  <a:lnTo>
                    <a:pt x="146708" y="201435"/>
                  </a:lnTo>
                  <a:lnTo>
                    <a:pt x="146780" y="201965"/>
                  </a:lnTo>
                  <a:lnTo>
                    <a:pt x="147257" y="202376"/>
                  </a:lnTo>
                  <a:lnTo>
                    <a:pt x="147187" y="202676"/>
                  </a:lnTo>
                  <a:lnTo>
                    <a:pt x="146579" y="202863"/>
                  </a:lnTo>
                  <a:lnTo>
                    <a:pt x="139736" y="201272"/>
                  </a:lnTo>
                  <a:lnTo>
                    <a:pt x="136782" y="199766"/>
                  </a:lnTo>
                  <a:lnTo>
                    <a:pt x="134456" y="196930"/>
                  </a:lnTo>
                  <a:lnTo>
                    <a:pt x="135613" y="196012"/>
                  </a:lnTo>
                  <a:lnTo>
                    <a:pt x="136620" y="195608"/>
                  </a:lnTo>
                  <a:lnTo>
                    <a:pt x="140181" y="195372"/>
                  </a:lnTo>
                  <a:lnTo>
                    <a:pt x="140792" y="195082"/>
                  </a:lnTo>
                  <a:lnTo>
                    <a:pt x="140852" y="194427"/>
                  </a:lnTo>
                  <a:lnTo>
                    <a:pt x="141118" y="193579"/>
                  </a:lnTo>
                  <a:lnTo>
                    <a:pt x="141023" y="192330"/>
                  </a:lnTo>
                  <a:lnTo>
                    <a:pt x="140627" y="191011"/>
                  </a:lnTo>
                  <a:lnTo>
                    <a:pt x="142191" y="189084"/>
                  </a:lnTo>
                  <a:lnTo>
                    <a:pt x="144519" y="187484"/>
                  </a:lnTo>
                  <a:lnTo>
                    <a:pt x="145883" y="185881"/>
                  </a:lnTo>
                  <a:lnTo>
                    <a:pt x="146093" y="183532"/>
                  </a:lnTo>
                  <a:lnTo>
                    <a:pt x="148542" y="182387"/>
                  </a:lnTo>
                  <a:lnTo>
                    <a:pt x="150714" y="180418"/>
                  </a:lnTo>
                  <a:lnTo>
                    <a:pt x="151247" y="178270"/>
                  </a:lnTo>
                  <a:lnTo>
                    <a:pt x="152007" y="176920"/>
                  </a:lnTo>
                  <a:lnTo>
                    <a:pt x="150625" y="173821"/>
                  </a:lnTo>
                  <a:lnTo>
                    <a:pt x="150334" y="171775"/>
                  </a:lnTo>
                  <a:lnTo>
                    <a:pt x="150265" y="170059"/>
                  </a:lnTo>
                  <a:lnTo>
                    <a:pt x="150949" y="169105"/>
                  </a:lnTo>
                  <a:lnTo>
                    <a:pt x="152973" y="168036"/>
                  </a:lnTo>
                  <a:lnTo>
                    <a:pt x="155104" y="167207"/>
                  </a:lnTo>
                  <a:lnTo>
                    <a:pt x="155987" y="167288"/>
                  </a:lnTo>
                  <a:lnTo>
                    <a:pt x="156309" y="167816"/>
                  </a:lnTo>
                  <a:lnTo>
                    <a:pt x="156393" y="171301"/>
                  </a:lnTo>
                  <a:lnTo>
                    <a:pt x="156819" y="171367"/>
                  </a:lnTo>
                  <a:lnTo>
                    <a:pt x="157499" y="170933"/>
                  </a:lnTo>
                  <a:lnTo>
                    <a:pt x="158611" y="168881"/>
                  </a:lnTo>
                  <a:lnTo>
                    <a:pt x="159377" y="169478"/>
                  </a:lnTo>
                  <a:lnTo>
                    <a:pt x="160556" y="169705"/>
                  </a:lnTo>
                  <a:lnTo>
                    <a:pt x="161440" y="169176"/>
                  </a:lnTo>
                  <a:lnTo>
                    <a:pt x="162014" y="169237"/>
                  </a:lnTo>
                  <a:lnTo>
                    <a:pt x="162726" y="169767"/>
                  </a:lnTo>
                  <a:lnTo>
                    <a:pt x="164143" y="170513"/>
                  </a:lnTo>
                  <a:lnTo>
                    <a:pt x="165467" y="170761"/>
                  </a:lnTo>
                  <a:lnTo>
                    <a:pt x="166564" y="170264"/>
                  </a:lnTo>
                  <a:lnTo>
                    <a:pt x="167499" y="169377"/>
                  </a:lnTo>
                  <a:lnTo>
                    <a:pt x="168497" y="169680"/>
                  </a:lnTo>
                  <a:lnTo>
                    <a:pt x="170397" y="172100"/>
                  </a:lnTo>
                  <a:lnTo>
                    <a:pt x="171284" y="171832"/>
                  </a:lnTo>
                  <a:lnTo>
                    <a:pt x="175655" y="171343"/>
                  </a:lnTo>
                  <a:lnTo>
                    <a:pt x="176359" y="170685"/>
                  </a:lnTo>
                  <a:lnTo>
                    <a:pt x="176879" y="170088"/>
                  </a:lnTo>
                  <a:lnTo>
                    <a:pt x="172308" y="166875"/>
                  </a:lnTo>
                  <a:lnTo>
                    <a:pt x="172539" y="164481"/>
                  </a:lnTo>
                  <a:lnTo>
                    <a:pt x="172710" y="161734"/>
                  </a:lnTo>
                  <a:lnTo>
                    <a:pt x="172170" y="160102"/>
                  </a:lnTo>
                  <a:lnTo>
                    <a:pt x="171280" y="158807"/>
                  </a:lnTo>
                  <a:lnTo>
                    <a:pt x="167784" y="157302"/>
                  </a:lnTo>
                  <a:lnTo>
                    <a:pt x="165087" y="155743"/>
                  </a:lnTo>
                  <a:lnTo>
                    <a:pt x="164517" y="155040"/>
                  </a:lnTo>
                  <a:lnTo>
                    <a:pt x="164443" y="154128"/>
                  </a:lnTo>
                  <a:lnTo>
                    <a:pt x="164329" y="152710"/>
                  </a:lnTo>
                  <a:lnTo>
                    <a:pt x="163258" y="151492"/>
                  </a:lnTo>
                  <a:lnTo>
                    <a:pt x="163167" y="150461"/>
                  </a:lnTo>
                  <a:lnTo>
                    <a:pt x="163850" y="148853"/>
                  </a:lnTo>
                  <a:lnTo>
                    <a:pt x="164016" y="147139"/>
                  </a:lnTo>
                  <a:lnTo>
                    <a:pt x="163791" y="146462"/>
                  </a:lnTo>
                  <a:lnTo>
                    <a:pt x="163161" y="145910"/>
                  </a:lnTo>
                  <a:lnTo>
                    <a:pt x="161945" y="145856"/>
                  </a:lnTo>
                  <a:lnTo>
                    <a:pt x="160347" y="144865"/>
                  </a:lnTo>
                  <a:lnTo>
                    <a:pt x="159250" y="143529"/>
                  </a:lnTo>
                  <a:lnTo>
                    <a:pt x="156305" y="141602"/>
                  </a:lnTo>
                  <a:lnTo>
                    <a:pt x="155402" y="141288"/>
                  </a:lnTo>
                  <a:lnTo>
                    <a:pt x="154851" y="140333"/>
                  </a:lnTo>
                  <a:lnTo>
                    <a:pt x="154588" y="139192"/>
                  </a:lnTo>
                  <a:lnTo>
                    <a:pt x="155206" y="137774"/>
                  </a:lnTo>
                  <a:lnTo>
                    <a:pt x="155983" y="135590"/>
                  </a:lnTo>
                  <a:lnTo>
                    <a:pt x="156529" y="133539"/>
                  </a:lnTo>
                  <a:lnTo>
                    <a:pt x="156538" y="132316"/>
                  </a:lnTo>
                  <a:lnTo>
                    <a:pt x="156177" y="129290"/>
                  </a:lnTo>
                  <a:lnTo>
                    <a:pt x="154642" y="126975"/>
                  </a:lnTo>
                  <a:lnTo>
                    <a:pt x="153925" y="126668"/>
                  </a:lnTo>
                  <a:lnTo>
                    <a:pt x="152686" y="127320"/>
                  </a:lnTo>
                  <a:lnTo>
                    <a:pt x="151279" y="127865"/>
                  </a:lnTo>
                  <a:lnTo>
                    <a:pt x="150170" y="127354"/>
                  </a:lnTo>
                  <a:lnTo>
                    <a:pt x="148902" y="126098"/>
                  </a:lnTo>
                  <a:lnTo>
                    <a:pt x="146868" y="122599"/>
                  </a:lnTo>
                  <a:lnTo>
                    <a:pt x="143061" y="121898"/>
                  </a:lnTo>
                  <a:lnTo>
                    <a:pt x="141487" y="121731"/>
                  </a:lnTo>
                  <a:lnTo>
                    <a:pt x="139997" y="123420"/>
                  </a:lnTo>
                  <a:lnTo>
                    <a:pt x="139531" y="122907"/>
                  </a:lnTo>
                  <a:lnTo>
                    <a:pt x="139112" y="121828"/>
                  </a:lnTo>
                  <a:lnTo>
                    <a:pt x="138326" y="121397"/>
                  </a:lnTo>
                  <a:lnTo>
                    <a:pt x="137287" y="121897"/>
                  </a:lnTo>
                  <a:lnTo>
                    <a:pt x="136987" y="121416"/>
                  </a:lnTo>
                  <a:lnTo>
                    <a:pt x="137434" y="119957"/>
                  </a:lnTo>
                  <a:lnTo>
                    <a:pt x="136192" y="119235"/>
                  </a:lnTo>
                  <a:lnTo>
                    <a:pt x="133268" y="119251"/>
                  </a:lnTo>
                  <a:lnTo>
                    <a:pt x="131714" y="118713"/>
                  </a:lnTo>
                  <a:lnTo>
                    <a:pt x="131528" y="117615"/>
                  </a:lnTo>
                  <a:lnTo>
                    <a:pt x="130608" y="116894"/>
                  </a:lnTo>
                  <a:lnTo>
                    <a:pt x="128947" y="116547"/>
                  </a:lnTo>
                  <a:lnTo>
                    <a:pt x="127339" y="115649"/>
                  </a:lnTo>
                  <a:lnTo>
                    <a:pt x="125778" y="114203"/>
                  </a:lnTo>
                  <a:lnTo>
                    <a:pt x="123443" y="113260"/>
                  </a:lnTo>
                  <a:lnTo>
                    <a:pt x="120331" y="112824"/>
                  </a:lnTo>
                  <a:lnTo>
                    <a:pt x="120077" y="112668"/>
                  </a:lnTo>
                  <a:lnTo>
                    <a:pt x="119790" y="112460"/>
                  </a:lnTo>
                  <a:lnTo>
                    <a:pt x="117781" y="113443"/>
                  </a:lnTo>
                  <a:lnTo>
                    <a:pt x="116574" y="114221"/>
                  </a:lnTo>
                  <a:lnTo>
                    <a:pt x="115095" y="113737"/>
                  </a:lnTo>
                  <a:lnTo>
                    <a:pt x="112698" y="115473"/>
                  </a:lnTo>
                  <a:lnTo>
                    <a:pt x="107833" y="115563"/>
                  </a:lnTo>
                  <a:lnTo>
                    <a:pt x="105447" y="115459"/>
                  </a:lnTo>
                  <a:lnTo>
                    <a:pt x="104263" y="115028"/>
                  </a:lnTo>
                  <a:lnTo>
                    <a:pt x="99694" y="117662"/>
                  </a:lnTo>
                  <a:lnTo>
                    <a:pt x="99219" y="118632"/>
                  </a:lnTo>
                  <a:lnTo>
                    <a:pt x="98191" y="118955"/>
                  </a:lnTo>
                  <a:lnTo>
                    <a:pt x="95315" y="119478"/>
                  </a:lnTo>
                  <a:lnTo>
                    <a:pt x="92292" y="120220"/>
                  </a:lnTo>
                  <a:lnTo>
                    <a:pt x="91657" y="122778"/>
                  </a:lnTo>
                  <a:lnTo>
                    <a:pt x="90756" y="124159"/>
                  </a:lnTo>
                  <a:lnTo>
                    <a:pt x="89131" y="126186"/>
                  </a:lnTo>
                  <a:lnTo>
                    <a:pt x="83514" y="126890"/>
                  </a:lnTo>
                  <a:lnTo>
                    <a:pt x="78662" y="127880"/>
                  </a:lnTo>
                  <a:lnTo>
                    <a:pt x="73687" y="128491"/>
                  </a:lnTo>
                  <a:lnTo>
                    <a:pt x="67171" y="130962"/>
                  </a:lnTo>
                  <a:lnTo>
                    <a:pt x="65053" y="133140"/>
                  </a:lnTo>
                  <a:lnTo>
                    <a:pt x="62959" y="133747"/>
                  </a:lnTo>
                  <a:lnTo>
                    <a:pt x="61063" y="133926"/>
                  </a:lnTo>
                  <a:lnTo>
                    <a:pt x="59836" y="132714"/>
                  </a:lnTo>
                  <a:lnTo>
                    <a:pt x="55703" y="129457"/>
                  </a:lnTo>
                  <a:lnTo>
                    <a:pt x="54109" y="127920"/>
                  </a:lnTo>
                  <a:lnTo>
                    <a:pt x="52013" y="127467"/>
                  </a:lnTo>
                  <a:lnTo>
                    <a:pt x="49733" y="127723"/>
                  </a:lnTo>
                  <a:lnTo>
                    <a:pt x="47543" y="128480"/>
                  </a:lnTo>
                  <a:lnTo>
                    <a:pt x="45239" y="128625"/>
                  </a:lnTo>
                  <a:lnTo>
                    <a:pt x="42630" y="127533"/>
                  </a:lnTo>
                  <a:lnTo>
                    <a:pt x="42356" y="127639"/>
                  </a:lnTo>
                  <a:lnTo>
                    <a:pt x="41350" y="127786"/>
                  </a:lnTo>
                  <a:lnTo>
                    <a:pt x="34874" y="126466"/>
                  </a:lnTo>
                  <a:lnTo>
                    <a:pt x="34278" y="126247"/>
                  </a:lnTo>
                  <a:lnTo>
                    <a:pt x="33991" y="126192"/>
                  </a:lnTo>
                  <a:lnTo>
                    <a:pt x="33099" y="126093"/>
                  </a:lnTo>
                  <a:lnTo>
                    <a:pt x="28223" y="126258"/>
                  </a:lnTo>
                  <a:lnTo>
                    <a:pt x="23677" y="123589"/>
                  </a:lnTo>
                  <a:lnTo>
                    <a:pt x="22280" y="123508"/>
                  </a:lnTo>
                  <a:lnTo>
                    <a:pt x="21205" y="124589"/>
                  </a:lnTo>
                  <a:lnTo>
                    <a:pt x="20408" y="125791"/>
                  </a:lnTo>
                  <a:lnTo>
                    <a:pt x="17270" y="126984"/>
                  </a:lnTo>
                  <a:lnTo>
                    <a:pt x="16469" y="127463"/>
                  </a:lnTo>
                  <a:lnTo>
                    <a:pt x="16014" y="127095"/>
                  </a:lnTo>
                  <a:lnTo>
                    <a:pt x="15802" y="126058"/>
                  </a:lnTo>
                  <a:lnTo>
                    <a:pt x="16040" y="125141"/>
                  </a:lnTo>
                  <a:lnTo>
                    <a:pt x="15575" y="124273"/>
                  </a:lnTo>
                  <a:lnTo>
                    <a:pt x="14381" y="123287"/>
                  </a:lnTo>
                  <a:lnTo>
                    <a:pt x="14092" y="122880"/>
                  </a:lnTo>
                  <a:lnTo>
                    <a:pt x="12598" y="122954"/>
                  </a:lnTo>
                  <a:lnTo>
                    <a:pt x="12190" y="123050"/>
                  </a:lnTo>
                  <a:lnTo>
                    <a:pt x="12040" y="123028"/>
                  </a:lnTo>
                  <a:lnTo>
                    <a:pt x="9963" y="122191"/>
                  </a:lnTo>
                  <a:lnTo>
                    <a:pt x="8585" y="120174"/>
                  </a:lnTo>
                  <a:lnTo>
                    <a:pt x="6456" y="119101"/>
                  </a:lnTo>
                  <a:lnTo>
                    <a:pt x="4828" y="118740"/>
                  </a:lnTo>
                  <a:lnTo>
                    <a:pt x="4087" y="117875"/>
                  </a:lnTo>
                  <a:lnTo>
                    <a:pt x="3610" y="116724"/>
                  </a:lnTo>
                  <a:lnTo>
                    <a:pt x="3102" y="115854"/>
                  </a:lnTo>
                  <a:lnTo>
                    <a:pt x="3042" y="115772"/>
                  </a:lnTo>
                  <a:lnTo>
                    <a:pt x="2695" y="114455"/>
                  </a:lnTo>
                  <a:lnTo>
                    <a:pt x="2196" y="114319"/>
                  </a:lnTo>
                  <a:lnTo>
                    <a:pt x="2107" y="114284"/>
                  </a:lnTo>
                  <a:lnTo>
                    <a:pt x="0" y="114513"/>
                  </a:lnTo>
                  <a:lnTo>
                    <a:pt x="244" y="109884"/>
                  </a:lnTo>
                  <a:lnTo>
                    <a:pt x="3612" y="106550"/>
                  </a:lnTo>
                  <a:lnTo>
                    <a:pt x="4439" y="104866"/>
                  </a:lnTo>
                  <a:lnTo>
                    <a:pt x="5696" y="101209"/>
                  </a:lnTo>
                  <a:lnTo>
                    <a:pt x="6638" y="99497"/>
                  </a:lnTo>
                  <a:lnTo>
                    <a:pt x="7769" y="98079"/>
                  </a:lnTo>
                  <a:lnTo>
                    <a:pt x="8674" y="96706"/>
                  </a:lnTo>
                  <a:lnTo>
                    <a:pt x="8996" y="95526"/>
                  </a:lnTo>
                  <a:lnTo>
                    <a:pt x="9909" y="95398"/>
                  </a:lnTo>
                  <a:lnTo>
                    <a:pt x="12591" y="96462"/>
                  </a:lnTo>
                  <a:lnTo>
                    <a:pt x="14990" y="97009"/>
                  </a:lnTo>
                  <a:lnTo>
                    <a:pt x="15653" y="96491"/>
                  </a:lnTo>
                  <a:lnTo>
                    <a:pt x="15925" y="95811"/>
                  </a:lnTo>
                  <a:lnTo>
                    <a:pt x="15815" y="95282"/>
                  </a:lnTo>
                  <a:lnTo>
                    <a:pt x="13893" y="93712"/>
                  </a:lnTo>
                  <a:lnTo>
                    <a:pt x="12688" y="92712"/>
                  </a:lnTo>
                  <a:lnTo>
                    <a:pt x="12615" y="92097"/>
                  </a:lnTo>
                  <a:lnTo>
                    <a:pt x="13049" y="90717"/>
                  </a:lnTo>
                  <a:lnTo>
                    <a:pt x="13280" y="89165"/>
                  </a:lnTo>
                  <a:lnTo>
                    <a:pt x="13003" y="87486"/>
                  </a:lnTo>
                  <a:lnTo>
                    <a:pt x="11693" y="83762"/>
                  </a:lnTo>
                  <a:lnTo>
                    <a:pt x="11444" y="82174"/>
                  </a:lnTo>
                  <a:lnTo>
                    <a:pt x="12699" y="80244"/>
                  </a:lnTo>
                  <a:lnTo>
                    <a:pt x="16780" y="75641"/>
                  </a:lnTo>
                  <a:lnTo>
                    <a:pt x="18141" y="73910"/>
                  </a:lnTo>
                  <a:lnTo>
                    <a:pt x="20000" y="71815"/>
                  </a:lnTo>
                  <a:lnTo>
                    <a:pt x="25044" y="66799"/>
                  </a:lnTo>
                  <a:lnTo>
                    <a:pt x="28232" y="63878"/>
                  </a:lnTo>
                  <a:lnTo>
                    <a:pt x="30389" y="62260"/>
                  </a:lnTo>
                  <a:lnTo>
                    <a:pt x="33548" y="59445"/>
                  </a:lnTo>
                  <a:lnTo>
                    <a:pt x="34934" y="57987"/>
                  </a:lnTo>
                  <a:lnTo>
                    <a:pt x="40704" y="57038"/>
                  </a:lnTo>
                  <a:lnTo>
                    <a:pt x="41419" y="55675"/>
                  </a:lnTo>
                  <a:lnTo>
                    <a:pt x="42473" y="54183"/>
                  </a:lnTo>
                  <a:lnTo>
                    <a:pt x="43297" y="53543"/>
                  </a:lnTo>
                  <a:lnTo>
                    <a:pt x="43403" y="51027"/>
                  </a:lnTo>
                  <a:lnTo>
                    <a:pt x="42332" y="47950"/>
                  </a:lnTo>
                  <a:lnTo>
                    <a:pt x="41471" y="46862"/>
                  </a:lnTo>
                  <a:lnTo>
                    <a:pt x="40832" y="46121"/>
                  </a:lnTo>
                  <a:lnTo>
                    <a:pt x="41244" y="45428"/>
                  </a:lnTo>
                  <a:lnTo>
                    <a:pt x="41883" y="45231"/>
                  </a:lnTo>
                  <a:lnTo>
                    <a:pt x="42671" y="45133"/>
                  </a:lnTo>
                  <a:lnTo>
                    <a:pt x="43647" y="44391"/>
                  </a:lnTo>
                  <a:lnTo>
                    <a:pt x="43427" y="43581"/>
                  </a:lnTo>
                  <a:lnTo>
                    <a:pt x="40994" y="41606"/>
                  </a:lnTo>
                  <a:lnTo>
                    <a:pt x="39940" y="40085"/>
                  </a:lnTo>
                  <a:lnTo>
                    <a:pt x="38290" y="36177"/>
                  </a:lnTo>
                  <a:lnTo>
                    <a:pt x="34945" y="32109"/>
                  </a:lnTo>
                  <a:lnTo>
                    <a:pt x="33889" y="30793"/>
                  </a:lnTo>
                  <a:lnTo>
                    <a:pt x="33738" y="29548"/>
                  </a:lnTo>
                  <a:lnTo>
                    <a:pt x="34226" y="28303"/>
                  </a:lnTo>
                  <a:lnTo>
                    <a:pt x="33766" y="26716"/>
                  </a:lnTo>
                  <a:lnTo>
                    <a:pt x="32581" y="24690"/>
                  </a:lnTo>
                  <a:lnTo>
                    <a:pt x="32768" y="24471"/>
                  </a:lnTo>
                  <a:lnTo>
                    <a:pt x="32654" y="21968"/>
                  </a:lnTo>
                  <a:lnTo>
                    <a:pt x="33496" y="21427"/>
                  </a:lnTo>
                  <a:lnTo>
                    <a:pt x="34826" y="21061"/>
                  </a:lnTo>
                  <a:lnTo>
                    <a:pt x="36703" y="21184"/>
                  </a:lnTo>
                  <a:lnTo>
                    <a:pt x="38307" y="21571"/>
                  </a:lnTo>
                  <a:lnTo>
                    <a:pt x="40229" y="22716"/>
                  </a:lnTo>
                  <a:lnTo>
                    <a:pt x="40829" y="22532"/>
                  </a:lnTo>
                  <a:lnTo>
                    <a:pt x="44114" y="20373"/>
                  </a:lnTo>
                  <a:lnTo>
                    <a:pt x="47502" y="17130"/>
                  </a:lnTo>
                  <a:lnTo>
                    <a:pt x="48467" y="15251"/>
                  </a:lnTo>
                  <a:lnTo>
                    <a:pt x="49311" y="14392"/>
                  </a:lnTo>
                  <a:lnTo>
                    <a:pt x="52259" y="13933"/>
                  </a:lnTo>
                  <a:lnTo>
                    <a:pt x="54826" y="13743"/>
                  </a:lnTo>
                  <a:lnTo>
                    <a:pt x="56459" y="13779"/>
                  </a:lnTo>
                  <a:lnTo>
                    <a:pt x="60467" y="13459"/>
                  </a:lnTo>
                  <a:lnTo>
                    <a:pt x="62842" y="13104"/>
                  </a:lnTo>
                  <a:lnTo>
                    <a:pt x="64896" y="12531"/>
                  </a:lnTo>
                  <a:lnTo>
                    <a:pt x="69329" y="12318"/>
                  </a:lnTo>
                  <a:lnTo>
                    <a:pt x="76252" y="12702"/>
                  </a:lnTo>
                  <a:lnTo>
                    <a:pt x="80795" y="12729"/>
                  </a:lnTo>
                  <a:lnTo>
                    <a:pt x="83881" y="13034"/>
                  </a:lnTo>
                  <a:lnTo>
                    <a:pt x="91439" y="14761"/>
                  </a:lnTo>
                  <a:lnTo>
                    <a:pt x="94252" y="15074"/>
                  </a:lnTo>
                  <a:lnTo>
                    <a:pt x="95559" y="15988"/>
                  </a:lnTo>
                  <a:lnTo>
                    <a:pt x="98068" y="16328"/>
                  </a:lnTo>
                  <a:lnTo>
                    <a:pt x="102635" y="17248"/>
                  </a:lnTo>
                  <a:lnTo>
                    <a:pt x="106602" y="17741"/>
                  </a:lnTo>
                  <a:lnTo>
                    <a:pt x="109284" y="17539"/>
                  </a:lnTo>
                  <a:lnTo>
                    <a:pt x="110785" y="17798"/>
                  </a:lnTo>
                  <a:lnTo>
                    <a:pt x="113618" y="21877"/>
                  </a:lnTo>
                  <a:lnTo>
                    <a:pt x="114196" y="22353"/>
                  </a:lnTo>
                  <a:lnTo>
                    <a:pt x="115332" y="22449"/>
                  </a:lnTo>
                  <a:lnTo>
                    <a:pt x="117647" y="22097"/>
                  </a:lnTo>
                  <a:lnTo>
                    <a:pt x="120943" y="22229"/>
                  </a:lnTo>
                  <a:lnTo>
                    <a:pt x="122897" y="23088"/>
                  </a:lnTo>
                  <a:lnTo>
                    <a:pt x="122610" y="25513"/>
                  </a:lnTo>
                  <a:lnTo>
                    <a:pt x="123123" y="25864"/>
                  </a:lnTo>
                  <a:lnTo>
                    <a:pt x="124037" y="25729"/>
                  </a:lnTo>
                  <a:lnTo>
                    <a:pt x="125088" y="24360"/>
                  </a:lnTo>
                  <a:lnTo>
                    <a:pt x="125972" y="22940"/>
                  </a:lnTo>
                  <a:lnTo>
                    <a:pt x="126630" y="22501"/>
                  </a:lnTo>
                  <a:lnTo>
                    <a:pt x="129995" y="23460"/>
                  </a:lnTo>
                  <a:lnTo>
                    <a:pt x="131532" y="23305"/>
                  </a:lnTo>
                  <a:lnTo>
                    <a:pt x="132951" y="22228"/>
                  </a:lnTo>
                  <a:lnTo>
                    <a:pt x="133821" y="22045"/>
                  </a:lnTo>
                  <a:lnTo>
                    <a:pt x="136205" y="22811"/>
                  </a:lnTo>
                  <a:lnTo>
                    <a:pt x="139146" y="23347"/>
                  </a:lnTo>
                  <a:lnTo>
                    <a:pt x="141522" y="23381"/>
                  </a:lnTo>
                  <a:lnTo>
                    <a:pt x="143003" y="23964"/>
                  </a:lnTo>
                  <a:lnTo>
                    <a:pt x="144080" y="26494"/>
                  </a:lnTo>
                  <a:lnTo>
                    <a:pt x="145020" y="27013"/>
                  </a:lnTo>
                  <a:lnTo>
                    <a:pt x="145927" y="27174"/>
                  </a:lnTo>
                  <a:lnTo>
                    <a:pt x="147298" y="24913"/>
                  </a:lnTo>
                  <a:lnTo>
                    <a:pt x="148542" y="24036"/>
                  </a:lnTo>
                  <a:lnTo>
                    <a:pt x="150267" y="23390"/>
                  </a:lnTo>
                  <a:lnTo>
                    <a:pt x="151377" y="23107"/>
                  </a:lnTo>
                  <a:lnTo>
                    <a:pt x="152158" y="22308"/>
                  </a:lnTo>
                  <a:lnTo>
                    <a:pt x="153212" y="21528"/>
                  </a:lnTo>
                  <a:lnTo>
                    <a:pt x="154126" y="21466"/>
                  </a:lnTo>
                  <a:lnTo>
                    <a:pt x="154868" y="21768"/>
                  </a:lnTo>
                  <a:lnTo>
                    <a:pt x="155721" y="22847"/>
                  </a:lnTo>
                  <a:lnTo>
                    <a:pt x="156965" y="25305"/>
                  </a:lnTo>
                  <a:lnTo>
                    <a:pt x="158477" y="27771"/>
                  </a:lnTo>
                  <a:lnTo>
                    <a:pt x="159531" y="28666"/>
                  </a:lnTo>
                  <a:lnTo>
                    <a:pt x="162254" y="27909"/>
                  </a:lnTo>
                  <a:lnTo>
                    <a:pt x="164100" y="27139"/>
                  </a:lnTo>
                  <a:lnTo>
                    <a:pt x="167482" y="26993"/>
                  </a:lnTo>
                  <a:lnTo>
                    <a:pt x="171964" y="26451"/>
                  </a:lnTo>
                  <a:lnTo>
                    <a:pt x="175392" y="25745"/>
                  </a:lnTo>
                  <a:lnTo>
                    <a:pt x="177536" y="25867"/>
                  </a:lnTo>
                  <a:lnTo>
                    <a:pt x="178836" y="26650"/>
                  </a:lnTo>
                  <a:lnTo>
                    <a:pt x="180814" y="28166"/>
                  </a:lnTo>
                  <a:lnTo>
                    <a:pt x="181354" y="30339"/>
                  </a:lnTo>
                  <a:lnTo>
                    <a:pt x="183921" y="31841"/>
                  </a:lnTo>
                  <a:lnTo>
                    <a:pt x="186022" y="32112"/>
                  </a:lnTo>
                  <a:lnTo>
                    <a:pt x="186739" y="30549"/>
                  </a:lnTo>
                  <a:lnTo>
                    <a:pt x="187968" y="29462"/>
                  </a:lnTo>
                  <a:lnTo>
                    <a:pt x="187508" y="27968"/>
                  </a:lnTo>
                  <a:lnTo>
                    <a:pt x="187301" y="26062"/>
                  </a:lnTo>
                  <a:lnTo>
                    <a:pt x="186380" y="24291"/>
                  </a:lnTo>
                  <a:lnTo>
                    <a:pt x="185767" y="22384"/>
                  </a:lnTo>
                  <a:lnTo>
                    <a:pt x="186892" y="19657"/>
                  </a:lnTo>
                  <a:lnTo>
                    <a:pt x="188121" y="17267"/>
                  </a:lnTo>
                  <a:lnTo>
                    <a:pt x="188736" y="15968"/>
                  </a:lnTo>
                  <a:lnTo>
                    <a:pt x="190682" y="13576"/>
                  </a:lnTo>
                  <a:lnTo>
                    <a:pt x="192682" y="11865"/>
                  </a:lnTo>
                  <a:lnTo>
                    <a:pt x="195666" y="9111"/>
                  </a:lnTo>
                  <a:lnTo>
                    <a:pt x="197847" y="8201"/>
                  </a:lnTo>
                  <a:lnTo>
                    <a:pt x="199818" y="8616"/>
                  </a:lnTo>
                  <a:lnTo>
                    <a:pt x="200913" y="8992"/>
                  </a:lnTo>
                  <a:lnTo>
                    <a:pt x="203744" y="7360"/>
                  </a:lnTo>
                  <a:lnTo>
                    <a:pt x="208780" y="7279"/>
                  </a:lnTo>
                  <a:lnTo>
                    <a:pt x="212973" y="7487"/>
                  </a:lnTo>
                  <a:lnTo>
                    <a:pt x="213394" y="7536"/>
                  </a:lnTo>
                  <a:lnTo>
                    <a:pt x="215455" y="8380"/>
                  </a:lnTo>
                  <a:lnTo>
                    <a:pt x="217627" y="9098"/>
                  </a:lnTo>
                  <a:lnTo>
                    <a:pt x="219125" y="9146"/>
                  </a:lnTo>
                  <a:lnTo>
                    <a:pt x="220909" y="8981"/>
                  </a:lnTo>
                  <a:lnTo>
                    <a:pt x="223000" y="8024"/>
                  </a:lnTo>
                  <a:lnTo>
                    <a:pt x="224459" y="7104"/>
                  </a:lnTo>
                  <a:lnTo>
                    <a:pt x="226232" y="2418"/>
                  </a:lnTo>
                  <a:lnTo>
                    <a:pt x="226858" y="1744"/>
                  </a:lnTo>
                  <a:lnTo>
                    <a:pt x="227834" y="1376"/>
                  </a:lnTo>
                  <a:lnTo>
                    <a:pt x="229437" y="1337"/>
                  </a:lnTo>
                  <a:lnTo>
                    <a:pt x="232477" y="2211"/>
                  </a:lnTo>
                  <a:lnTo>
                    <a:pt x="236038" y="2996"/>
                  </a:lnTo>
                  <a:lnTo>
                    <a:pt x="238100" y="2886"/>
                  </a:lnTo>
                  <a:lnTo>
                    <a:pt x="243600" y="39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9" name="ee4p_VA_1_15912">
              <a:extLst>
                <a:ext uri="{FF2B5EF4-FFF2-40B4-BE49-F238E27FC236}">
                  <a16:creationId xmlns:a16="http://schemas.microsoft.com/office/drawing/2014/main" id="{B41AC000-E888-316B-0151-C1E41E2124A5}"/>
                </a:ext>
              </a:extLst>
            </p:cNvPr>
            <p:cNvSpPr>
              <a:spLocks noChangeAspect="1"/>
            </p:cNvSpPr>
            <p:nvPr>
              <p:custDataLst>
                <p:tags r:id="rId61"/>
              </p:custDataLst>
            </p:nvPr>
          </p:nvSpPr>
          <p:spPr>
            <a:xfrm>
              <a:off x="4861078" y="5418212"/>
              <a:ext cx="1023" cy="916"/>
            </a:xfrm>
            <a:custGeom>
              <a:avLst/>
              <a:gdLst/>
              <a:ahLst/>
              <a:cxnLst/>
              <a:rect l="0" t="0" r="0" b="0"/>
              <a:pathLst>
                <a:path w="258" h="231">
                  <a:moveTo>
                    <a:pt x="257" y="208"/>
                  </a:moveTo>
                  <a:lnTo>
                    <a:pt x="67" y="230"/>
                  </a:lnTo>
                  <a:lnTo>
                    <a:pt x="0" y="145"/>
                  </a:lnTo>
                  <a:lnTo>
                    <a:pt x="67" y="20"/>
                  </a:lnTo>
                  <a:lnTo>
                    <a:pt x="240" y="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grpSp>
      <p:sp>
        <p:nvSpPr>
          <p:cNvPr id="6" name="Fußzeilenplatzhalter 5">
            <a:extLst>
              <a:ext uri="{FF2B5EF4-FFF2-40B4-BE49-F238E27FC236}">
                <a16:creationId xmlns:a16="http://schemas.microsoft.com/office/drawing/2014/main" id="{81483670-C17E-0A34-04A7-8D5A945AAB16}"/>
              </a:ext>
            </a:extLst>
          </p:cNvPr>
          <p:cNvSpPr>
            <a:spLocks noGrp="1"/>
          </p:cNvSpPr>
          <p:nvPr>
            <p:ph type="ftr" sz="quarter" idx="19"/>
            <p:custDataLst>
              <p:tags r:id="rId6"/>
            </p:custDataLst>
          </p:nvPr>
        </p:nvSpPr>
        <p:spPr/>
        <p:txBody>
          <a:bodyPr/>
          <a:lstStyle/>
          <a:p>
            <a:r>
              <a:rPr lang="pl-PL"/>
              <a:t>Najważniejsze informacje o dawstwie szpiku - Prezentacja w ramach projektu #KOMÓRKOMANIA | C1 - publiczna</a:t>
            </a:r>
            <a:endParaRPr lang="pl-PL" dirty="0"/>
          </a:p>
        </p:txBody>
      </p:sp>
      <p:sp>
        <p:nvSpPr>
          <p:cNvPr id="7" name="Foliennummernplatzhalter 6">
            <a:extLst>
              <a:ext uri="{FF2B5EF4-FFF2-40B4-BE49-F238E27FC236}">
                <a16:creationId xmlns:a16="http://schemas.microsoft.com/office/drawing/2014/main" id="{FF177820-8A53-4587-E9EB-8535CF4BECCA}"/>
              </a:ext>
            </a:extLst>
          </p:cNvPr>
          <p:cNvSpPr>
            <a:spLocks noGrp="1"/>
          </p:cNvSpPr>
          <p:nvPr>
            <p:ph type="sldNum" sz="quarter" idx="20"/>
            <p:custDataLst>
              <p:tags r:id="rId7"/>
            </p:custDataLst>
          </p:nvPr>
        </p:nvSpPr>
        <p:spPr/>
        <p:txBody>
          <a:bodyPr/>
          <a:lstStyle/>
          <a:p>
            <a:fld id="{92DB0D90-6264-4E90-9724-ABC670DBF4FB}" type="slidenum">
              <a:rPr lang="pl-PL" smtClean="0"/>
              <a:pPr/>
              <a:t>8</a:t>
            </a:fld>
            <a:endParaRPr lang="pl-PL" dirty="0"/>
          </a:p>
        </p:txBody>
      </p:sp>
      <p:sp>
        <p:nvSpPr>
          <p:cNvPr id="8" name="Rectangle 7">
            <a:extLst>
              <a:ext uri="{FF2B5EF4-FFF2-40B4-BE49-F238E27FC236}">
                <a16:creationId xmlns:a16="http://schemas.microsoft.com/office/drawing/2014/main" id="{67E366FD-F4DA-4234-A2E6-932693EA778C}"/>
              </a:ext>
            </a:extLst>
          </p:cNvPr>
          <p:cNvSpPr/>
          <p:nvPr/>
        </p:nvSpPr>
        <p:spPr>
          <a:xfrm>
            <a:off x="896771" y="5912297"/>
            <a:ext cx="5391284" cy="215444"/>
          </a:xfrm>
          <a:prstGeom prst="rect">
            <a:avLst/>
          </a:prstGeom>
        </p:spPr>
        <p:txBody>
          <a:bodyPr wrap="square">
            <a:spAutoFit/>
          </a:bodyPr>
          <a:lstStyle/>
          <a:p>
            <a:pPr>
              <a:spcBef>
                <a:spcPts val="600"/>
              </a:spcBef>
              <a:buClr>
                <a:schemeClr val="accent1"/>
              </a:buClr>
            </a:pPr>
            <a:r>
              <a:rPr lang="pl-PL" altLang="en-US" sz="800" dirty="0"/>
              <a:t>*Źródło: </a:t>
            </a:r>
            <a:r>
              <a:rPr lang="pl-PL" altLang="en-US" sz="800" dirty="0" err="1"/>
              <a:t>Poltransplant</a:t>
            </a:r>
            <a:r>
              <a:rPr lang="pl-PL" altLang="en-US" sz="800" dirty="0"/>
              <a:t>, dane na dzień 30.06.2024 r.</a:t>
            </a:r>
          </a:p>
        </p:txBody>
      </p:sp>
    </p:spTree>
    <p:extLst>
      <p:ext uri="{BB962C8B-B14F-4D97-AF65-F5344CB8AC3E}">
        <p14:creationId xmlns:p14="http://schemas.microsoft.com/office/powerpoint/2010/main" val="16181097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pPr lvl="1"/>
            <a:r>
              <a:rPr lang="pl-PL" dirty="0"/>
              <a:t>Kryteria rejestracji</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Kto może zostać potencjalnym </a:t>
            </a:r>
            <a:br>
              <a:rPr lang="pl-PL" dirty="0"/>
            </a:br>
            <a:r>
              <a:rPr lang="pl-PL" dirty="0"/>
              <a:t>Dawcą szpiku?</a:t>
            </a:r>
          </a:p>
        </p:txBody>
      </p:sp>
    </p:spTree>
    <p:extLst>
      <p:ext uri="{BB962C8B-B14F-4D97-AF65-F5344CB8AC3E}">
        <p14:creationId xmlns:p14="http://schemas.microsoft.com/office/powerpoint/2010/main" val="13665667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ASTCOUNT" val="1"/>
  <p:tag name="DES1LAYOUTCOUNT" val="53"/>
  <p:tag name="LINGO_COUNT" val="68"/>
  <p:tag name="LANG_DEF" val="1045"/>
  <p:tag name="LANG_NAME" val="Polish"/>
</p:tagLst>
</file>

<file path=ppt/tags/tag10.xml><?xml version="1.0" encoding="utf-8"?>
<p:tagLst xmlns:a="http://schemas.openxmlformats.org/drawingml/2006/main" xmlns:r="http://schemas.openxmlformats.org/officeDocument/2006/relationships" xmlns:p="http://schemas.openxmlformats.org/presentationml/2006/main">
  <p:tag name="SHAPE" val="OLD"/>
</p:tagLst>
</file>

<file path=ppt/tags/tag100.xml><?xml version="1.0" encoding="utf-8"?>
<p:tagLst xmlns:a="http://schemas.openxmlformats.org/drawingml/2006/main" xmlns:r="http://schemas.openxmlformats.org/officeDocument/2006/relationships" xmlns:p="http://schemas.openxmlformats.org/presentationml/2006/main">
  <p:tag name="SHAPE" val="OLD"/>
</p:tagLst>
</file>

<file path=ppt/tags/tag101.xml><?xml version="1.0" encoding="utf-8"?>
<p:tagLst xmlns:a="http://schemas.openxmlformats.org/drawingml/2006/main" xmlns:r="http://schemas.openxmlformats.org/officeDocument/2006/relationships" xmlns:p="http://schemas.openxmlformats.org/presentationml/2006/main">
  <p:tag name="SHAPE" val="OLD"/>
</p:tagLst>
</file>

<file path=ppt/tags/tag102.xml><?xml version="1.0" encoding="utf-8"?>
<p:tagLst xmlns:a="http://schemas.openxmlformats.org/drawingml/2006/main" xmlns:r="http://schemas.openxmlformats.org/officeDocument/2006/relationships" xmlns:p="http://schemas.openxmlformats.org/presentationml/2006/main">
  <p:tag name="SHAPE" val="OLD"/>
</p:tagLst>
</file>

<file path=ppt/tags/tag103.xml><?xml version="1.0" encoding="utf-8"?>
<p:tagLst xmlns:a="http://schemas.openxmlformats.org/drawingml/2006/main" xmlns:r="http://schemas.openxmlformats.org/officeDocument/2006/relationships" xmlns:p="http://schemas.openxmlformats.org/presentationml/2006/main">
  <p:tag name="SHAPE" val="OLD"/>
</p:tagLst>
</file>

<file path=ppt/tags/tag104.xml><?xml version="1.0" encoding="utf-8"?>
<p:tagLst xmlns:a="http://schemas.openxmlformats.org/drawingml/2006/main" xmlns:r="http://schemas.openxmlformats.org/officeDocument/2006/relationships" xmlns:p="http://schemas.openxmlformats.org/presentationml/2006/main">
  <p:tag name="SHAPE" val="OLD"/>
</p:tagLst>
</file>

<file path=ppt/tags/tag105.xml><?xml version="1.0" encoding="utf-8"?>
<p:tagLst xmlns:a="http://schemas.openxmlformats.org/drawingml/2006/main" xmlns:r="http://schemas.openxmlformats.org/officeDocument/2006/relationships" xmlns:p="http://schemas.openxmlformats.org/presentationml/2006/main">
  <p:tag name="SHAPE" val="OLD"/>
</p:tagLst>
</file>

<file path=ppt/tags/tag106.xml><?xml version="1.0" encoding="utf-8"?>
<p:tagLst xmlns:a="http://schemas.openxmlformats.org/drawingml/2006/main" xmlns:r="http://schemas.openxmlformats.org/officeDocument/2006/relationships" xmlns:p="http://schemas.openxmlformats.org/presentationml/2006/main">
  <p:tag name="SHAPE" val="OLD"/>
</p:tagLst>
</file>

<file path=ppt/tags/tag107.xml><?xml version="1.0" encoding="utf-8"?>
<p:tagLst xmlns:a="http://schemas.openxmlformats.org/drawingml/2006/main" xmlns:r="http://schemas.openxmlformats.org/officeDocument/2006/relationships" xmlns:p="http://schemas.openxmlformats.org/presentationml/2006/main">
  <p:tag name="SHAPE" val="OLD"/>
</p:tagLst>
</file>

<file path=ppt/tags/tag108.xml><?xml version="1.0" encoding="utf-8"?>
<p:tagLst xmlns:a="http://schemas.openxmlformats.org/drawingml/2006/main" xmlns:r="http://schemas.openxmlformats.org/officeDocument/2006/relationships" xmlns:p="http://schemas.openxmlformats.org/presentationml/2006/main">
  <p:tag name="SHAPE" val="OLD"/>
</p:tagLst>
</file>

<file path=ppt/tags/tag109.xml><?xml version="1.0" encoding="utf-8"?>
<p:tagLst xmlns:a="http://schemas.openxmlformats.org/drawingml/2006/main" xmlns:r="http://schemas.openxmlformats.org/officeDocument/2006/relationships" xmlns:p="http://schemas.openxmlformats.org/presentationml/2006/main">
  <p:tag name="SHAPE" val="OLD"/>
</p:tagLst>
</file>

<file path=ppt/tags/tag11.xml><?xml version="1.0" encoding="utf-8"?>
<p:tagLst xmlns:a="http://schemas.openxmlformats.org/drawingml/2006/main" xmlns:r="http://schemas.openxmlformats.org/officeDocument/2006/relationships" xmlns:p="http://schemas.openxmlformats.org/presentationml/2006/main">
  <p:tag name="SHAPE" val="OLD"/>
</p:tagLst>
</file>

<file path=ppt/tags/tag110.xml><?xml version="1.0" encoding="utf-8"?>
<p:tagLst xmlns:a="http://schemas.openxmlformats.org/drawingml/2006/main" xmlns:r="http://schemas.openxmlformats.org/officeDocument/2006/relationships" xmlns:p="http://schemas.openxmlformats.org/presentationml/2006/main">
  <p:tag name="SHAPE" val="OLD"/>
</p:tagLst>
</file>

<file path=ppt/tags/tag111.xml><?xml version="1.0" encoding="utf-8"?>
<p:tagLst xmlns:a="http://schemas.openxmlformats.org/drawingml/2006/main" xmlns:r="http://schemas.openxmlformats.org/officeDocument/2006/relationships" xmlns:p="http://schemas.openxmlformats.org/presentationml/2006/main">
  <p:tag name="SHAPE" val="OLD"/>
</p:tagLst>
</file>

<file path=ppt/tags/tag112.xml><?xml version="1.0" encoding="utf-8"?>
<p:tagLst xmlns:a="http://schemas.openxmlformats.org/drawingml/2006/main" xmlns:r="http://schemas.openxmlformats.org/officeDocument/2006/relationships" xmlns:p="http://schemas.openxmlformats.org/presentationml/2006/main">
  <p:tag name="SHAPE" val="OLD"/>
</p:tagLst>
</file>

<file path=ppt/tags/tag113.xml><?xml version="1.0" encoding="utf-8"?>
<p:tagLst xmlns:a="http://schemas.openxmlformats.org/drawingml/2006/main" xmlns:r="http://schemas.openxmlformats.org/officeDocument/2006/relationships" xmlns:p="http://schemas.openxmlformats.org/presentationml/2006/main">
  <p:tag name="SHAPE" val="OLD"/>
</p:tagLst>
</file>

<file path=ppt/tags/tag114.xml><?xml version="1.0" encoding="utf-8"?>
<p:tagLst xmlns:a="http://schemas.openxmlformats.org/drawingml/2006/main" xmlns:r="http://schemas.openxmlformats.org/officeDocument/2006/relationships" xmlns:p="http://schemas.openxmlformats.org/presentationml/2006/main">
  <p:tag name="SHAPE" val="OLD"/>
</p:tagLst>
</file>

<file path=ppt/tags/tag115.xml><?xml version="1.0" encoding="utf-8"?>
<p:tagLst xmlns:a="http://schemas.openxmlformats.org/drawingml/2006/main" xmlns:r="http://schemas.openxmlformats.org/officeDocument/2006/relationships" xmlns:p="http://schemas.openxmlformats.org/presentationml/2006/main">
  <p:tag name="SHAPE" val="OLD"/>
</p:tagLst>
</file>

<file path=ppt/tags/tag116.xml><?xml version="1.0" encoding="utf-8"?>
<p:tagLst xmlns:a="http://schemas.openxmlformats.org/drawingml/2006/main" xmlns:r="http://schemas.openxmlformats.org/officeDocument/2006/relationships" xmlns:p="http://schemas.openxmlformats.org/presentationml/2006/main">
  <p:tag name="SHAPE" val="OLD"/>
</p:tagLst>
</file>

<file path=ppt/tags/tag117.xml><?xml version="1.0" encoding="utf-8"?>
<p:tagLst xmlns:a="http://schemas.openxmlformats.org/drawingml/2006/main" xmlns:r="http://schemas.openxmlformats.org/officeDocument/2006/relationships" xmlns:p="http://schemas.openxmlformats.org/presentationml/2006/main">
  <p:tag name="SHAPE" val="OLD"/>
</p:tagLst>
</file>

<file path=ppt/tags/tag118.xml><?xml version="1.0" encoding="utf-8"?>
<p:tagLst xmlns:a="http://schemas.openxmlformats.org/drawingml/2006/main" xmlns:r="http://schemas.openxmlformats.org/officeDocument/2006/relationships" xmlns:p="http://schemas.openxmlformats.org/presentationml/2006/main">
  <p:tag name="SHAPE" val="OLD"/>
</p:tagLst>
</file>

<file path=ppt/tags/tag119.xml><?xml version="1.0" encoding="utf-8"?>
<p:tagLst xmlns:a="http://schemas.openxmlformats.org/drawingml/2006/main" xmlns:r="http://schemas.openxmlformats.org/officeDocument/2006/relationships" xmlns:p="http://schemas.openxmlformats.org/presentationml/2006/main">
  <p:tag name="SHAPE" val="OLD"/>
</p:tagLst>
</file>

<file path=ppt/tags/tag12.xml><?xml version="1.0" encoding="utf-8"?>
<p:tagLst xmlns:a="http://schemas.openxmlformats.org/drawingml/2006/main" xmlns:r="http://schemas.openxmlformats.org/officeDocument/2006/relationships" xmlns:p="http://schemas.openxmlformats.org/presentationml/2006/main">
  <p:tag name="SHAPE" val="OLD"/>
</p:tagLst>
</file>

<file path=ppt/tags/tag120.xml><?xml version="1.0" encoding="utf-8"?>
<p:tagLst xmlns:a="http://schemas.openxmlformats.org/drawingml/2006/main" xmlns:r="http://schemas.openxmlformats.org/officeDocument/2006/relationships" xmlns:p="http://schemas.openxmlformats.org/presentationml/2006/main">
  <p:tag name="SHAPE" val="OLD"/>
</p:tagLst>
</file>

<file path=ppt/tags/tag121.xml><?xml version="1.0" encoding="utf-8"?>
<p:tagLst xmlns:a="http://schemas.openxmlformats.org/drawingml/2006/main" xmlns:r="http://schemas.openxmlformats.org/officeDocument/2006/relationships" xmlns:p="http://schemas.openxmlformats.org/presentationml/2006/main">
  <p:tag name="SHAPE" val="OLD"/>
</p:tagLst>
</file>

<file path=ppt/tags/tag122.xml><?xml version="1.0" encoding="utf-8"?>
<p:tagLst xmlns:a="http://schemas.openxmlformats.org/drawingml/2006/main" xmlns:r="http://schemas.openxmlformats.org/officeDocument/2006/relationships" xmlns:p="http://schemas.openxmlformats.org/presentationml/2006/main">
  <p:tag name="SHAPE" val="OLD"/>
</p:tagLst>
</file>

<file path=ppt/tags/tag123.xml><?xml version="1.0" encoding="utf-8"?>
<p:tagLst xmlns:a="http://schemas.openxmlformats.org/drawingml/2006/main" xmlns:r="http://schemas.openxmlformats.org/officeDocument/2006/relationships" xmlns:p="http://schemas.openxmlformats.org/presentationml/2006/main">
  <p:tag name="SHAPE" val="OLD"/>
</p:tagLst>
</file>

<file path=ppt/tags/tag124.xml><?xml version="1.0" encoding="utf-8"?>
<p:tagLst xmlns:a="http://schemas.openxmlformats.org/drawingml/2006/main" xmlns:r="http://schemas.openxmlformats.org/officeDocument/2006/relationships" xmlns:p="http://schemas.openxmlformats.org/presentationml/2006/main">
  <p:tag name="SHAPE" val="OLD"/>
</p:tagLst>
</file>

<file path=ppt/tags/tag125.xml><?xml version="1.0" encoding="utf-8"?>
<p:tagLst xmlns:a="http://schemas.openxmlformats.org/drawingml/2006/main" xmlns:r="http://schemas.openxmlformats.org/officeDocument/2006/relationships" xmlns:p="http://schemas.openxmlformats.org/presentationml/2006/main">
  <p:tag name="SHAPE" val="OLD"/>
</p:tagLst>
</file>

<file path=ppt/tags/tag126.xml><?xml version="1.0" encoding="utf-8"?>
<p:tagLst xmlns:a="http://schemas.openxmlformats.org/drawingml/2006/main" xmlns:r="http://schemas.openxmlformats.org/officeDocument/2006/relationships" xmlns:p="http://schemas.openxmlformats.org/presentationml/2006/main">
  <p:tag name="SHAPE" val="OLD"/>
</p:tagLst>
</file>

<file path=ppt/tags/tag127.xml><?xml version="1.0" encoding="utf-8"?>
<p:tagLst xmlns:a="http://schemas.openxmlformats.org/drawingml/2006/main" xmlns:r="http://schemas.openxmlformats.org/officeDocument/2006/relationships" xmlns:p="http://schemas.openxmlformats.org/presentationml/2006/main">
  <p:tag name="SHAPE" val="OLD"/>
</p:tagLst>
</file>

<file path=ppt/tags/tag128.xml><?xml version="1.0" encoding="utf-8"?>
<p:tagLst xmlns:a="http://schemas.openxmlformats.org/drawingml/2006/main" xmlns:r="http://schemas.openxmlformats.org/officeDocument/2006/relationships" xmlns:p="http://schemas.openxmlformats.org/presentationml/2006/main">
  <p:tag name="SHAPE" val="OLD"/>
</p:tagLst>
</file>

<file path=ppt/tags/tag129.xml><?xml version="1.0" encoding="utf-8"?>
<p:tagLst xmlns:a="http://schemas.openxmlformats.org/drawingml/2006/main" xmlns:r="http://schemas.openxmlformats.org/officeDocument/2006/relationships" xmlns:p="http://schemas.openxmlformats.org/presentationml/2006/main">
  <p:tag name="SHAPE" val="OLD"/>
</p:tagLst>
</file>

<file path=ppt/tags/tag13.xml><?xml version="1.0" encoding="utf-8"?>
<p:tagLst xmlns:a="http://schemas.openxmlformats.org/drawingml/2006/main" xmlns:r="http://schemas.openxmlformats.org/officeDocument/2006/relationships" xmlns:p="http://schemas.openxmlformats.org/presentationml/2006/main">
  <p:tag name="SHAPE" val="OLD"/>
</p:tagLst>
</file>

<file path=ppt/tags/tag130.xml><?xml version="1.0" encoding="utf-8"?>
<p:tagLst xmlns:a="http://schemas.openxmlformats.org/drawingml/2006/main" xmlns:r="http://schemas.openxmlformats.org/officeDocument/2006/relationships" xmlns:p="http://schemas.openxmlformats.org/presentationml/2006/main">
  <p:tag name="SHAPE" val="OLD"/>
</p:tagLst>
</file>

<file path=ppt/tags/tag131.xml><?xml version="1.0" encoding="utf-8"?>
<p:tagLst xmlns:a="http://schemas.openxmlformats.org/drawingml/2006/main" xmlns:r="http://schemas.openxmlformats.org/officeDocument/2006/relationships" xmlns:p="http://schemas.openxmlformats.org/presentationml/2006/main">
  <p:tag name="SHAPE" val="OLD"/>
</p:tagLst>
</file>

<file path=ppt/tags/tag132.xml><?xml version="1.0" encoding="utf-8"?>
<p:tagLst xmlns:a="http://schemas.openxmlformats.org/drawingml/2006/main" xmlns:r="http://schemas.openxmlformats.org/officeDocument/2006/relationships" xmlns:p="http://schemas.openxmlformats.org/presentationml/2006/main">
  <p:tag name="SHAPE" val="OLD"/>
</p:tagLst>
</file>

<file path=ppt/tags/tag133.xml><?xml version="1.0" encoding="utf-8"?>
<p:tagLst xmlns:a="http://schemas.openxmlformats.org/drawingml/2006/main" xmlns:r="http://schemas.openxmlformats.org/officeDocument/2006/relationships" xmlns:p="http://schemas.openxmlformats.org/presentationml/2006/main">
  <p:tag name="SHAPE" val="OLD"/>
</p:tagLst>
</file>

<file path=ppt/tags/tag134.xml><?xml version="1.0" encoding="utf-8"?>
<p:tagLst xmlns:a="http://schemas.openxmlformats.org/drawingml/2006/main" xmlns:r="http://schemas.openxmlformats.org/officeDocument/2006/relationships" xmlns:p="http://schemas.openxmlformats.org/presentationml/2006/main">
  <p:tag name="SHAPE" val="OLD"/>
</p:tagLst>
</file>

<file path=ppt/tags/tag135.xml><?xml version="1.0" encoding="utf-8"?>
<p:tagLst xmlns:a="http://schemas.openxmlformats.org/drawingml/2006/main" xmlns:r="http://schemas.openxmlformats.org/officeDocument/2006/relationships" xmlns:p="http://schemas.openxmlformats.org/presentationml/2006/main">
  <p:tag name="SHAPE" val="OLD"/>
</p:tagLst>
</file>

<file path=ppt/tags/tag136.xml><?xml version="1.0" encoding="utf-8"?>
<p:tagLst xmlns:a="http://schemas.openxmlformats.org/drawingml/2006/main" xmlns:r="http://schemas.openxmlformats.org/officeDocument/2006/relationships" xmlns:p="http://schemas.openxmlformats.org/presentationml/2006/main">
  <p:tag name="SHAPE" val="OLD"/>
</p:tagLst>
</file>

<file path=ppt/tags/tag137.xml><?xml version="1.0" encoding="utf-8"?>
<p:tagLst xmlns:a="http://schemas.openxmlformats.org/drawingml/2006/main" xmlns:r="http://schemas.openxmlformats.org/officeDocument/2006/relationships" xmlns:p="http://schemas.openxmlformats.org/presentationml/2006/main">
  <p:tag name="SHAPE" val="OLD"/>
</p:tagLst>
</file>

<file path=ppt/tags/tag138.xml><?xml version="1.0" encoding="utf-8"?>
<p:tagLst xmlns:a="http://schemas.openxmlformats.org/drawingml/2006/main" xmlns:r="http://schemas.openxmlformats.org/officeDocument/2006/relationships" xmlns:p="http://schemas.openxmlformats.org/presentationml/2006/main">
  <p:tag name="SHAPE" val="OLD"/>
</p:tagLst>
</file>

<file path=ppt/tags/tag139.xml><?xml version="1.0" encoding="utf-8"?>
<p:tagLst xmlns:a="http://schemas.openxmlformats.org/drawingml/2006/main" xmlns:r="http://schemas.openxmlformats.org/officeDocument/2006/relationships" xmlns:p="http://schemas.openxmlformats.org/presentationml/2006/main">
  <p:tag name="SHAPE" val="OLD"/>
</p:tagLst>
</file>

<file path=ppt/tags/tag14.xml><?xml version="1.0" encoding="utf-8"?>
<p:tagLst xmlns:a="http://schemas.openxmlformats.org/drawingml/2006/main" xmlns:r="http://schemas.openxmlformats.org/officeDocument/2006/relationships" xmlns:p="http://schemas.openxmlformats.org/presentationml/2006/main">
  <p:tag name="SHAPE" val="OLD"/>
</p:tagLst>
</file>

<file path=ppt/tags/tag140.xml><?xml version="1.0" encoding="utf-8"?>
<p:tagLst xmlns:a="http://schemas.openxmlformats.org/drawingml/2006/main" xmlns:r="http://schemas.openxmlformats.org/officeDocument/2006/relationships" xmlns:p="http://schemas.openxmlformats.org/presentationml/2006/main">
  <p:tag name="SHAPE" val="OLD"/>
</p:tagLst>
</file>

<file path=ppt/tags/tag141.xml><?xml version="1.0" encoding="utf-8"?>
<p:tagLst xmlns:a="http://schemas.openxmlformats.org/drawingml/2006/main" xmlns:r="http://schemas.openxmlformats.org/officeDocument/2006/relationships" xmlns:p="http://schemas.openxmlformats.org/presentationml/2006/main">
  <p:tag name="SHAPE" val="OLD"/>
</p:tagLst>
</file>

<file path=ppt/tags/tag142.xml><?xml version="1.0" encoding="utf-8"?>
<p:tagLst xmlns:a="http://schemas.openxmlformats.org/drawingml/2006/main" xmlns:r="http://schemas.openxmlformats.org/officeDocument/2006/relationships" xmlns:p="http://schemas.openxmlformats.org/presentationml/2006/main">
  <p:tag name="SHAPE" val="OLD"/>
</p:tagLst>
</file>

<file path=ppt/tags/tag143.xml><?xml version="1.0" encoding="utf-8"?>
<p:tagLst xmlns:a="http://schemas.openxmlformats.org/drawingml/2006/main" xmlns:r="http://schemas.openxmlformats.org/officeDocument/2006/relationships" xmlns:p="http://schemas.openxmlformats.org/presentationml/2006/main">
  <p:tag name="SHAPE" val="OLD"/>
</p:tagLst>
</file>

<file path=ppt/tags/tag144.xml><?xml version="1.0" encoding="utf-8"?>
<p:tagLst xmlns:a="http://schemas.openxmlformats.org/drawingml/2006/main" xmlns:r="http://schemas.openxmlformats.org/officeDocument/2006/relationships" xmlns:p="http://schemas.openxmlformats.org/presentationml/2006/main">
  <p:tag name="SHAPE" val="OLD"/>
</p:tagLst>
</file>

<file path=ppt/tags/tag145.xml><?xml version="1.0" encoding="utf-8"?>
<p:tagLst xmlns:a="http://schemas.openxmlformats.org/drawingml/2006/main" xmlns:r="http://schemas.openxmlformats.org/officeDocument/2006/relationships" xmlns:p="http://schemas.openxmlformats.org/presentationml/2006/main">
  <p:tag name="SHAPE" val="OLD"/>
</p:tagLst>
</file>

<file path=ppt/tags/tag146.xml><?xml version="1.0" encoding="utf-8"?>
<p:tagLst xmlns:a="http://schemas.openxmlformats.org/drawingml/2006/main" xmlns:r="http://schemas.openxmlformats.org/officeDocument/2006/relationships" xmlns:p="http://schemas.openxmlformats.org/presentationml/2006/main">
  <p:tag name="SHAPE" val="OLD"/>
</p:tagLst>
</file>

<file path=ppt/tags/tag147.xml><?xml version="1.0" encoding="utf-8"?>
<p:tagLst xmlns:a="http://schemas.openxmlformats.org/drawingml/2006/main" xmlns:r="http://schemas.openxmlformats.org/officeDocument/2006/relationships" xmlns:p="http://schemas.openxmlformats.org/presentationml/2006/main">
  <p:tag name="SHAPE" val="OLD"/>
</p:tagLst>
</file>

<file path=ppt/tags/tag148.xml><?xml version="1.0" encoding="utf-8"?>
<p:tagLst xmlns:a="http://schemas.openxmlformats.org/drawingml/2006/main" xmlns:r="http://schemas.openxmlformats.org/officeDocument/2006/relationships" xmlns:p="http://schemas.openxmlformats.org/presentationml/2006/main">
  <p:tag name="SHAPE" val="OLD"/>
</p:tagLst>
</file>

<file path=ppt/tags/tag149.xml><?xml version="1.0" encoding="utf-8"?>
<p:tagLst xmlns:a="http://schemas.openxmlformats.org/drawingml/2006/main" xmlns:r="http://schemas.openxmlformats.org/officeDocument/2006/relationships" xmlns:p="http://schemas.openxmlformats.org/presentationml/2006/main">
  <p:tag name="SHAPE" val="OLD"/>
</p:tagLst>
</file>

<file path=ppt/tags/tag15.xml><?xml version="1.0" encoding="utf-8"?>
<p:tagLst xmlns:a="http://schemas.openxmlformats.org/drawingml/2006/main" xmlns:r="http://schemas.openxmlformats.org/officeDocument/2006/relationships" xmlns:p="http://schemas.openxmlformats.org/presentationml/2006/main">
  <p:tag name="SHAPE" val="OLD"/>
</p:tagLst>
</file>

<file path=ppt/tags/tag150.xml><?xml version="1.0" encoding="utf-8"?>
<p:tagLst xmlns:a="http://schemas.openxmlformats.org/drawingml/2006/main" xmlns:r="http://schemas.openxmlformats.org/officeDocument/2006/relationships" xmlns:p="http://schemas.openxmlformats.org/presentationml/2006/main">
  <p:tag name="SHAPE" val="OLD"/>
</p:tagLst>
</file>

<file path=ppt/tags/tag151.xml><?xml version="1.0" encoding="utf-8"?>
<p:tagLst xmlns:a="http://schemas.openxmlformats.org/drawingml/2006/main" xmlns:r="http://schemas.openxmlformats.org/officeDocument/2006/relationships" xmlns:p="http://schemas.openxmlformats.org/presentationml/2006/main">
  <p:tag name="SHAPE" val="OLD"/>
</p:tagLst>
</file>

<file path=ppt/tags/tag152.xml><?xml version="1.0" encoding="utf-8"?>
<p:tagLst xmlns:a="http://schemas.openxmlformats.org/drawingml/2006/main" xmlns:r="http://schemas.openxmlformats.org/officeDocument/2006/relationships" xmlns:p="http://schemas.openxmlformats.org/presentationml/2006/main">
  <p:tag name="SHAPE" val="OLD"/>
</p:tagLst>
</file>

<file path=ppt/tags/tag153.xml><?xml version="1.0" encoding="utf-8"?>
<p:tagLst xmlns:a="http://schemas.openxmlformats.org/drawingml/2006/main" xmlns:r="http://schemas.openxmlformats.org/officeDocument/2006/relationships" xmlns:p="http://schemas.openxmlformats.org/presentationml/2006/main">
  <p:tag name="SHAPE" val="OLD"/>
</p:tagLst>
</file>

<file path=ppt/tags/tag154.xml><?xml version="1.0" encoding="utf-8"?>
<p:tagLst xmlns:a="http://schemas.openxmlformats.org/drawingml/2006/main" xmlns:r="http://schemas.openxmlformats.org/officeDocument/2006/relationships" xmlns:p="http://schemas.openxmlformats.org/presentationml/2006/main">
  <p:tag name="SHAPE" val="OLD"/>
</p:tagLst>
</file>

<file path=ppt/tags/tag155.xml><?xml version="1.0" encoding="utf-8"?>
<p:tagLst xmlns:a="http://schemas.openxmlformats.org/drawingml/2006/main" xmlns:r="http://schemas.openxmlformats.org/officeDocument/2006/relationships" xmlns:p="http://schemas.openxmlformats.org/presentationml/2006/main">
  <p:tag name="SHAPE" val="OLD"/>
</p:tagLst>
</file>

<file path=ppt/tags/tag156.xml><?xml version="1.0" encoding="utf-8"?>
<p:tagLst xmlns:a="http://schemas.openxmlformats.org/drawingml/2006/main" xmlns:r="http://schemas.openxmlformats.org/officeDocument/2006/relationships" xmlns:p="http://schemas.openxmlformats.org/presentationml/2006/main">
  <p:tag name="SHAPE" val="OLD"/>
</p:tagLst>
</file>

<file path=ppt/tags/tag157.xml><?xml version="1.0" encoding="utf-8"?>
<p:tagLst xmlns:a="http://schemas.openxmlformats.org/drawingml/2006/main" xmlns:r="http://schemas.openxmlformats.org/officeDocument/2006/relationships" xmlns:p="http://schemas.openxmlformats.org/presentationml/2006/main">
  <p:tag name="SHAPE" val="OLD"/>
</p:tagLst>
</file>

<file path=ppt/tags/tag158.xml><?xml version="1.0" encoding="utf-8"?>
<p:tagLst xmlns:a="http://schemas.openxmlformats.org/drawingml/2006/main" xmlns:r="http://schemas.openxmlformats.org/officeDocument/2006/relationships" xmlns:p="http://schemas.openxmlformats.org/presentationml/2006/main">
  <p:tag name="SHAPE" val="OLD"/>
</p:tagLst>
</file>

<file path=ppt/tags/tag159.xml><?xml version="1.0" encoding="utf-8"?>
<p:tagLst xmlns:a="http://schemas.openxmlformats.org/drawingml/2006/main" xmlns:r="http://schemas.openxmlformats.org/officeDocument/2006/relationships" xmlns:p="http://schemas.openxmlformats.org/presentationml/2006/main">
  <p:tag name="SHAPE" val="OLD"/>
</p:tagLst>
</file>

<file path=ppt/tags/tag16.xml><?xml version="1.0" encoding="utf-8"?>
<p:tagLst xmlns:a="http://schemas.openxmlformats.org/drawingml/2006/main" xmlns:r="http://schemas.openxmlformats.org/officeDocument/2006/relationships" xmlns:p="http://schemas.openxmlformats.org/presentationml/2006/main">
  <p:tag name="SHAPE" val="OLD"/>
</p:tagLst>
</file>

<file path=ppt/tags/tag160.xml><?xml version="1.0" encoding="utf-8"?>
<p:tagLst xmlns:a="http://schemas.openxmlformats.org/drawingml/2006/main" xmlns:r="http://schemas.openxmlformats.org/officeDocument/2006/relationships" xmlns:p="http://schemas.openxmlformats.org/presentationml/2006/main">
  <p:tag name="SHAPE" val="OLD"/>
</p:tagLst>
</file>

<file path=ppt/tags/tag161.xml><?xml version="1.0" encoding="utf-8"?>
<p:tagLst xmlns:a="http://schemas.openxmlformats.org/drawingml/2006/main" xmlns:r="http://schemas.openxmlformats.org/officeDocument/2006/relationships" xmlns:p="http://schemas.openxmlformats.org/presentationml/2006/main">
  <p:tag name="SHAPE" val="OLD"/>
</p:tagLst>
</file>

<file path=ppt/tags/tag162.xml><?xml version="1.0" encoding="utf-8"?>
<p:tagLst xmlns:a="http://schemas.openxmlformats.org/drawingml/2006/main" xmlns:r="http://schemas.openxmlformats.org/officeDocument/2006/relationships" xmlns:p="http://schemas.openxmlformats.org/presentationml/2006/main">
  <p:tag name="SHAPE" val="OLD"/>
</p:tagLst>
</file>

<file path=ppt/tags/tag163.xml><?xml version="1.0" encoding="utf-8"?>
<p:tagLst xmlns:a="http://schemas.openxmlformats.org/drawingml/2006/main" xmlns:r="http://schemas.openxmlformats.org/officeDocument/2006/relationships" xmlns:p="http://schemas.openxmlformats.org/presentationml/2006/main">
  <p:tag name="SHAPE" val="OLD"/>
</p:tagLst>
</file>

<file path=ppt/tags/tag164.xml><?xml version="1.0" encoding="utf-8"?>
<p:tagLst xmlns:a="http://schemas.openxmlformats.org/drawingml/2006/main" xmlns:r="http://schemas.openxmlformats.org/officeDocument/2006/relationships" xmlns:p="http://schemas.openxmlformats.org/presentationml/2006/main">
  <p:tag name="SHAPE" val="OLD"/>
</p:tagLst>
</file>

<file path=ppt/tags/tag165.xml><?xml version="1.0" encoding="utf-8"?>
<p:tagLst xmlns:a="http://schemas.openxmlformats.org/drawingml/2006/main" xmlns:r="http://schemas.openxmlformats.org/officeDocument/2006/relationships" xmlns:p="http://schemas.openxmlformats.org/presentationml/2006/main">
  <p:tag name="SHAPE" val="OLD"/>
</p:tagLst>
</file>

<file path=ppt/tags/tag166.xml><?xml version="1.0" encoding="utf-8"?>
<p:tagLst xmlns:a="http://schemas.openxmlformats.org/drawingml/2006/main" xmlns:r="http://schemas.openxmlformats.org/officeDocument/2006/relationships" xmlns:p="http://schemas.openxmlformats.org/presentationml/2006/main">
  <p:tag name="SHAPE" val="OLD"/>
</p:tagLst>
</file>

<file path=ppt/tags/tag167.xml><?xml version="1.0" encoding="utf-8"?>
<p:tagLst xmlns:a="http://schemas.openxmlformats.org/drawingml/2006/main" xmlns:r="http://schemas.openxmlformats.org/officeDocument/2006/relationships" xmlns:p="http://schemas.openxmlformats.org/presentationml/2006/main">
  <p:tag name="SHAPE" val="OLD"/>
</p:tagLst>
</file>

<file path=ppt/tags/tag168.xml><?xml version="1.0" encoding="utf-8"?>
<p:tagLst xmlns:a="http://schemas.openxmlformats.org/drawingml/2006/main" xmlns:r="http://schemas.openxmlformats.org/officeDocument/2006/relationships" xmlns:p="http://schemas.openxmlformats.org/presentationml/2006/main">
  <p:tag name="SHAPE" val="OLD"/>
</p:tagLst>
</file>

<file path=ppt/tags/tag169.xml><?xml version="1.0" encoding="utf-8"?>
<p:tagLst xmlns:a="http://schemas.openxmlformats.org/drawingml/2006/main" xmlns:r="http://schemas.openxmlformats.org/officeDocument/2006/relationships" xmlns:p="http://schemas.openxmlformats.org/presentationml/2006/main">
  <p:tag name="SHAPE" val="OLD"/>
</p:tagLst>
</file>

<file path=ppt/tags/tag17.xml><?xml version="1.0" encoding="utf-8"?>
<p:tagLst xmlns:a="http://schemas.openxmlformats.org/drawingml/2006/main" xmlns:r="http://schemas.openxmlformats.org/officeDocument/2006/relationships" xmlns:p="http://schemas.openxmlformats.org/presentationml/2006/main">
  <p:tag name="SHAPE" val="OLD"/>
</p:tagLst>
</file>

<file path=ppt/tags/tag170.xml><?xml version="1.0" encoding="utf-8"?>
<p:tagLst xmlns:a="http://schemas.openxmlformats.org/drawingml/2006/main" xmlns:r="http://schemas.openxmlformats.org/officeDocument/2006/relationships" xmlns:p="http://schemas.openxmlformats.org/presentationml/2006/main">
  <p:tag name="SHAPE" val="OLD"/>
</p:tagLst>
</file>

<file path=ppt/tags/tag171.xml><?xml version="1.0" encoding="utf-8"?>
<p:tagLst xmlns:a="http://schemas.openxmlformats.org/drawingml/2006/main" xmlns:r="http://schemas.openxmlformats.org/officeDocument/2006/relationships" xmlns:p="http://schemas.openxmlformats.org/presentationml/2006/main">
  <p:tag name="SHAPE" val="OLD"/>
</p:tagLst>
</file>

<file path=ppt/tags/tag172.xml><?xml version="1.0" encoding="utf-8"?>
<p:tagLst xmlns:a="http://schemas.openxmlformats.org/drawingml/2006/main" xmlns:r="http://schemas.openxmlformats.org/officeDocument/2006/relationships" xmlns:p="http://schemas.openxmlformats.org/presentationml/2006/main">
  <p:tag name="SHAPE" val="OLD"/>
</p:tagLst>
</file>

<file path=ppt/tags/tag173.xml><?xml version="1.0" encoding="utf-8"?>
<p:tagLst xmlns:a="http://schemas.openxmlformats.org/drawingml/2006/main" xmlns:r="http://schemas.openxmlformats.org/officeDocument/2006/relationships" xmlns:p="http://schemas.openxmlformats.org/presentationml/2006/main">
  <p:tag name="SHAPE" val="OLD"/>
</p:tagLst>
</file>

<file path=ppt/tags/tag174.xml><?xml version="1.0" encoding="utf-8"?>
<p:tagLst xmlns:a="http://schemas.openxmlformats.org/drawingml/2006/main" xmlns:r="http://schemas.openxmlformats.org/officeDocument/2006/relationships" xmlns:p="http://schemas.openxmlformats.org/presentationml/2006/main">
  <p:tag name="SHAPE" val="OLD"/>
</p:tagLst>
</file>

<file path=ppt/tags/tag175.xml><?xml version="1.0" encoding="utf-8"?>
<p:tagLst xmlns:a="http://schemas.openxmlformats.org/drawingml/2006/main" xmlns:r="http://schemas.openxmlformats.org/officeDocument/2006/relationships" xmlns:p="http://schemas.openxmlformats.org/presentationml/2006/main">
  <p:tag name="SHAPE" val="OLD"/>
</p:tagLst>
</file>

<file path=ppt/tags/tag176.xml><?xml version="1.0" encoding="utf-8"?>
<p:tagLst xmlns:a="http://schemas.openxmlformats.org/drawingml/2006/main" xmlns:r="http://schemas.openxmlformats.org/officeDocument/2006/relationships" xmlns:p="http://schemas.openxmlformats.org/presentationml/2006/main">
  <p:tag name="SHAPE" val="OLD"/>
</p:tagLst>
</file>

<file path=ppt/tags/tag177.xml><?xml version="1.0" encoding="utf-8"?>
<p:tagLst xmlns:a="http://schemas.openxmlformats.org/drawingml/2006/main" xmlns:r="http://schemas.openxmlformats.org/officeDocument/2006/relationships" xmlns:p="http://schemas.openxmlformats.org/presentationml/2006/main">
  <p:tag name="SHAPE" val="OLD"/>
</p:tagLst>
</file>

<file path=ppt/tags/tag178.xml><?xml version="1.0" encoding="utf-8"?>
<p:tagLst xmlns:a="http://schemas.openxmlformats.org/drawingml/2006/main" xmlns:r="http://schemas.openxmlformats.org/officeDocument/2006/relationships" xmlns:p="http://schemas.openxmlformats.org/presentationml/2006/main">
  <p:tag name="SHAPE" val="OLD"/>
</p:tagLst>
</file>

<file path=ppt/tags/tag179.xml><?xml version="1.0" encoding="utf-8"?>
<p:tagLst xmlns:a="http://schemas.openxmlformats.org/drawingml/2006/main" xmlns:r="http://schemas.openxmlformats.org/officeDocument/2006/relationships" xmlns:p="http://schemas.openxmlformats.org/presentationml/2006/main">
  <p:tag name="SHAPE" val="OLD"/>
</p:tagLst>
</file>

<file path=ppt/tags/tag18.xml><?xml version="1.0" encoding="utf-8"?>
<p:tagLst xmlns:a="http://schemas.openxmlformats.org/drawingml/2006/main" xmlns:r="http://schemas.openxmlformats.org/officeDocument/2006/relationships" xmlns:p="http://schemas.openxmlformats.org/presentationml/2006/main">
  <p:tag name="SHAPE" val="OLD"/>
</p:tagLst>
</file>

<file path=ppt/tags/tag180.xml><?xml version="1.0" encoding="utf-8"?>
<p:tagLst xmlns:a="http://schemas.openxmlformats.org/drawingml/2006/main" xmlns:r="http://schemas.openxmlformats.org/officeDocument/2006/relationships" xmlns:p="http://schemas.openxmlformats.org/presentationml/2006/main">
  <p:tag name="SHAPE" val="OLD"/>
</p:tagLst>
</file>

<file path=ppt/tags/tag181.xml><?xml version="1.0" encoding="utf-8"?>
<p:tagLst xmlns:a="http://schemas.openxmlformats.org/drawingml/2006/main" xmlns:r="http://schemas.openxmlformats.org/officeDocument/2006/relationships" xmlns:p="http://schemas.openxmlformats.org/presentationml/2006/main">
  <p:tag name="SHAPE" val="OLD"/>
</p:tagLst>
</file>

<file path=ppt/tags/tag182.xml><?xml version="1.0" encoding="utf-8"?>
<p:tagLst xmlns:a="http://schemas.openxmlformats.org/drawingml/2006/main" xmlns:r="http://schemas.openxmlformats.org/officeDocument/2006/relationships" xmlns:p="http://schemas.openxmlformats.org/presentationml/2006/main">
  <p:tag name="SHAPE" val="OLD"/>
</p:tagLst>
</file>

<file path=ppt/tags/tag183.xml><?xml version="1.0" encoding="utf-8"?>
<p:tagLst xmlns:a="http://schemas.openxmlformats.org/drawingml/2006/main" xmlns:r="http://schemas.openxmlformats.org/officeDocument/2006/relationships" xmlns:p="http://schemas.openxmlformats.org/presentationml/2006/main">
  <p:tag name="SHAPE" val="OLD"/>
</p:tagLst>
</file>

<file path=ppt/tags/tag184.xml><?xml version="1.0" encoding="utf-8"?>
<p:tagLst xmlns:a="http://schemas.openxmlformats.org/drawingml/2006/main" xmlns:r="http://schemas.openxmlformats.org/officeDocument/2006/relationships" xmlns:p="http://schemas.openxmlformats.org/presentationml/2006/main">
  <p:tag name="SHAPE" val="OLD"/>
</p:tagLst>
</file>

<file path=ppt/tags/tag185.xml><?xml version="1.0" encoding="utf-8"?>
<p:tagLst xmlns:a="http://schemas.openxmlformats.org/drawingml/2006/main" xmlns:r="http://schemas.openxmlformats.org/officeDocument/2006/relationships" xmlns:p="http://schemas.openxmlformats.org/presentationml/2006/main">
  <p:tag name="SHAPE" val="OLD"/>
</p:tagLst>
</file>

<file path=ppt/tags/tag186.xml><?xml version="1.0" encoding="utf-8"?>
<p:tagLst xmlns:a="http://schemas.openxmlformats.org/drawingml/2006/main" xmlns:r="http://schemas.openxmlformats.org/officeDocument/2006/relationships" xmlns:p="http://schemas.openxmlformats.org/presentationml/2006/main">
  <p:tag name="SHAPE" val="OLD"/>
</p:tagLst>
</file>

<file path=ppt/tags/tag187.xml><?xml version="1.0" encoding="utf-8"?>
<p:tagLst xmlns:a="http://schemas.openxmlformats.org/drawingml/2006/main" xmlns:r="http://schemas.openxmlformats.org/officeDocument/2006/relationships" xmlns:p="http://schemas.openxmlformats.org/presentationml/2006/main">
  <p:tag name="SHAPE" val="OLD"/>
</p:tagLst>
</file>

<file path=ppt/tags/tag188.xml><?xml version="1.0" encoding="utf-8"?>
<p:tagLst xmlns:a="http://schemas.openxmlformats.org/drawingml/2006/main" xmlns:r="http://schemas.openxmlformats.org/officeDocument/2006/relationships" xmlns:p="http://schemas.openxmlformats.org/presentationml/2006/main">
  <p:tag name="SHAPE" val="OLD"/>
</p:tagLst>
</file>

<file path=ppt/tags/tag189.xml><?xml version="1.0" encoding="utf-8"?>
<p:tagLst xmlns:a="http://schemas.openxmlformats.org/drawingml/2006/main" xmlns:r="http://schemas.openxmlformats.org/officeDocument/2006/relationships" xmlns:p="http://schemas.openxmlformats.org/presentationml/2006/main">
  <p:tag name="SHAPE" val="OLD"/>
</p:tagLst>
</file>

<file path=ppt/tags/tag19.xml><?xml version="1.0" encoding="utf-8"?>
<p:tagLst xmlns:a="http://schemas.openxmlformats.org/drawingml/2006/main" xmlns:r="http://schemas.openxmlformats.org/officeDocument/2006/relationships" xmlns:p="http://schemas.openxmlformats.org/presentationml/2006/main">
  <p:tag name="SHAPE" val="OLD"/>
</p:tagLst>
</file>

<file path=ppt/tags/tag190.xml><?xml version="1.0" encoding="utf-8"?>
<p:tagLst xmlns:a="http://schemas.openxmlformats.org/drawingml/2006/main" xmlns:r="http://schemas.openxmlformats.org/officeDocument/2006/relationships" xmlns:p="http://schemas.openxmlformats.org/presentationml/2006/main">
  <p:tag name="SHAPE" val="OLD"/>
</p:tagLst>
</file>

<file path=ppt/tags/tag191.xml><?xml version="1.0" encoding="utf-8"?>
<p:tagLst xmlns:a="http://schemas.openxmlformats.org/drawingml/2006/main" xmlns:r="http://schemas.openxmlformats.org/officeDocument/2006/relationships" xmlns:p="http://schemas.openxmlformats.org/presentationml/2006/main">
  <p:tag name="SHAPE" val="OLD"/>
</p:tagLst>
</file>

<file path=ppt/tags/tag192.xml><?xml version="1.0" encoding="utf-8"?>
<p:tagLst xmlns:a="http://schemas.openxmlformats.org/drawingml/2006/main" xmlns:r="http://schemas.openxmlformats.org/officeDocument/2006/relationships" xmlns:p="http://schemas.openxmlformats.org/presentationml/2006/main">
  <p:tag name="SHAPE" val="OLD"/>
</p:tagLst>
</file>

<file path=ppt/tags/tag193.xml><?xml version="1.0" encoding="utf-8"?>
<p:tagLst xmlns:a="http://schemas.openxmlformats.org/drawingml/2006/main" xmlns:r="http://schemas.openxmlformats.org/officeDocument/2006/relationships" xmlns:p="http://schemas.openxmlformats.org/presentationml/2006/main">
  <p:tag name="SHAPE" val="OLD"/>
</p:tagLst>
</file>

<file path=ppt/tags/tag194.xml><?xml version="1.0" encoding="utf-8"?>
<p:tagLst xmlns:a="http://schemas.openxmlformats.org/drawingml/2006/main" xmlns:r="http://schemas.openxmlformats.org/officeDocument/2006/relationships" xmlns:p="http://schemas.openxmlformats.org/presentationml/2006/main">
  <p:tag name="SHAPE" val="OLD"/>
</p:tagLst>
</file>

<file path=ppt/tags/tag195.xml><?xml version="1.0" encoding="utf-8"?>
<p:tagLst xmlns:a="http://schemas.openxmlformats.org/drawingml/2006/main" xmlns:r="http://schemas.openxmlformats.org/officeDocument/2006/relationships" xmlns:p="http://schemas.openxmlformats.org/presentationml/2006/main">
  <p:tag name="SHAPE" val="OLD"/>
</p:tagLst>
</file>

<file path=ppt/tags/tag196.xml><?xml version="1.0" encoding="utf-8"?>
<p:tagLst xmlns:a="http://schemas.openxmlformats.org/drawingml/2006/main" xmlns:r="http://schemas.openxmlformats.org/officeDocument/2006/relationships" xmlns:p="http://schemas.openxmlformats.org/presentationml/2006/main">
  <p:tag name="SHAPE" val="OLD"/>
</p:tagLst>
</file>

<file path=ppt/tags/tag197.xml><?xml version="1.0" encoding="utf-8"?>
<p:tagLst xmlns:a="http://schemas.openxmlformats.org/drawingml/2006/main" xmlns:r="http://schemas.openxmlformats.org/officeDocument/2006/relationships" xmlns:p="http://schemas.openxmlformats.org/presentationml/2006/main">
  <p:tag name="SHAPE" val="OLD"/>
</p:tagLst>
</file>

<file path=ppt/tags/tag198.xml><?xml version="1.0" encoding="utf-8"?>
<p:tagLst xmlns:a="http://schemas.openxmlformats.org/drawingml/2006/main" xmlns:r="http://schemas.openxmlformats.org/officeDocument/2006/relationships" xmlns:p="http://schemas.openxmlformats.org/presentationml/2006/main">
  <p:tag name="SHAPE" val="OLD"/>
</p:tagLst>
</file>

<file path=ppt/tags/tag199.xml><?xml version="1.0" encoding="utf-8"?>
<p:tagLst xmlns:a="http://schemas.openxmlformats.org/drawingml/2006/main" xmlns:r="http://schemas.openxmlformats.org/officeDocument/2006/relationships" xmlns:p="http://schemas.openxmlformats.org/presentationml/2006/main">
  <p:tag name="SHAPE" val="OLD"/>
</p:tagLst>
</file>

<file path=ppt/tags/tag2.xml><?xml version="1.0" encoding="utf-8"?>
<p:tagLst xmlns:a="http://schemas.openxmlformats.org/drawingml/2006/main" xmlns:r="http://schemas.openxmlformats.org/officeDocument/2006/relationships" xmlns:p="http://schemas.openxmlformats.org/presentationml/2006/main">
  <p:tag name="SHAPE" val="OLD"/>
</p:tagLst>
</file>

<file path=ppt/tags/tag20.xml><?xml version="1.0" encoding="utf-8"?>
<p:tagLst xmlns:a="http://schemas.openxmlformats.org/drawingml/2006/main" xmlns:r="http://schemas.openxmlformats.org/officeDocument/2006/relationships" xmlns:p="http://schemas.openxmlformats.org/presentationml/2006/main">
  <p:tag name="SHAPE" val="OLD"/>
</p:tagLst>
</file>

<file path=ppt/tags/tag200.xml><?xml version="1.0" encoding="utf-8"?>
<p:tagLst xmlns:a="http://schemas.openxmlformats.org/drawingml/2006/main" xmlns:r="http://schemas.openxmlformats.org/officeDocument/2006/relationships" xmlns:p="http://schemas.openxmlformats.org/presentationml/2006/main">
  <p:tag name="SHAPE" val="OLD"/>
</p:tagLst>
</file>

<file path=ppt/tags/tag201.xml><?xml version="1.0" encoding="utf-8"?>
<p:tagLst xmlns:a="http://schemas.openxmlformats.org/drawingml/2006/main" xmlns:r="http://schemas.openxmlformats.org/officeDocument/2006/relationships" xmlns:p="http://schemas.openxmlformats.org/presentationml/2006/main">
  <p:tag name="SHAPE" val="OLD"/>
</p:tagLst>
</file>

<file path=ppt/tags/tag202.xml><?xml version="1.0" encoding="utf-8"?>
<p:tagLst xmlns:a="http://schemas.openxmlformats.org/drawingml/2006/main" xmlns:r="http://schemas.openxmlformats.org/officeDocument/2006/relationships" xmlns:p="http://schemas.openxmlformats.org/presentationml/2006/main">
  <p:tag name="SHAPE" val="OLD"/>
</p:tagLst>
</file>

<file path=ppt/tags/tag203.xml><?xml version="1.0" encoding="utf-8"?>
<p:tagLst xmlns:a="http://schemas.openxmlformats.org/drawingml/2006/main" xmlns:r="http://schemas.openxmlformats.org/officeDocument/2006/relationships" xmlns:p="http://schemas.openxmlformats.org/presentationml/2006/main">
  <p:tag name="SHAPE" val="OLD"/>
</p:tagLst>
</file>

<file path=ppt/tags/tag204.xml><?xml version="1.0" encoding="utf-8"?>
<p:tagLst xmlns:a="http://schemas.openxmlformats.org/drawingml/2006/main" xmlns:r="http://schemas.openxmlformats.org/officeDocument/2006/relationships" xmlns:p="http://schemas.openxmlformats.org/presentationml/2006/main">
  <p:tag name="SHAPE" val="OLD"/>
</p:tagLst>
</file>

<file path=ppt/tags/tag205.xml><?xml version="1.0" encoding="utf-8"?>
<p:tagLst xmlns:a="http://schemas.openxmlformats.org/drawingml/2006/main" xmlns:r="http://schemas.openxmlformats.org/officeDocument/2006/relationships" xmlns:p="http://schemas.openxmlformats.org/presentationml/2006/main">
  <p:tag name="SHAPE" val="OLD"/>
</p:tagLst>
</file>

<file path=ppt/tags/tag206.xml><?xml version="1.0" encoding="utf-8"?>
<p:tagLst xmlns:a="http://schemas.openxmlformats.org/drawingml/2006/main" xmlns:r="http://schemas.openxmlformats.org/officeDocument/2006/relationships" xmlns:p="http://schemas.openxmlformats.org/presentationml/2006/main">
  <p:tag name="SHAPE" val="OLD"/>
</p:tagLst>
</file>

<file path=ppt/tags/tag207.xml><?xml version="1.0" encoding="utf-8"?>
<p:tagLst xmlns:a="http://schemas.openxmlformats.org/drawingml/2006/main" xmlns:r="http://schemas.openxmlformats.org/officeDocument/2006/relationships" xmlns:p="http://schemas.openxmlformats.org/presentationml/2006/main">
  <p:tag name="SHAPE" val="OLD"/>
</p:tagLst>
</file>

<file path=ppt/tags/tag208.xml><?xml version="1.0" encoding="utf-8"?>
<p:tagLst xmlns:a="http://schemas.openxmlformats.org/drawingml/2006/main" xmlns:r="http://schemas.openxmlformats.org/officeDocument/2006/relationships" xmlns:p="http://schemas.openxmlformats.org/presentationml/2006/main">
  <p:tag name="SHAPE" val="OLD"/>
</p:tagLst>
</file>

<file path=ppt/tags/tag209.xml><?xml version="1.0" encoding="utf-8"?>
<p:tagLst xmlns:a="http://schemas.openxmlformats.org/drawingml/2006/main" xmlns:r="http://schemas.openxmlformats.org/officeDocument/2006/relationships" xmlns:p="http://schemas.openxmlformats.org/presentationml/2006/main">
  <p:tag name="SHAPE" val="OLD"/>
</p:tagLst>
</file>

<file path=ppt/tags/tag21.xml><?xml version="1.0" encoding="utf-8"?>
<p:tagLst xmlns:a="http://schemas.openxmlformats.org/drawingml/2006/main" xmlns:r="http://schemas.openxmlformats.org/officeDocument/2006/relationships" xmlns:p="http://schemas.openxmlformats.org/presentationml/2006/main">
  <p:tag name="SHAPE" val="OLD"/>
</p:tagLst>
</file>

<file path=ppt/tags/tag210.xml><?xml version="1.0" encoding="utf-8"?>
<p:tagLst xmlns:a="http://schemas.openxmlformats.org/drawingml/2006/main" xmlns:r="http://schemas.openxmlformats.org/officeDocument/2006/relationships" xmlns:p="http://schemas.openxmlformats.org/presentationml/2006/main">
  <p:tag name="SHAPE" val="OLD"/>
</p:tagLst>
</file>

<file path=ppt/tags/tag211.xml><?xml version="1.0" encoding="utf-8"?>
<p:tagLst xmlns:a="http://schemas.openxmlformats.org/drawingml/2006/main" xmlns:r="http://schemas.openxmlformats.org/officeDocument/2006/relationships" xmlns:p="http://schemas.openxmlformats.org/presentationml/2006/main">
  <p:tag name="SHAPE" val="OLD"/>
</p:tagLst>
</file>

<file path=ppt/tags/tag212.xml><?xml version="1.0" encoding="utf-8"?>
<p:tagLst xmlns:a="http://schemas.openxmlformats.org/drawingml/2006/main" xmlns:r="http://schemas.openxmlformats.org/officeDocument/2006/relationships" xmlns:p="http://schemas.openxmlformats.org/presentationml/2006/main">
  <p:tag name="SHAPE" val="OLD"/>
</p:tagLst>
</file>

<file path=ppt/tags/tag213.xml><?xml version="1.0" encoding="utf-8"?>
<p:tagLst xmlns:a="http://schemas.openxmlformats.org/drawingml/2006/main" xmlns:r="http://schemas.openxmlformats.org/officeDocument/2006/relationships" xmlns:p="http://schemas.openxmlformats.org/presentationml/2006/main">
  <p:tag name="SHAPE" val="OLD"/>
</p:tagLst>
</file>

<file path=ppt/tags/tag214.xml><?xml version="1.0" encoding="utf-8"?>
<p:tagLst xmlns:a="http://schemas.openxmlformats.org/drawingml/2006/main" xmlns:r="http://schemas.openxmlformats.org/officeDocument/2006/relationships" xmlns:p="http://schemas.openxmlformats.org/presentationml/2006/main">
  <p:tag name="SHAPE" val="OLD"/>
</p:tagLst>
</file>

<file path=ppt/tags/tag215.xml><?xml version="1.0" encoding="utf-8"?>
<p:tagLst xmlns:a="http://schemas.openxmlformats.org/drawingml/2006/main" xmlns:r="http://schemas.openxmlformats.org/officeDocument/2006/relationships" xmlns:p="http://schemas.openxmlformats.org/presentationml/2006/main">
  <p:tag name="SHAPE" val="OLD"/>
</p:tagLst>
</file>

<file path=ppt/tags/tag216.xml><?xml version="1.0" encoding="utf-8"?>
<p:tagLst xmlns:a="http://schemas.openxmlformats.org/drawingml/2006/main" xmlns:r="http://schemas.openxmlformats.org/officeDocument/2006/relationships" xmlns:p="http://schemas.openxmlformats.org/presentationml/2006/main">
  <p:tag name="SHAPE" val="OLD"/>
</p:tagLst>
</file>

<file path=ppt/tags/tag217.xml><?xml version="1.0" encoding="utf-8"?>
<p:tagLst xmlns:a="http://schemas.openxmlformats.org/drawingml/2006/main" xmlns:r="http://schemas.openxmlformats.org/officeDocument/2006/relationships" xmlns:p="http://schemas.openxmlformats.org/presentationml/2006/main">
  <p:tag name="SHAPE" val="OLD"/>
</p:tagLst>
</file>

<file path=ppt/tags/tag218.xml><?xml version="1.0" encoding="utf-8"?>
<p:tagLst xmlns:a="http://schemas.openxmlformats.org/drawingml/2006/main" xmlns:r="http://schemas.openxmlformats.org/officeDocument/2006/relationships" xmlns:p="http://schemas.openxmlformats.org/presentationml/2006/main">
  <p:tag name="SHAPE" val="OLD"/>
</p:tagLst>
</file>

<file path=ppt/tags/tag219.xml><?xml version="1.0" encoding="utf-8"?>
<p:tagLst xmlns:a="http://schemas.openxmlformats.org/drawingml/2006/main" xmlns:r="http://schemas.openxmlformats.org/officeDocument/2006/relationships" xmlns:p="http://schemas.openxmlformats.org/presentationml/2006/main">
  <p:tag name="SHAPE" val="OLD"/>
</p:tagLst>
</file>

<file path=ppt/tags/tag22.xml><?xml version="1.0" encoding="utf-8"?>
<p:tagLst xmlns:a="http://schemas.openxmlformats.org/drawingml/2006/main" xmlns:r="http://schemas.openxmlformats.org/officeDocument/2006/relationships" xmlns:p="http://schemas.openxmlformats.org/presentationml/2006/main">
  <p:tag name="SHAPE" val="OLD"/>
</p:tagLst>
</file>

<file path=ppt/tags/tag220.xml><?xml version="1.0" encoding="utf-8"?>
<p:tagLst xmlns:a="http://schemas.openxmlformats.org/drawingml/2006/main" xmlns:r="http://schemas.openxmlformats.org/officeDocument/2006/relationships" xmlns:p="http://schemas.openxmlformats.org/presentationml/2006/main">
  <p:tag name="SHAPE" val="OLD"/>
</p:tagLst>
</file>

<file path=ppt/tags/tag221.xml><?xml version="1.0" encoding="utf-8"?>
<p:tagLst xmlns:a="http://schemas.openxmlformats.org/drawingml/2006/main" xmlns:r="http://schemas.openxmlformats.org/officeDocument/2006/relationships" xmlns:p="http://schemas.openxmlformats.org/presentationml/2006/main">
  <p:tag name="SHAPE" val="OLD"/>
</p:tagLst>
</file>

<file path=ppt/tags/tag222.xml><?xml version="1.0" encoding="utf-8"?>
<p:tagLst xmlns:a="http://schemas.openxmlformats.org/drawingml/2006/main" xmlns:r="http://schemas.openxmlformats.org/officeDocument/2006/relationships" xmlns:p="http://schemas.openxmlformats.org/presentationml/2006/main">
  <p:tag name="SHAPE" val="OLD"/>
</p:tagLst>
</file>

<file path=ppt/tags/tag223.xml><?xml version="1.0" encoding="utf-8"?>
<p:tagLst xmlns:a="http://schemas.openxmlformats.org/drawingml/2006/main" xmlns:r="http://schemas.openxmlformats.org/officeDocument/2006/relationships" xmlns:p="http://schemas.openxmlformats.org/presentationml/2006/main">
  <p:tag name="SHAPE" val="OLD"/>
</p:tagLst>
</file>

<file path=ppt/tags/tag224.xml><?xml version="1.0" encoding="utf-8"?>
<p:tagLst xmlns:a="http://schemas.openxmlformats.org/drawingml/2006/main" xmlns:r="http://schemas.openxmlformats.org/officeDocument/2006/relationships" xmlns:p="http://schemas.openxmlformats.org/presentationml/2006/main">
  <p:tag name="SHAPE" val="OLD"/>
</p:tagLst>
</file>

<file path=ppt/tags/tag225.xml><?xml version="1.0" encoding="utf-8"?>
<p:tagLst xmlns:a="http://schemas.openxmlformats.org/drawingml/2006/main" xmlns:r="http://schemas.openxmlformats.org/officeDocument/2006/relationships" xmlns:p="http://schemas.openxmlformats.org/presentationml/2006/main">
  <p:tag name="SHAPE" val="OLD"/>
</p:tagLst>
</file>

<file path=ppt/tags/tag226.xml><?xml version="1.0" encoding="utf-8"?>
<p:tagLst xmlns:a="http://schemas.openxmlformats.org/drawingml/2006/main" xmlns:r="http://schemas.openxmlformats.org/officeDocument/2006/relationships" xmlns:p="http://schemas.openxmlformats.org/presentationml/2006/main">
  <p:tag name="SHAPE" val="OLD"/>
</p:tagLst>
</file>

<file path=ppt/tags/tag227.xml><?xml version="1.0" encoding="utf-8"?>
<p:tagLst xmlns:a="http://schemas.openxmlformats.org/drawingml/2006/main" xmlns:r="http://schemas.openxmlformats.org/officeDocument/2006/relationships" xmlns:p="http://schemas.openxmlformats.org/presentationml/2006/main">
  <p:tag name="SHAPE" val="OLD"/>
</p:tagLst>
</file>

<file path=ppt/tags/tag228.xml><?xml version="1.0" encoding="utf-8"?>
<p:tagLst xmlns:a="http://schemas.openxmlformats.org/drawingml/2006/main" xmlns:r="http://schemas.openxmlformats.org/officeDocument/2006/relationships" xmlns:p="http://schemas.openxmlformats.org/presentationml/2006/main">
  <p:tag name="SHAPE" val="OLD"/>
</p:tagLst>
</file>

<file path=ppt/tags/tag229.xml><?xml version="1.0" encoding="utf-8"?>
<p:tagLst xmlns:a="http://schemas.openxmlformats.org/drawingml/2006/main" xmlns:r="http://schemas.openxmlformats.org/officeDocument/2006/relationships" xmlns:p="http://schemas.openxmlformats.org/presentationml/2006/main">
  <p:tag name="SHAPE" val="OLD"/>
</p:tagLst>
</file>

<file path=ppt/tags/tag23.xml><?xml version="1.0" encoding="utf-8"?>
<p:tagLst xmlns:a="http://schemas.openxmlformats.org/drawingml/2006/main" xmlns:r="http://schemas.openxmlformats.org/officeDocument/2006/relationships" xmlns:p="http://schemas.openxmlformats.org/presentationml/2006/main">
  <p:tag name="SHAPE" val="OLD"/>
</p:tagLst>
</file>

<file path=ppt/tags/tag230.xml><?xml version="1.0" encoding="utf-8"?>
<p:tagLst xmlns:a="http://schemas.openxmlformats.org/drawingml/2006/main" xmlns:r="http://schemas.openxmlformats.org/officeDocument/2006/relationships" xmlns:p="http://schemas.openxmlformats.org/presentationml/2006/main">
  <p:tag name="SHAPE" val="OLD"/>
</p:tagLst>
</file>

<file path=ppt/tags/tag231.xml><?xml version="1.0" encoding="utf-8"?>
<p:tagLst xmlns:a="http://schemas.openxmlformats.org/drawingml/2006/main" xmlns:r="http://schemas.openxmlformats.org/officeDocument/2006/relationships" xmlns:p="http://schemas.openxmlformats.org/presentationml/2006/main">
  <p:tag name="SHAPE" val="OLD"/>
</p:tagLst>
</file>

<file path=ppt/tags/tag232.xml><?xml version="1.0" encoding="utf-8"?>
<p:tagLst xmlns:a="http://schemas.openxmlformats.org/drawingml/2006/main" xmlns:r="http://schemas.openxmlformats.org/officeDocument/2006/relationships" xmlns:p="http://schemas.openxmlformats.org/presentationml/2006/main">
  <p:tag name="SHAPE" val="OLD"/>
</p:tagLst>
</file>

<file path=ppt/tags/tag233.xml><?xml version="1.0" encoding="utf-8"?>
<p:tagLst xmlns:a="http://schemas.openxmlformats.org/drawingml/2006/main" xmlns:r="http://schemas.openxmlformats.org/officeDocument/2006/relationships" xmlns:p="http://schemas.openxmlformats.org/presentationml/2006/main">
  <p:tag name="SHAPE" val="OLD"/>
</p:tagLst>
</file>

<file path=ppt/tags/tag234.xml><?xml version="1.0" encoding="utf-8"?>
<p:tagLst xmlns:a="http://schemas.openxmlformats.org/drawingml/2006/main" xmlns:r="http://schemas.openxmlformats.org/officeDocument/2006/relationships" xmlns:p="http://schemas.openxmlformats.org/presentationml/2006/main">
  <p:tag name="SHAPE" val="OLD"/>
</p:tagLst>
</file>

<file path=ppt/tags/tag235.xml><?xml version="1.0" encoding="utf-8"?>
<p:tagLst xmlns:a="http://schemas.openxmlformats.org/drawingml/2006/main" xmlns:r="http://schemas.openxmlformats.org/officeDocument/2006/relationships" xmlns:p="http://schemas.openxmlformats.org/presentationml/2006/main">
  <p:tag name="SHAPE" val="OLD"/>
</p:tagLst>
</file>

<file path=ppt/tags/tag236.xml><?xml version="1.0" encoding="utf-8"?>
<p:tagLst xmlns:a="http://schemas.openxmlformats.org/drawingml/2006/main" xmlns:r="http://schemas.openxmlformats.org/officeDocument/2006/relationships" xmlns:p="http://schemas.openxmlformats.org/presentationml/2006/main">
  <p:tag name="SHAPE" val="OLD"/>
</p:tagLst>
</file>

<file path=ppt/tags/tag237.xml><?xml version="1.0" encoding="utf-8"?>
<p:tagLst xmlns:a="http://schemas.openxmlformats.org/drawingml/2006/main" xmlns:r="http://schemas.openxmlformats.org/officeDocument/2006/relationships" xmlns:p="http://schemas.openxmlformats.org/presentationml/2006/main">
  <p:tag name="SHAPE" val="OLD"/>
</p:tagLst>
</file>

<file path=ppt/tags/tag238.xml><?xml version="1.0" encoding="utf-8"?>
<p:tagLst xmlns:a="http://schemas.openxmlformats.org/drawingml/2006/main" xmlns:r="http://schemas.openxmlformats.org/officeDocument/2006/relationships" xmlns:p="http://schemas.openxmlformats.org/presentationml/2006/main">
  <p:tag name="SHAPE" val="OLD"/>
</p:tagLst>
</file>

<file path=ppt/tags/tag239.xml><?xml version="1.0" encoding="utf-8"?>
<p:tagLst xmlns:a="http://schemas.openxmlformats.org/drawingml/2006/main" xmlns:r="http://schemas.openxmlformats.org/officeDocument/2006/relationships" xmlns:p="http://schemas.openxmlformats.org/presentationml/2006/main">
  <p:tag name="SHAPE" val="OLD"/>
</p:tagLst>
</file>

<file path=ppt/tags/tag24.xml><?xml version="1.0" encoding="utf-8"?>
<p:tagLst xmlns:a="http://schemas.openxmlformats.org/drawingml/2006/main" xmlns:r="http://schemas.openxmlformats.org/officeDocument/2006/relationships" xmlns:p="http://schemas.openxmlformats.org/presentationml/2006/main">
  <p:tag name="SHAPE" val="OLD"/>
</p:tagLst>
</file>

<file path=ppt/tags/tag240.xml><?xml version="1.0" encoding="utf-8"?>
<p:tagLst xmlns:a="http://schemas.openxmlformats.org/drawingml/2006/main" xmlns:r="http://schemas.openxmlformats.org/officeDocument/2006/relationships" xmlns:p="http://schemas.openxmlformats.org/presentationml/2006/main">
  <p:tag name="SHAPE" val="OLD"/>
</p:tagLst>
</file>

<file path=ppt/tags/tag241.xml><?xml version="1.0" encoding="utf-8"?>
<p:tagLst xmlns:a="http://schemas.openxmlformats.org/drawingml/2006/main" xmlns:r="http://schemas.openxmlformats.org/officeDocument/2006/relationships" xmlns:p="http://schemas.openxmlformats.org/presentationml/2006/main">
  <p:tag name="SHAPE" val="OLD"/>
</p:tagLst>
</file>

<file path=ppt/tags/tag242.xml><?xml version="1.0" encoding="utf-8"?>
<p:tagLst xmlns:a="http://schemas.openxmlformats.org/drawingml/2006/main" xmlns:r="http://schemas.openxmlformats.org/officeDocument/2006/relationships" xmlns:p="http://schemas.openxmlformats.org/presentationml/2006/main">
  <p:tag name="SHAPE" val="OLD"/>
</p:tagLst>
</file>

<file path=ppt/tags/tag243.xml><?xml version="1.0" encoding="utf-8"?>
<p:tagLst xmlns:a="http://schemas.openxmlformats.org/drawingml/2006/main" xmlns:r="http://schemas.openxmlformats.org/officeDocument/2006/relationships" xmlns:p="http://schemas.openxmlformats.org/presentationml/2006/main">
  <p:tag name="SHAPE" val="OLD"/>
</p:tagLst>
</file>

<file path=ppt/tags/tag244.xml><?xml version="1.0" encoding="utf-8"?>
<p:tagLst xmlns:a="http://schemas.openxmlformats.org/drawingml/2006/main" xmlns:r="http://schemas.openxmlformats.org/officeDocument/2006/relationships" xmlns:p="http://schemas.openxmlformats.org/presentationml/2006/main">
  <p:tag name="SHAPE" val="OLD"/>
</p:tagLst>
</file>

<file path=ppt/tags/tag245.xml><?xml version="1.0" encoding="utf-8"?>
<p:tagLst xmlns:a="http://schemas.openxmlformats.org/drawingml/2006/main" xmlns:r="http://schemas.openxmlformats.org/officeDocument/2006/relationships" xmlns:p="http://schemas.openxmlformats.org/presentationml/2006/main">
  <p:tag name="SHAPE" val="OLD"/>
</p:tagLst>
</file>

<file path=ppt/tags/tag246.xml><?xml version="1.0" encoding="utf-8"?>
<p:tagLst xmlns:a="http://schemas.openxmlformats.org/drawingml/2006/main" xmlns:r="http://schemas.openxmlformats.org/officeDocument/2006/relationships" xmlns:p="http://schemas.openxmlformats.org/presentationml/2006/main">
  <p:tag name="SHAPE" val="OLD"/>
</p:tagLst>
</file>

<file path=ppt/tags/tag247.xml><?xml version="1.0" encoding="utf-8"?>
<p:tagLst xmlns:a="http://schemas.openxmlformats.org/drawingml/2006/main" xmlns:r="http://schemas.openxmlformats.org/officeDocument/2006/relationships" xmlns:p="http://schemas.openxmlformats.org/presentationml/2006/main">
  <p:tag name="SHAPE" val="OLD"/>
</p:tagLst>
</file>

<file path=ppt/tags/tag248.xml><?xml version="1.0" encoding="utf-8"?>
<p:tagLst xmlns:a="http://schemas.openxmlformats.org/drawingml/2006/main" xmlns:r="http://schemas.openxmlformats.org/officeDocument/2006/relationships" xmlns:p="http://schemas.openxmlformats.org/presentationml/2006/main">
  <p:tag name="SHAPE" val="OLD"/>
</p:tagLst>
</file>

<file path=ppt/tags/tag249.xml><?xml version="1.0" encoding="utf-8"?>
<p:tagLst xmlns:a="http://schemas.openxmlformats.org/drawingml/2006/main" xmlns:r="http://schemas.openxmlformats.org/officeDocument/2006/relationships" xmlns:p="http://schemas.openxmlformats.org/presentationml/2006/main">
  <p:tag name="SHAPE" val="OLD"/>
</p:tagLst>
</file>

<file path=ppt/tags/tag25.xml><?xml version="1.0" encoding="utf-8"?>
<p:tagLst xmlns:a="http://schemas.openxmlformats.org/drawingml/2006/main" xmlns:r="http://schemas.openxmlformats.org/officeDocument/2006/relationships" xmlns:p="http://schemas.openxmlformats.org/presentationml/2006/main">
  <p:tag name="SHAPE" val="OLD"/>
</p:tagLst>
</file>

<file path=ppt/tags/tag250.xml><?xml version="1.0" encoding="utf-8"?>
<p:tagLst xmlns:a="http://schemas.openxmlformats.org/drawingml/2006/main" xmlns:r="http://schemas.openxmlformats.org/officeDocument/2006/relationships" xmlns:p="http://schemas.openxmlformats.org/presentationml/2006/main">
  <p:tag name="SHAPE" val="OLD"/>
</p:tagLst>
</file>

<file path=ppt/tags/tag251.xml><?xml version="1.0" encoding="utf-8"?>
<p:tagLst xmlns:a="http://schemas.openxmlformats.org/drawingml/2006/main" xmlns:r="http://schemas.openxmlformats.org/officeDocument/2006/relationships" xmlns:p="http://schemas.openxmlformats.org/presentationml/2006/main">
  <p:tag name="SHAPE" val="OLD"/>
</p:tagLst>
</file>

<file path=ppt/tags/tag252.xml><?xml version="1.0" encoding="utf-8"?>
<p:tagLst xmlns:a="http://schemas.openxmlformats.org/drawingml/2006/main" xmlns:r="http://schemas.openxmlformats.org/officeDocument/2006/relationships" xmlns:p="http://schemas.openxmlformats.org/presentationml/2006/main">
  <p:tag name="SHAPE" val="OLD"/>
</p:tagLst>
</file>

<file path=ppt/tags/tag253.xml><?xml version="1.0" encoding="utf-8"?>
<p:tagLst xmlns:a="http://schemas.openxmlformats.org/drawingml/2006/main" xmlns:r="http://schemas.openxmlformats.org/officeDocument/2006/relationships" xmlns:p="http://schemas.openxmlformats.org/presentationml/2006/main">
  <p:tag name="SHAPE" val="OLD"/>
</p:tagLst>
</file>

<file path=ppt/tags/tag254.xml><?xml version="1.0" encoding="utf-8"?>
<p:tagLst xmlns:a="http://schemas.openxmlformats.org/drawingml/2006/main" xmlns:r="http://schemas.openxmlformats.org/officeDocument/2006/relationships" xmlns:p="http://schemas.openxmlformats.org/presentationml/2006/main">
  <p:tag name="SHAPE" val="OLD"/>
</p:tagLst>
</file>

<file path=ppt/tags/tag255.xml><?xml version="1.0" encoding="utf-8"?>
<p:tagLst xmlns:a="http://schemas.openxmlformats.org/drawingml/2006/main" xmlns:r="http://schemas.openxmlformats.org/officeDocument/2006/relationships" xmlns:p="http://schemas.openxmlformats.org/presentationml/2006/main">
  <p:tag name="SHAPE" val="OLD"/>
</p:tagLst>
</file>

<file path=ppt/tags/tag256.xml><?xml version="1.0" encoding="utf-8"?>
<p:tagLst xmlns:a="http://schemas.openxmlformats.org/drawingml/2006/main" xmlns:r="http://schemas.openxmlformats.org/officeDocument/2006/relationships" xmlns:p="http://schemas.openxmlformats.org/presentationml/2006/main">
  <p:tag name="SHAPE" val="OLD"/>
</p:tagLst>
</file>

<file path=ppt/tags/tag257.xml><?xml version="1.0" encoding="utf-8"?>
<p:tagLst xmlns:a="http://schemas.openxmlformats.org/drawingml/2006/main" xmlns:r="http://schemas.openxmlformats.org/officeDocument/2006/relationships" xmlns:p="http://schemas.openxmlformats.org/presentationml/2006/main">
  <p:tag name="SHAPE" val="OLD"/>
</p:tagLst>
</file>

<file path=ppt/tags/tag258.xml><?xml version="1.0" encoding="utf-8"?>
<p:tagLst xmlns:a="http://schemas.openxmlformats.org/drawingml/2006/main" xmlns:r="http://schemas.openxmlformats.org/officeDocument/2006/relationships" xmlns:p="http://schemas.openxmlformats.org/presentationml/2006/main">
  <p:tag name="SHAPE" val="OLD"/>
</p:tagLst>
</file>

<file path=ppt/tags/tag259.xml><?xml version="1.0" encoding="utf-8"?>
<p:tagLst xmlns:a="http://schemas.openxmlformats.org/drawingml/2006/main" xmlns:r="http://schemas.openxmlformats.org/officeDocument/2006/relationships" xmlns:p="http://schemas.openxmlformats.org/presentationml/2006/main">
  <p:tag name="SHAPE" val="OLD"/>
</p:tagLst>
</file>

<file path=ppt/tags/tag26.xml><?xml version="1.0" encoding="utf-8"?>
<p:tagLst xmlns:a="http://schemas.openxmlformats.org/drawingml/2006/main" xmlns:r="http://schemas.openxmlformats.org/officeDocument/2006/relationships" xmlns:p="http://schemas.openxmlformats.org/presentationml/2006/main">
  <p:tag name="SHAPE" val="OLD"/>
</p:tagLst>
</file>

<file path=ppt/tags/tag260.xml><?xml version="1.0" encoding="utf-8"?>
<p:tagLst xmlns:a="http://schemas.openxmlformats.org/drawingml/2006/main" xmlns:r="http://schemas.openxmlformats.org/officeDocument/2006/relationships" xmlns:p="http://schemas.openxmlformats.org/presentationml/2006/main">
  <p:tag name="SHAPE" val="OLD"/>
</p:tagLst>
</file>

<file path=ppt/tags/tag261.xml><?xml version="1.0" encoding="utf-8"?>
<p:tagLst xmlns:a="http://schemas.openxmlformats.org/drawingml/2006/main" xmlns:r="http://schemas.openxmlformats.org/officeDocument/2006/relationships" xmlns:p="http://schemas.openxmlformats.org/presentationml/2006/main">
  <p:tag name="SHAPE" val="OLD"/>
</p:tagLst>
</file>

<file path=ppt/tags/tag262.xml><?xml version="1.0" encoding="utf-8"?>
<p:tagLst xmlns:a="http://schemas.openxmlformats.org/drawingml/2006/main" xmlns:r="http://schemas.openxmlformats.org/officeDocument/2006/relationships" xmlns:p="http://schemas.openxmlformats.org/presentationml/2006/main">
  <p:tag name="SHAPE" val="OLD"/>
</p:tagLst>
</file>

<file path=ppt/tags/tag263.xml><?xml version="1.0" encoding="utf-8"?>
<p:tagLst xmlns:a="http://schemas.openxmlformats.org/drawingml/2006/main" xmlns:r="http://schemas.openxmlformats.org/officeDocument/2006/relationships" xmlns:p="http://schemas.openxmlformats.org/presentationml/2006/main">
  <p:tag name="SHAPE" val="OLD"/>
</p:tagLst>
</file>

<file path=ppt/tags/tag264.xml><?xml version="1.0" encoding="utf-8"?>
<p:tagLst xmlns:a="http://schemas.openxmlformats.org/drawingml/2006/main" xmlns:r="http://schemas.openxmlformats.org/officeDocument/2006/relationships" xmlns:p="http://schemas.openxmlformats.org/presentationml/2006/main">
  <p:tag name="SHAPE" val="OLD"/>
</p:tagLst>
</file>

<file path=ppt/tags/tag265.xml><?xml version="1.0" encoding="utf-8"?>
<p:tagLst xmlns:a="http://schemas.openxmlformats.org/drawingml/2006/main" xmlns:r="http://schemas.openxmlformats.org/officeDocument/2006/relationships" xmlns:p="http://schemas.openxmlformats.org/presentationml/2006/main">
  <p:tag name="SHAPE" val="OLD"/>
</p:tagLst>
</file>

<file path=ppt/tags/tag266.xml><?xml version="1.0" encoding="utf-8"?>
<p:tagLst xmlns:a="http://schemas.openxmlformats.org/drawingml/2006/main" xmlns:r="http://schemas.openxmlformats.org/officeDocument/2006/relationships" xmlns:p="http://schemas.openxmlformats.org/presentationml/2006/main">
  <p:tag name="SHAPE" val="OLD"/>
</p:tagLst>
</file>

<file path=ppt/tags/tag267.xml><?xml version="1.0" encoding="utf-8"?>
<p:tagLst xmlns:a="http://schemas.openxmlformats.org/drawingml/2006/main" xmlns:r="http://schemas.openxmlformats.org/officeDocument/2006/relationships" xmlns:p="http://schemas.openxmlformats.org/presentationml/2006/main">
  <p:tag name="SHAPE" val="OLD"/>
</p:tagLst>
</file>

<file path=ppt/tags/tag268.xml><?xml version="1.0" encoding="utf-8"?>
<p:tagLst xmlns:a="http://schemas.openxmlformats.org/drawingml/2006/main" xmlns:r="http://schemas.openxmlformats.org/officeDocument/2006/relationships" xmlns:p="http://schemas.openxmlformats.org/presentationml/2006/main">
  <p:tag name="SHAPE" val="OLD"/>
</p:tagLst>
</file>

<file path=ppt/tags/tag269.xml><?xml version="1.0" encoding="utf-8"?>
<p:tagLst xmlns:a="http://schemas.openxmlformats.org/drawingml/2006/main" xmlns:r="http://schemas.openxmlformats.org/officeDocument/2006/relationships" xmlns:p="http://schemas.openxmlformats.org/presentationml/2006/main">
  <p:tag name="SHAPE" val="OLD"/>
</p:tagLst>
</file>

<file path=ppt/tags/tag27.xml><?xml version="1.0" encoding="utf-8"?>
<p:tagLst xmlns:a="http://schemas.openxmlformats.org/drawingml/2006/main" xmlns:r="http://schemas.openxmlformats.org/officeDocument/2006/relationships" xmlns:p="http://schemas.openxmlformats.org/presentationml/2006/main">
  <p:tag name="SHAPE" val="OLD"/>
</p:tagLst>
</file>

<file path=ppt/tags/tag270.xml><?xml version="1.0" encoding="utf-8"?>
<p:tagLst xmlns:a="http://schemas.openxmlformats.org/drawingml/2006/main" xmlns:r="http://schemas.openxmlformats.org/officeDocument/2006/relationships" xmlns:p="http://schemas.openxmlformats.org/presentationml/2006/main">
  <p:tag name="SHAPE" val="OLD"/>
</p:tagLst>
</file>

<file path=ppt/tags/tag271.xml><?xml version="1.0" encoding="utf-8"?>
<p:tagLst xmlns:a="http://schemas.openxmlformats.org/drawingml/2006/main" xmlns:r="http://schemas.openxmlformats.org/officeDocument/2006/relationships" xmlns:p="http://schemas.openxmlformats.org/presentationml/2006/main">
  <p:tag name="SHAPE" val="OLD"/>
</p:tagLst>
</file>

<file path=ppt/tags/tag272.xml><?xml version="1.0" encoding="utf-8"?>
<p:tagLst xmlns:a="http://schemas.openxmlformats.org/drawingml/2006/main" xmlns:r="http://schemas.openxmlformats.org/officeDocument/2006/relationships" xmlns:p="http://schemas.openxmlformats.org/presentationml/2006/main">
  <p:tag name="SHAPE" val="OLD"/>
</p:tagLst>
</file>

<file path=ppt/tags/tag273.xml><?xml version="1.0" encoding="utf-8"?>
<p:tagLst xmlns:a="http://schemas.openxmlformats.org/drawingml/2006/main" xmlns:r="http://schemas.openxmlformats.org/officeDocument/2006/relationships" xmlns:p="http://schemas.openxmlformats.org/presentationml/2006/main">
  <p:tag name="SHAPE" val="OLD"/>
</p:tagLst>
</file>

<file path=ppt/tags/tag274.xml><?xml version="1.0" encoding="utf-8"?>
<p:tagLst xmlns:a="http://schemas.openxmlformats.org/drawingml/2006/main" xmlns:r="http://schemas.openxmlformats.org/officeDocument/2006/relationships" xmlns:p="http://schemas.openxmlformats.org/presentationml/2006/main">
  <p:tag name="SHAPE" val="OLD"/>
</p:tagLst>
</file>

<file path=ppt/tags/tag275.xml><?xml version="1.0" encoding="utf-8"?>
<p:tagLst xmlns:a="http://schemas.openxmlformats.org/drawingml/2006/main" xmlns:r="http://schemas.openxmlformats.org/officeDocument/2006/relationships" xmlns:p="http://schemas.openxmlformats.org/presentationml/2006/main">
  <p:tag name="SHAPE" val="OLD"/>
</p:tagLst>
</file>

<file path=ppt/tags/tag276.xml><?xml version="1.0" encoding="utf-8"?>
<p:tagLst xmlns:a="http://schemas.openxmlformats.org/drawingml/2006/main" xmlns:r="http://schemas.openxmlformats.org/officeDocument/2006/relationships" xmlns:p="http://schemas.openxmlformats.org/presentationml/2006/main">
  <p:tag name="SHAPE" val="OLD"/>
</p:tagLst>
</file>

<file path=ppt/tags/tag277.xml><?xml version="1.0" encoding="utf-8"?>
<p:tagLst xmlns:a="http://schemas.openxmlformats.org/drawingml/2006/main" xmlns:r="http://schemas.openxmlformats.org/officeDocument/2006/relationships" xmlns:p="http://schemas.openxmlformats.org/presentationml/2006/main">
  <p:tag name="SHAPE" val="OLD"/>
</p:tagLst>
</file>

<file path=ppt/tags/tag278.xml><?xml version="1.0" encoding="utf-8"?>
<p:tagLst xmlns:a="http://schemas.openxmlformats.org/drawingml/2006/main" xmlns:r="http://schemas.openxmlformats.org/officeDocument/2006/relationships" xmlns:p="http://schemas.openxmlformats.org/presentationml/2006/main">
  <p:tag name="SHAPE" val="OLD"/>
</p:tagLst>
</file>

<file path=ppt/tags/tag279.xml><?xml version="1.0" encoding="utf-8"?>
<p:tagLst xmlns:a="http://schemas.openxmlformats.org/drawingml/2006/main" xmlns:r="http://schemas.openxmlformats.org/officeDocument/2006/relationships" xmlns:p="http://schemas.openxmlformats.org/presentationml/2006/main">
  <p:tag name="SHAPE" val="OLD"/>
</p:tagLst>
</file>

<file path=ppt/tags/tag28.xml><?xml version="1.0" encoding="utf-8"?>
<p:tagLst xmlns:a="http://schemas.openxmlformats.org/drawingml/2006/main" xmlns:r="http://schemas.openxmlformats.org/officeDocument/2006/relationships" xmlns:p="http://schemas.openxmlformats.org/presentationml/2006/main">
  <p:tag name="SHAPE" val="OLD"/>
</p:tagLst>
</file>

<file path=ppt/tags/tag280.xml><?xml version="1.0" encoding="utf-8"?>
<p:tagLst xmlns:a="http://schemas.openxmlformats.org/drawingml/2006/main" xmlns:r="http://schemas.openxmlformats.org/officeDocument/2006/relationships" xmlns:p="http://schemas.openxmlformats.org/presentationml/2006/main">
  <p:tag name="SHAPE" val="OLD"/>
</p:tagLst>
</file>

<file path=ppt/tags/tag281.xml><?xml version="1.0" encoding="utf-8"?>
<p:tagLst xmlns:a="http://schemas.openxmlformats.org/drawingml/2006/main" xmlns:r="http://schemas.openxmlformats.org/officeDocument/2006/relationships" xmlns:p="http://schemas.openxmlformats.org/presentationml/2006/main">
  <p:tag name="SHAPE" val="OLD"/>
</p:tagLst>
</file>

<file path=ppt/tags/tag282.xml><?xml version="1.0" encoding="utf-8"?>
<p:tagLst xmlns:a="http://schemas.openxmlformats.org/drawingml/2006/main" xmlns:r="http://schemas.openxmlformats.org/officeDocument/2006/relationships" xmlns:p="http://schemas.openxmlformats.org/presentationml/2006/main">
  <p:tag name="SHAPE" val="OLD"/>
</p:tagLst>
</file>

<file path=ppt/tags/tag283.xml><?xml version="1.0" encoding="utf-8"?>
<p:tagLst xmlns:a="http://schemas.openxmlformats.org/drawingml/2006/main" xmlns:r="http://schemas.openxmlformats.org/officeDocument/2006/relationships" xmlns:p="http://schemas.openxmlformats.org/presentationml/2006/main">
  <p:tag name="SHAPE" val="OLD"/>
</p:tagLst>
</file>

<file path=ppt/tags/tag284.xml><?xml version="1.0" encoding="utf-8"?>
<p:tagLst xmlns:a="http://schemas.openxmlformats.org/drawingml/2006/main" xmlns:r="http://schemas.openxmlformats.org/officeDocument/2006/relationships" xmlns:p="http://schemas.openxmlformats.org/presentationml/2006/main">
  <p:tag name="SHAPE" val="OLD"/>
</p:tagLst>
</file>

<file path=ppt/tags/tag285.xml><?xml version="1.0" encoding="utf-8"?>
<p:tagLst xmlns:a="http://schemas.openxmlformats.org/drawingml/2006/main" xmlns:r="http://schemas.openxmlformats.org/officeDocument/2006/relationships" xmlns:p="http://schemas.openxmlformats.org/presentationml/2006/main">
  <p:tag name="SHAPE" val="OLD"/>
</p:tagLst>
</file>

<file path=ppt/tags/tag286.xml><?xml version="1.0" encoding="utf-8"?>
<p:tagLst xmlns:a="http://schemas.openxmlformats.org/drawingml/2006/main" xmlns:r="http://schemas.openxmlformats.org/officeDocument/2006/relationships" xmlns:p="http://schemas.openxmlformats.org/presentationml/2006/main">
  <p:tag name="SHAPE" val="OLD"/>
</p:tagLst>
</file>

<file path=ppt/tags/tag287.xml><?xml version="1.0" encoding="utf-8"?>
<p:tagLst xmlns:a="http://schemas.openxmlformats.org/drawingml/2006/main" xmlns:r="http://schemas.openxmlformats.org/officeDocument/2006/relationships" xmlns:p="http://schemas.openxmlformats.org/presentationml/2006/main">
  <p:tag name="SHAPE" val="OLD"/>
</p:tagLst>
</file>

<file path=ppt/tags/tag288.xml><?xml version="1.0" encoding="utf-8"?>
<p:tagLst xmlns:a="http://schemas.openxmlformats.org/drawingml/2006/main" xmlns:r="http://schemas.openxmlformats.org/officeDocument/2006/relationships" xmlns:p="http://schemas.openxmlformats.org/presentationml/2006/main">
  <p:tag name="SHAPE" val="OLD"/>
</p:tagLst>
</file>

<file path=ppt/tags/tag289.xml><?xml version="1.0" encoding="utf-8"?>
<p:tagLst xmlns:a="http://schemas.openxmlformats.org/drawingml/2006/main" xmlns:r="http://schemas.openxmlformats.org/officeDocument/2006/relationships" xmlns:p="http://schemas.openxmlformats.org/presentationml/2006/main">
  <p:tag name="SHAPE" val="OLD"/>
</p:tagLst>
</file>

<file path=ppt/tags/tag29.xml><?xml version="1.0" encoding="utf-8"?>
<p:tagLst xmlns:a="http://schemas.openxmlformats.org/drawingml/2006/main" xmlns:r="http://schemas.openxmlformats.org/officeDocument/2006/relationships" xmlns:p="http://schemas.openxmlformats.org/presentationml/2006/main">
  <p:tag name="SHAPE" val="OLD"/>
</p:tagLst>
</file>

<file path=ppt/tags/tag290.xml><?xml version="1.0" encoding="utf-8"?>
<p:tagLst xmlns:a="http://schemas.openxmlformats.org/drawingml/2006/main" xmlns:r="http://schemas.openxmlformats.org/officeDocument/2006/relationships" xmlns:p="http://schemas.openxmlformats.org/presentationml/2006/main">
  <p:tag name="SHAPE" val="OLD"/>
</p:tagLst>
</file>

<file path=ppt/tags/tag291.xml><?xml version="1.0" encoding="utf-8"?>
<p:tagLst xmlns:a="http://schemas.openxmlformats.org/drawingml/2006/main" xmlns:r="http://schemas.openxmlformats.org/officeDocument/2006/relationships" xmlns:p="http://schemas.openxmlformats.org/presentationml/2006/main">
  <p:tag name="SHAPE" val="OLD"/>
</p:tagLst>
</file>

<file path=ppt/tags/tag292.xml><?xml version="1.0" encoding="utf-8"?>
<p:tagLst xmlns:a="http://schemas.openxmlformats.org/drawingml/2006/main" xmlns:r="http://schemas.openxmlformats.org/officeDocument/2006/relationships" xmlns:p="http://schemas.openxmlformats.org/presentationml/2006/main">
  <p:tag name="SHAPE" val="OLD"/>
</p:tagLst>
</file>

<file path=ppt/tags/tag293.xml><?xml version="1.0" encoding="utf-8"?>
<p:tagLst xmlns:a="http://schemas.openxmlformats.org/drawingml/2006/main" xmlns:r="http://schemas.openxmlformats.org/officeDocument/2006/relationships" xmlns:p="http://schemas.openxmlformats.org/presentationml/2006/main">
  <p:tag name="SHAPE" val="OLD"/>
</p:tagLst>
</file>

<file path=ppt/tags/tag294.xml><?xml version="1.0" encoding="utf-8"?>
<p:tagLst xmlns:a="http://schemas.openxmlformats.org/drawingml/2006/main" xmlns:r="http://schemas.openxmlformats.org/officeDocument/2006/relationships" xmlns:p="http://schemas.openxmlformats.org/presentationml/2006/main">
  <p:tag name="SHAPE" val="OLD"/>
</p:tagLst>
</file>

<file path=ppt/tags/tag295.xml><?xml version="1.0" encoding="utf-8"?>
<p:tagLst xmlns:a="http://schemas.openxmlformats.org/drawingml/2006/main" xmlns:r="http://schemas.openxmlformats.org/officeDocument/2006/relationships" xmlns:p="http://schemas.openxmlformats.org/presentationml/2006/main">
  <p:tag name="SHAPE" val="OLD"/>
</p:tagLst>
</file>

<file path=ppt/tags/tag296.xml><?xml version="1.0" encoding="utf-8"?>
<p:tagLst xmlns:a="http://schemas.openxmlformats.org/drawingml/2006/main" xmlns:r="http://schemas.openxmlformats.org/officeDocument/2006/relationships" xmlns:p="http://schemas.openxmlformats.org/presentationml/2006/main">
  <p:tag name="SHAPE" val="OLD"/>
</p:tagLst>
</file>

<file path=ppt/tags/tag297.xml><?xml version="1.0" encoding="utf-8"?>
<p:tagLst xmlns:a="http://schemas.openxmlformats.org/drawingml/2006/main" xmlns:r="http://schemas.openxmlformats.org/officeDocument/2006/relationships" xmlns:p="http://schemas.openxmlformats.org/presentationml/2006/main">
  <p:tag name="SHAPE" val="OLD"/>
</p:tagLst>
</file>

<file path=ppt/tags/tag298.xml><?xml version="1.0" encoding="utf-8"?>
<p:tagLst xmlns:a="http://schemas.openxmlformats.org/drawingml/2006/main" xmlns:r="http://schemas.openxmlformats.org/officeDocument/2006/relationships" xmlns:p="http://schemas.openxmlformats.org/presentationml/2006/main">
  <p:tag name="SHAPE" val="OLD"/>
</p:tagLst>
</file>

<file path=ppt/tags/tag299.xml><?xml version="1.0" encoding="utf-8"?>
<p:tagLst xmlns:a="http://schemas.openxmlformats.org/drawingml/2006/main" xmlns:r="http://schemas.openxmlformats.org/officeDocument/2006/relationships" xmlns:p="http://schemas.openxmlformats.org/presentationml/2006/main">
  <p:tag name="SHAPE" val="OLD"/>
</p:tagLst>
</file>

<file path=ppt/tags/tag3.xml><?xml version="1.0" encoding="utf-8"?>
<p:tagLst xmlns:a="http://schemas.openxmlformats.org/drawingml/2006/main" xmlns:r="http://schemas.openxmlformats.org/officeDocument/2006/relationships" xmlns:p="http://schemas.openxmlformats.org/presentationml/2006/main">
  <p:tag name="SHAPE" val="OLD"/>
</p:tagLst>
</file>

<file path=ppt/tags/tag30.xml><?xml version="1.0" encoding="utf-8"?>
<p:tagLst xmlns:a="http://schemas.openxmlformats.org/drawingml/2006/main" xmlns:r="http://schemas.openxmlformats.org/officeDocument/2006/relationships" xmlns:p="http://schemas.openxmlformats.org/presentationml/2006/main">
  <p:tag name="SHAPE" val="OLD"/>
</p:tagLst>
</file>

<file path=ppt/tags/tag300.xml><?xml version="1.0" encoding="utf-8"?>
<p:tagLst xmlns:a="http://schemas.openxmlformats.org/drawingml/2006/main" xmlns:r="http://schemas.openxmlformats.org/officeDocument/2006/relationships" xmlns:p="http://schemas.openxmlformats.org/presentationml/2006/main">
  <p:tag name="SHAPE" val="OLD"/>
</p:tagLst>
</file>

<file path=ppt/tags/tag301.xml><?xml version="1.0" encoding="utf-8"?>
<p:tagLst xmlns:a="http://schemas.openxmlformats.org/drawingml/2006/main" xmlns:r="http://schemas.openxmlformats.org/officeDocument/2006/relationships" xmlns:p="http://schemas.openxmlformats.org/presentationml/2006/main">
  <p:tag name="SHAPE" val="OLD"/>
</p:tagLst>
</file>

<file path=ppt/tags/tag302.xml><?xml version="1.0" encoding="utf-8"?>
<p:tagLst xmlns:a="http://schemas.openxmlformats.org/drawingml/2006/main" xmlns:r="http://schemas.openxmlformats.org/officeDocument/2006/relationships" xmlns:p="http://schemas.openxmlformats.org/presentationml/2006/main">
  <p:tag name="SHAPE" val="OLD"/>
</p:tagLst>
</file>

<file path=ppt/tags/tag303.xml><?xml version="1.0" encoding="utf-8"?>
<p:tagLst xmlns:a="http://schemas.openxmlformats.org/drawingml/2006/main" xmlns:r="http://schemas.openxmlformats.org/officeDocument/2006/relationships" xmlns:p="http://schemas.openxmlformats.org/presentationml/2006/main">
  <p:tag name="SHAPE" val="OLD"/>
</p:tagLst>
</file>

<file path=ppt/tags/tag304.xml><?xml version="1.0" encoding="utf-8"?>
<p:tagLst xmlns:a="http://schemas.openxmlformats.org/drawingml/2006/main" xmlns:r="http://schemas.openxmlformats.org/officeDocument/2006/relationships" xmlns:p="http://schemas.openxmlformats.org/presentationml/2006/main">
  <p:tag name="SHAPE" val="OLD"/>
</p:tagLst>
</file>

<file path=ppt/tags/tag305.xml><?xml version="1.0" encoding="utf-8"?>
<p:tagLst xmlns:a="http://schemas.openxmlformats.org/drawingml/2006/main" xmlns:r="http://schemas.openxmlformats.org/officeDocument/2006/relationships" xmlns:p="http://schemas.openxmlformats.org/presentationml/2006/main">
  <p:tag name="SHAPE" val="OLD"/>
</p:tagLst>
</file>

<file path=ppt/tags/tag306.xml><?xml version="1.0" encoding="utf-8"?>
<p:tagLst xmlns:a="http://schemas.openxmlformats.org/drawingml/2006/main" xmlns:r="http://schemas.openxmlformats.org/officeDocument/2006/relationships" xmlns:p="http://schemas.openxmlformats.org/presentationml/2006/main">
  <p:tag name="SHAPE" val="OLD"/>
</p:tagLst>
</file>

<file path=ppt/tags/tag307.xml><?xml version="1.0" encoding="utf-8"?>
<p:tagLst xmlns:a="http://schemas.openxmlformats.org/drawingml/2006/main" xmlns:r="http://schemas.openxmlformats.org/officeDocument/2006/relationships" xmlns:p="http://schemas.openxmlformats.org/presentationml/2006/main">
  <p:tag name="SHAPE" val="OLD"/>
</p:tagLst>
</file>

<file path=ppt/tags/tag308.xml><?xml version="1.0" encoding="utf-8"?>
<p:tagLst xmlns:a="http://schemas.openxmlformats.org/drawingml/2006/main" xmlns:r="http://schemas.openxmlformats.org/officeDocument/2006/relationships" xmlns:p="http://schemas.openxmlformats.org/presentationml/2006/main">
  <p:tag name="SHAPE" val="OLD"/>
</p:tagLst>
</file>

<file path=ppt/tags/tag309.xml><?xml version="1.0" encoding="utf-8"?>
<p:tagLst xmlns:a="http://schemas.openxmlformats.org/drawingml/2006/main" xmlns:r="http://schemas.openxmlformats.org/officeDocument/2006/relationships" xmlns:p="http://schemas.openxmlformats.org/presentationml/2006/main">
  <p:tag name="SHAPE" val="OLD"/>
</p:tagLst>
</file>

<file path=ppt/tags/tag31.xml><?xml version="1.0" encoding="utf-8"?>
<p:tagLst xmlns:a="http://schemas.openxmlformats.org/drawingml/2006/main" xmlns:r="http://schemas.openxmlformats.org/officeDocument/2006/relationships" xmlns:p="http://schemas.openxmlformats.org/presentationml/2006/main">
  <p:tag name="SHAPE" val="OLD"/>
</p:tagLst>
</file>

<file path=ppt/tags/tag310.xml><?xml version="1.0" encoding="utf-8"?>
<p:tagLst xmlns:a="http://schemas.openxmlformats.org/drawingml/2006/main" xmlns:r="http://schemas.openxmlformats.org/officeDocument/2006/relationships" xmlns:p="http://schemas.openxmlformats.org/presentationml/2006/main">
  <p:tag name="SHAPE" val="OLD"/>
</p:tagLst>
</file>

<file path=ppt/tags/tag311.xml><?xml version="1.0" encoding="utf-8"?>
<p:tagLst xmlns:a="http://schemas.openxmlformats.org/drawingml/2006/main" xmlns:r="http://schemas.openxmlformats.org/officeDocument/2006/relationships" xmlns:p="http://schemas.openxmlformats.org/presentationml/2006/main">
  <p:tag name="SHAPE" val="OLD"/>
</p:tagLst>
</file>

<file path=ppt/tags/tag312.xml><?xml version="1.0" encoding="utf-8"?>
<p:tagLst xmlns:a="http://schemas.openxmlformats.org/drawingml/2006/main" xmlns:r="http://schemas.openxmlformats.org/officeDocument/2006/relationships" xmlns:p="http://schemas.openxmlformats.org/presentationml/2006/main">
  <p:tag name="SHAPE" val="OLD"/>
</p:tagLst>
</file>

<file path=ppt/tags/tag313.xml><?xml version="1.0" encoding="utf-8"?>
<p:tagLst xmlns:a="http://schemas.openxmlformats.org/drawingml/2006/main" xmlns:r="http://schemas.openxmlformats.org/officeDocument/2006/relationships" xmlns:p="http://schemas.openxmlformats.org/presentationml/2006/main">
  <p:tag name="SHAPE" val="OLD"/>
</p:tagLst>
</file>

<file path=ppt/tags/tag314.xml><?xml version="1.0" encoding="utf-8"?>
<p:tagLst xmlns:a="http://schemas.openxmlformats.org/drawingml/2006/main" xmlns:r="http://schemas.openxmlformats.org/officeDocument/2006/relationships" xmlns:p="http://schemas.openxmlformats.org/presentationml/2006/main">
  <p:tag name="SHAPE" val="OLD"/>
</p:tagLst>
</file>

<file path=ppt/tags/tag315.xml><?xml version="1.0" encoding="utf-8"?>
<p:tagLst xmlns:a="http://schemas.openxmlformats.org/drawingml/2006/main" xmlns:r="http://schemas.openxmlformats.org/officeDocument/2006/relationships" xmlns:p="http://schemas.openxmlformats.org/presentationml/2006/main">
  <p:tag name="SHAPE" val="OLD"/>
</p:tagLst>
</file>

<file path=ppt/tags/tag316.xml><?xml version="1.0" encoding="utf-8"?>
<p:tagLst xmlns:a="http://schemas.openxmlformats.org/drawingml/2006/main" xmlns:r="http://schemas.openxmlformats.org/officeDocument/2006/relationships" xmlns:p="http://schemas.openxmlformats.org/presentationml/2006/main">
  <p:tag name="SHAPE" val="OLD"/>
</p:tagLst>
</file>

<file path=ppt/tags/tag317.xml><?xml version="1.0" encoding="utf-8"?>
<p:tagLst xmlns:a="http://schemas.openxmlformats.org/drawingml/2006/main" xmlns:r="http://schemas.openxmlformats.org/officeDocument/2006/relationships" xmlns:p="http://schemas.openxmlformats.org/presentationml/2006/main">
  <p:tag name="SHAPE" val="OLD"/>
</p:tagLst>
</file>

<file path=ppt/tags/tag318.xml><?xml version="1.0" encoding="utf-8"?>
<p:tagLst xmlns:a="http://schemas.openxmlformats.org/drawingml/2006/main" xmlns:r="http://schemas.openxmlformats.org/officeDocument/2006/relationships" xmlns:p="http://schemas.openxmlformats.org/presentationml/2006/main">
  <p:tag name="SHAPE" val="OLD"/>
</p:tagLst>
</file>

<file path=ppt/tags/tag319.xml><?xml version="1.0" encoding="utf-8"?>
<p:tagLst xmlns:a="http://schemas.openxmlformats.org/drawingml/2006/main" xmlns:r="http://schemas.openxmlformats.org/officeDocument/2006/relationships" xmlns:p="http://schemas.openxmlformats.org/presentationml/2006/main">
  <p:tag name="SHAPE" val="OLD"/>
</p:tagLst>
</file>

<file path=ppt/tags/tag32.xml><?xml version="1.0" encoding="utf-8"?>
<p:tagLst xmlns:a="http://schemas.openxmlformats.org/drawingml/2006/main" xmlns:r="http://schemas.openxmlformats.org/officeDocument/2006/relationships" xmlns:p="http://schemas.openxmlformats.org/presentationml/2006/main">
  <p:tag name="SHAPE" val="OLD"/>
</p:tagLst>
</file>

<file path=ppt/tags/tag320.xml><?xml version="1.0" encoding="utf-8"?>
<p:tagLst xmlns:a="http://schemas.openxmlformats.org/drawingml/2006/main" xmlns:r="http://schemas.openxmlformats.org/officeDocument/2006/relationships" xmlns:p="http://schemas.openxmlformats.org/presentationml/2006/main">
  <p:tag name="SHAPE" val="OLD"/>
</p:tagLst>
</file>

<file path=ppt/tags/tag321.xml><?xml version="1.0" encoding="utf-8"?>
<p:tagLst xmlns:a="http://schemas.openxmlformats.org/drawingml/2006/main" xmlns:r="http://schemas.openxmlformats.org/officeDocument/2006/relationships" xmlns:p="http://schemas.openxmlformats.org/presentationml/2006/main">
  <p:tag name="SHAPE" val="OLD"/>
</p:tagLst>
</file>

<file path=ppt/tags/tag322.xml><?xml version="1.0" encoding="utf-8"?>
<p:tagLst xmlns:a="http://schemas.openxmlformats.org/drawingml/2006/main" xmlns:r="http://schemas.openxmlformats.org/officeDocument/2006/relationships" xmlns:p="http://schemas.openxmlformats.org/presentationml/2006/main">
  <p:tag name="SHAPE" val="OLD"/>
</p:tagLst>
</file>

<file path=ppt/tags/tag323.xml><?xml version="1.0" encoding="utf-8"?>
<p:tagLst xmlns:a="http://schemas.openxmlformats.org/drawingml/2006/main" xmlns:r="http://schemas.openxmlformats.org/officeDocument/2006/relationships" xmlns:p="http://schemas.openxmlformats.org/presentationml/2006/main">
  <p:tag name="SHAPE" val="OLD"/>
</p:tagLst>
</file>

<file path=ppt/tags/tag324.xml><?xml version="1.0" encoding="utf-8"?>
<p:tagLst xmlns:a="http://schemas.openxmlformats.org/drawingml/2006/main" xmlns:r="http://schemas.openxmlformats.org/officeDocument/2006/relationships" xmlns:p="http://schemas.openxmlformats.org/presentationml/2006/main">
  <p:tag name="SHAPE" val="OLD"/>
</p:tagLst>
</file>

<file path=ppt/tags/tag325.xml><?xml version="1.0" encoding="utf-8"?>
<p:tagLst xmlns:a="http://schemas.openxmlformats.org/drawingml/2006/main" xmlns:r="http://schemas.openxmlformats.org/officeDocument/2006/relationships" xmlns:p="http://schemas.openxmlformats.org/presentationml/2006/main">
  <p:tag name="SHAPE" val="OLD"/>
</p:tagLst>
</file>

<file path=ppt/tags/tag326.xml><?xml version="1.0" encoding="utf-8"?>
<p:tagLst xmlns:a="http://schemas.openxmlformats.org/drawingml/2006/main" xmlns:r="http://schemas.openxmlformats.org/officeDocument/2006/relationships" xmlns:p="http://schemas.openxmlformats.org/presentationml/2006/main">
  <p:tag name="SHAPE" val="OLD"/>
</p:tagLst>
</file>

<file path=ppt/tags/tag327.xml><?xml version="1.0" encoding="utf-8"?>
<p:tagLst xmlns:a="http://schemas.openxmlformats.org/drawingml/2006/main" xmlns:r="http://schemas.openxmlformats.org/officeDocument/2006/relationships" xmlns:p="http://schemas.openxmlformats.org/presentationml/2006/main">
  <p:tag name="SHAPE" val="OLD"/>
</p:tagLst>
</file>

<file path=ppt/tags/tag328.xml><?xml version="1.0" encoding="utf-8"?>
<p:tagLst xmlns:a="http://schemas.openxmlformats.org/drawingml/2006/main" xmlns:r="http://schemas.openxmlformats.org/officeDocument/2006/relationships" xmlns:p="http://schemas.openxmlformats.org/presentationml/2006/main">
  <p:tag name="SHAPE" val="OLD"/>
</p:tagLst>
</file>

<file path=ppt/tags/tag329.xml><?xml version="1.0" encoding="utf-8"?>
<p:tagLst xmlns:a="http://schemas.openxmlformats.org/drawingml/2006/main" xmlns:r="http://schemas.openxmlformats.org/officeDocument/2006/relationships" xmlns:p="http://schemas.openxmlformats.org/presentationml/2006/main">
  <p:tag name="SHAPE" val="OLD"/>
</p:tagLst>
</file>

<file path=ppt/tags/tag33.xml><?xml version="1.0" encoding="utf-8"?>
<p:tagLst xmlns:a="http://schemas.openxmlformats.org/drawingml/2006/main" xmlns:r="http://schemas.openxmlformats.org/officeDocument/2006/relationships" xmlns:p="http://schemas.openxmlformats.org/presentationml/2006/main">
  <p:tag name="SHAPE" val="OLD"/>
</p:tagLst>
</file>

<file path=ppt/tags/tag330.xml><?xml version="1.0" encoding="utf-8"?>
<p:tagLst xmlns:a="http://schemas.openxmlformats.org/drawingml/2006/main" xmlns:r="http://schemas.openxmlformats.org/officeDocument/2006/relationships" xmlns:p="http://schemas.openxmlformats.org/presentationml/2006/main">
  <p:tag name="SHAPE" val="OLD"/>
</p:tagLst>
</file>

<file path=ppt/tags/tag331.xml><?xml version="1.0" encoding="utf-8"?>
<p:tagLst xmlns:a="http://schemas.openxmlformats.org/drawingml/2006/main" xmlns:r="http://schemas.openxmlformats.org/officeDocument/2006/relationships" xmlns:p="http://schemas.openxmlformats.org/presentationml/2006/main">
  <p:tag name="SHAPE" val="OLD"/>
</p:tagLst>
</file>

<file path=ppt/tags/tag332.xml><?xml version="1.0" encoding="utf-8"?>
<p:tagLst xmlns:a="http://schemas.openxmlformats.org/drawingml/2006/main" xmlns:r="http://schemas.openxmlformats.org/officeDocument/2006/relationships" xmlns:p="http://schemas.openxmlformats.org/presentationml/2006/main">
  <p:tag name="SHAPE" val="OLD"/>
</p:tagLst>
</file>

<file path=ppt/tags/tag333.xml><?xml version="1.0" encoding="utf-8"?>
<p:tagLst xmlns:a="http://schemas.openxmlformats.org/drawingml/2006/main" xmlns:r="http://schemas.openxmlformats.org/officeDocument/2006/relationships" xmlns:p="http://schemas.openxmlformats.org/presentationml/2006/main">
  <p:tag name="SHAPE" val="OLD"/>
</p:tagLst>
</file>

<file path=ppt/tags/tag334.xml><?xml version="1.0" encoding="utf-8"?>
<p:tagLst xmlns:a="http://schemas.openxmlformats.org/drawingml/2006/main" xmlns:r="http://schemas.openxmlformats.org/officeDocument/2006/relationships" xmlns:p="http://schemas.openxmlformats.org/presentationml/2006/main">
  <p:tag name="SHAPE" val="OLD"/>
</p:tagLst>
</file>

<file path=ppt/tags/tag335.xml><?xml version="1.0" encoding="utf-8"?>
<p:tagLst xmlns:a="http://schemas.openxmlformats.org/drawingml/2006/main" xmlns:r="http://schemas.openxmlformats.org/officeDocument/2006/relationships" xmlns:p="http://schemas.openxmlformats.org/presentationml/2006/main">
  <p:tag name="SHAPE" val="OLD"/>
</p:tagLst>
</file>

<file path=ppt/tags/tag336.xml><?xml version="1.0" encoding="utf-8"?>
<p:tagLst xmlns:a="http://schemas.openxmlformats.org/drawingml/2006/main" xmlns:r="http://schemas.openxmlformats.org/officeDocument/2006/relationships" xmlns:p="http://schemas.openxmlformats.org/presentationml/2006/main">
  <p:tag name="SHAPE" val="OLD"/>
</p:tagLst>
</file>

<file path=ppt/tags/tag337.xml><?xml version="1.0" encoding="utf-8"?>
<p:tagLst xmlns:a="http://schemas.openxmlformats.org/drawingml/2006/main" xmlns:r="http://schemas.openxmlformats.org/officeDocument/2006/relationships" xmlns:p="http://schemas.openxmlformats.org/presentationml/2006/main">
  <p:tag name="SHAPE" val="OLD"/>
</p:tagLst>
</file>

<file path=ppt/tags/tag338.xml><?xml version="1.0" encoding="utf-8"?>
<p:tagLst xmlns:a="http://schemas.openxmlformats.org/drawingml/2006/main" xmlns:r="http://schemas.openxmlformats.org/officeDocument/2006/relationships" xmlns:p="http://schemas.openxmlformats.org/presentationml/2006/main">
  <p:tag name="SHAPE" val="OLD"/>
</p:tagLst>
</file>

<file path=ppt/tags/tag339.xml><?xml version="1.0" encoding="utf-8"?>
<p:tagLst xmlns:a="http://schemas.openxmlformats.org/drawingml/2006/main" xmlns:r="http://schemas.openxmlformats.org/officeDocument/2006/relationships" xmlns:p="http://schemas.openxmlformats.org/presentationml/2006/main">
  <p:tag name="SHAPE" val="OLD"/>
</p:tagLst>
</file>

<file path=ppt/tags/tag34.xml><?xml version="1.0" encoding="utf-8"?>
<p:tagLst xmlns:a="http://schemas.openxmlformats.org/drawingml/2006/main" xmlns:r="http://schemas.openxmlformats.org/officeDocument/2006/relationships" xmlns:p="http://schemas.openxmlformats.org/presentationml/2006/main">
  <p:tag name="SHAPE" val="OLD"/>
</p:tagLst>
</file>

<file path=ppt/tags/tag340.xml><?xml version="1.0" encoding="utf-8"?>
<p:tagLst xmlns:a="http://schemas.openxmlformats.org/drawingml/2006/main" xmlns:r="http://schemas.openxmlformats.org/officeDocument/2006/relationships" xmlns:p="http://schemas.openxmlformats.org/presentationml/2006/main">
  <p:tag name="SHAPE" val="OLD"/>
</p:tagLst>
</file>

<file path=ppt/tags/tag341.xml><?xml version="1.0" encoding="utf-8"?>
<p:tagLst xmlns:a="http://schemas.openxmlformats.org/drawingml/2006/main" xmlns:r="http://schemas.openxmlformats.org/officeDocument/2006/relationships" xmlns:p="http://schemas.openxmlformats.org/presentationml/2006/main">
  <p:tag name="SHAPE" val="OLD"/>
</p:tagLst>
</file>

<file path=ppt/tags/tag342.xml><?xml version="1.0" encoding="utf-8"?>
<p:tagLst xmlns:a="http://schemas.openxmlformats.org/drawingml/2006/main" xmlns:r="http://schemas.openxmlformats.org/officeDocument/2006/relationships" xmlns:p="http://schemas.openxmlformats.org/presentationml/2006/main">
  <p:tag name="SHAPE" val="OLD"/>
</p:tagLst>
</file>

<file path=ppt/tags/tag343.xml><?xml version="1.0" encoding="utf-8"?>
<p:tagLst xmlns:a="http://schemas.openxmlformats.org/drawingml/2006/main" xmlns:r="http://schemas.openxmlformats.org/officeDocument/2006/relationships" xmlns:p="http://schemas.openxmlformats.org/presentationml/2006/main">
  <p:tag name="SHAPE" val="OLD"/>
</p:tagLst>
</file>

<file path=ppt/tags/tag344.xml><?xml version="1.0" encoding="utf-8"?>
<p:tagLst xmlns:a="http://schemas.openxmlformats.org/drawingml/2006/main" xmlns:r="http://schemas.openxmlformats.org/officeDocument/2006/relationships" xmlns:p="http://schemas.openxmlformats.org/presentationml/2006/main">
  <p:tag name="SHAPE" val="OLD"/>
</p:tagLst>
</file>

<file path=ppt/tags/tag345.xml><?xml version="1.0" encoding="utf-8"?>
<p:tagLst xmlns:a="http://schemas.openxmlformats.org/drawingml/2006/main" xmlns:r="http://schemas.openxmlformats.org/officeDocument/2006/relationships" xmlns:p="http://schemas.openxmlformats.org/presentationml/2006/main">
  <p:tag name="SHAPE" val="OLD"/>
</p:tagLst>
</file>

<file path=ppt/tags/tag346.xml><?xml version="1.0" encoding="utf-8"?>
<p:tagLst xmlns:a="http://schemas.openxmlformats.org/drawingml/2006/main" xmlns:r="http://schemas.openxmlformats.org/officeDocument/2006/relationships" xmlns:p="http://schemas.openxmlformats.org/presentationml/2006/main">
  <p:tag name="SHAPE" val="OLD"/>
</p:tagLst>
</file>

<file path=ppt/tags/tag347.xml><?xml version="1.0" encoding="utf-8"?>
<p:tagLst xmlns:a="http://schemas.openxmlformats.org/drawingml/2006/main" xmlns:r="http://schemas.openxmlformats.org/officeDocument/2006/relationships" xmlns:p="http://schemas.openxmlformats.org/presentationml/2006/main">
  <p:tag name="SHAPE" val="OLD"/>
</p:tagLst>
</file>

<file path=ppt/tags/tag348.xml><?xml version="1.0" encoding="utf-8"?>
<p:tagLst xmlns:a="http://schemas.openxmlformats.org/drawingml/2006/main" xmlns:r="http://schemas.openxmlformats.org/officeDocument/2006/relationships" xmlns:p="http://schemas.openxmlformats.org/presentationml/2006/main">
  <p:tag name="SHAPE" val="OLD"/>
</p:tagLst>
</file>

<file path=ppt/tags/tag349.xml><?xml version="1.0" encoding="utf-8"?>
<p:tagLst xmlns:a="http://schemas.openxmlformats.org/drawingml/2006/main" xmlns:r="http://schemas.openxmlformats.org/officeDocument/2006/relationships" xmlns:p="http://schemas.openxmlformats.org/presentationml/2006/main">
  <p:tag name="SHAPE" val="OLD"/>
</p:tagLst>
</file>

<file path=ppt/tags/tag35.xml><?xml version="1.0" encoding="utf-8"?>
<p:tagLst xmlns:a="http://schemas.openxmlformats.org/drawingml/2006/main" xmlns:r="http://schemas.openxmlformats.org/officeDocument/2006/relationships" xmlns:p="http://schemas.openxmlformats.org/presentationml/2006/main">
  <p:tag name="SHAPE" val="OLD"/>
</p:tagLst>
</file>

<file path=ppt/tags/tag350.xml><?xml version="1.0" encoding="utf-8"?>
<p:tagLst xmlns:a="http://schemas.openxmlformats.org/drawingml/2006/main" xmlns:r="http://schemas.openxmlformats.org/officeDocument/2006/relationships" xmlns:p="http://schemas.openxmlformats.org/presentationml/2006/main">
  <p:tag name="SHAPE" val="OLD"/>
</p:tagLst>
</file>

<file path=ppt/tags/tag351.xml><?xml version="1.0" encoding="utf-8"?>
<p:tagLst xmlns:a="http://schemas.openxmlformats.org/drawingml/2006/main" xmlns:r="http://schemas.openxmlformats.org/officeDocument/2006/relationships" xmlns:p="http://schemas.openxmlformats.org/presentationml/2006/main">
  <p:tag name="SHAPE" val="OLD"/>
</p:tagLst>
</file>

<file path=ppt/tags/tag352.xml><?xml version="1.0" encoding="utf-8"?>
<p:tagLst xmlns:a="http://schemas.openxmlformats.org/drawingml/2006/main" xmlns:r="http://schemas.openxmlformats.org/officeDocument/2006/relationships" xmlns:p="http://schemas.openxmlformats.org/presentationml/2006/main">
  <p:tag name="SHAPE" val="OLD"/>
</p:tagLst>
</file>

<file path=ppt/tags/tag353.xml><?xml version="1.0" encoding="utf-8"?>
<p:tagLst xmlns:a="http://schemas.openxmlformats.org/drawingml/2006/main" xmlns:r="http://schemas.openxmlformats.org/officeDocument/2006/relationships" xmlns:p="http://schemas.openxmlformats.org/presentationml/2006/main">
  <p:tag name="SHAPE" val="OLD"/>
</p:tagLst>
</file>

<file path=ppt/tags/tag354.xml><?xml version="1.0" encoding="utf-8"?>
<p:tagLst xmlns:a="http://schemas.openxmlformats.org/drawingml/2006/main" xmlns:r="http://schemas.openxmlformats.org/officeDocument/2006/relationships" xmlns:p="http://schemas.openxmlformats.org/presentationml/2006/main">
  <p:tag name="SHAPE" val="OLD"/>
</p:tagLst>
</file>

<file path=ppt/tags/tag355.xml><?xml version="1.0" encoding="utf-8"?>
<p:tagLst xmlns:a="http://schemas.openxmlformats.org/drawingml/2006/main" xmlns:r="http://schemas.openxmlformats.org/officeDocument/2006/relationships" xmlns:p="http://schemas.openxmlformats.org/presentationml/2006/main">
  <p:tag name="SHAPE" val="OLD"/>
</p:tagLst>
</file>

<file path=ppt/tags/tag356.xml><?xml version="1.0" encoding="utf-8"?>
<p:tagLst xmlns:a="http://schemas.openxmlformats.org/drawingml/2006/main" xmlns:r="http://schemas.openxmlformats.org/officeDocument/2006/relationships" xmlns:p="http://schemas.openxmlformats.org/presentationml/2006/main">
  <p:tag name="SHAPE" val="OLD"/>
</p:tagLst>
</file>

<file path=ppt/tags/tag357.xml><?xml version="1.0" encoding="utf-8"?>
<p:tagLst xmlns:a="http://schemas.openxmlformats.org/drawingml/2006/main" xmlns:r="http://schemas.openxmlformats.org/officeDocument/2006/relationships" xmlns:p="http://schemas.openxmlformats.org/presentationml/2006/main">
  <p:tag name="SHAPE" val="OLD"/>
</p:tagLst>
</file>

<file path=ppt/tags/tag358.xml><?xml version="1.0" encoding="utf-8"?>
<p:tagLst xmlns:a="http://schemas.openxmlformats.org/drawingml/2006/main" xmlns:r="http://schemas.openxmlformats.org/officeDocument/2006/relationships" xmlns:p="http://schemas.openxmlformats.org/presentationml/2006/main">
  <p:tag name="SHAPE" val="OLD"/>
</p:tagLst>
</file>

<file path=ppt/tags/tag359.xml><?xml version="1.0" encoding="utf-8"?>
<p:tagLst xmlns:a="http://schemas.openxmlformats.org/drawingml/2006/main" xmlns:r="http://schemas.openxmlformats.org/officeDocument/2006/relationships" xmlns:p="http://schemas.openxmlformats.org/presentationml/2006/main">
  <p:tag name="SHAPE" val="OLD"/>
</p:tagLst>
</file>

<file path=ppt/tags/tag36.xml><?xml version="1.0" encoding="utf-8"?>
<p:tagLst xmlns:a="http://schemas.openxmlformats.org/drawingml/2006/main" xmlns:r="http://schemas.openxmlformats.org/officeDocument/2006/relationships" xmlns:p="http://schemas.openxmlformats.org/presentationml/2006/main">
  <p:tag name="SHAPE" val="OLD"/>
</p:tagLst>
</file>

<file path=ppt/tags/tag360.xml><?xml version="1.0" encoding="utf-8"?>
<p:tagLst xmlns:a="http://schemas.openxmlformats.org/drawingml/2006/main" xmlns:r="http://schemas.openxmlformats.org/officeDocument/2006/relationships" xmlns:p="http://schemas.openxmlformats.org/presentationml/2006/main">
  <p:tag name="SHAPE" val="OLD"/>
</p:tagLst>
</file>

<file path=ppt/tags/tag361.xml><?xml version="1.0" encoding="utf-8"?>
<p:tagLst xmlns:a="http://schemas.openxmlformats.org/drawingml/2006/main" xmlns:r="http://schemas.openxmlformats.org/officeDocument/2006/relationships" xmlns:p="http://schemas.openxmlformats.org/presentationml/2006/main">
  <p:tag name="SHAPE" val="OLD"/>
</p:tagLst>
</file>

<file path=ppt/tags/tag362.xml><?xml version="1.0" encoding="utf-8"?>
<p:tagLst xmlns:a="http://schemas.openxmlformats.org/drawingml/2006/main" xmlns:r="http://schemas.openxmlformats.org/officeDocument/2006/relationships" xmlns:p="http://schemas.openxmlformats.org/presentationml/2006/main">
  <p:tag name="SHAPE" val="OLD"/>
</p:tagLst>
</file>

<file path=ppt/tags/tag363.xml><?xml version="1.0" encoding="utf-8"?>
<p:tagLst xmlns:a="http://schemas.openxmlformats.org/drawingml/2006/main" xmlns:r="http://schemas.openxmlformats.org/officeDocument/2006/relationships" xmlns:p="http://schemas.openxmlformats.org/presentationml/2006/main">
  <p:tag name="SHAPE" val="OLD"/>
</p:tagLst>
</file>

<file path=ppt/tags/tag364.xml><?xml version="1.0" encoding="utf-8"?>
<p:tagLst xmlns:a="http://schemas.openxmlformats.org/drawingml/2006/main" xmlns:r="http://schemas.openxmlformats.org/officeDocument/2006/relationships" xmlns:p="http://schemas.openxmlformats.org/presentationml/2006/main">
  <p:tag name="SHAPE" val="OLD"/>
</p:tagLst>
</file>

<file path=ppt/tags/tag365.xml><?xml version="1.0" encoding="utf-8"?>
<p:tagLst xmlns:a="http://schemas.openxmlformats.org/drawingml/2006/main" xmlns:r="http://schemas.openxmlformats.org/officeDocument/2006/relationships" xmlns:p="http://schemas.openxmlformats.org/presentationml/2006/main">
  <p:tag name="SHAPE" val="OLD"/>
</p:tagLst>
</file>

<file path=ppt/tags/tag366.xml><?xml version="1.0" encoding="utf-8"?>
<p:tagLst xmlns:a="http://schemas.openxmlformats.org/drawingml/2006/main" xmlns:r="http://schemas.openxmlformats.org/officeDocument/2006/relationships" xmlns:p="http://schemas.openxmlformats.org/presentationml/2006/main">
  <p:tag name="SHAPE" val="OLD"/>
</p:tagLst>
</file>

<file path=ppt/tags/tag367.xml><?xml version="1.0" encoding="utf-8"?>
<p:tagLst xmlns:a="http://schemas.openxmlformats.org/drawingml/2006/main" xmlns:r="http://schemas.openxmlformats.org/officeDocument/2006/relationships" xmlns:p="http://schemas.openxmlformats.org/presentationml/2006/main">
  <p:tag name="SHAPE" val="OLD"/>
</p:tagLst>
</file>

<file path=ppt/tags/tag368.xml><?xml version="1.0" encoding="utf-8"?>
<p:tagLst xmlns:a="http://schemas.openxmlformats.org/drawingml/2006/main" xmlns:r="http://schemas.openxmlformats.org/officeDocument/2006/relationships" xmlns:p="http://schemas.openxmlformats.org/presentationml/2006/main">
  <p:tag name="SHAPE" val="OLD"/>
</p:tagLst>
</file>

<file path=ppt/tags/tag369.xml><?xml version="1.0" encoding="utf-8"?>
<p:tagLst xmlns:a="http://schemas.openxmlformats.org/drawingml/2006/main" xmlns:r="http://schemas.openxmlformats.org/officeDocument/2006/relationships" xmlns:p="http://schemas.openxmlformats.org/presentationml/2006/main">
  <p:tag name="SHAPE" val="OLD"/>
</p:tagLst>
</file>

<file path=ppt/tags/tag37.xml><?xml version="1.0" encoding="utf-8"?>
<p:tagLst xmlns:a="http://schemas.openxmlformats.org/drawingml/2006/main" xmlns:r="http://schemas.openxmlformats.org/officeDocument/2006/relationships" xmlns:p="http://schemas.openxmlformats.org/presentationml/2006/main">
  <p:tag name="SHAPE" val="OLD"/>
</p:tagLst>
</file>

<file path=ppt/tags/tag370.xml><?xml version="1.0" encoding="utf-8"?>
<p:tagLst xmlns:a="http://schemas.openxmlformats.org/drawingml/2006/main" xmlns:r="http://schemas.openxmlformats.org/officeDocument/2006/relationships" xmlns:p="http://schemas.openxmlformats.org/presentationml/2006/main">
  <p:tag name="SHAPE" val="OLD"/>
</p:tagLst>
</file>

<file path=ppt/tags/tag371.xml><?xml version="1.0" encoding="utf-8"?>
<p:tagLst xmlns:a="http://schemas.openxmlformats.org/drawingml/2006/main" xmlns:r="http://schemas.openxmlformats.org/officeDocument/2006/relationships" xmlns:p="http://schemas.openxmlformats.org/presentationml/2006/main">
  <p:tag name="SHAPE" val="OLD"/>
</p:tagLst>
</file>

<file path=ppt/tags/tag372.xml><?xml version="1.0" encoding="utf-8"?>
<p:tagLst xmlns:a="http://schemas.openxmlformats.org/drawingml/2006/main" xmlns:r="http://schemas.openxmlformats.org/officeDocument/2006/relationships" xmlns:p="http://schemas.openxmlformats.org/presentationml/2006/main">
  <p:tag name="SHAPE" val="OLD"/>
</p:tagLst>
</file>

<file path=ppt/tags/tag373.xml><?xml version="1.0" encoding="utf-8"?>
<p:tagLst xmlns:a="http://schemas.openxmlformats.org/drawingml/2006/main" xmlns:r="http://schemas.openxmlformats.org/officeDocument/2006/relationships" xmlns:p="http://schemas.openxmlformats.org/presentationml/2006/main">
  <p:tag name="SHAPE" val="OLD"/>
</p:tagLst>
</file>

<file path=ppt/tags/tag374.xml><?xml version="1.0" encoding="utf-8"?>
<p:tagLst xmlns:a="http://schemas.openxmlformats.org/drawingml/2006/main" xmlns:r="http://schemas.openxmlformats.org/officeDocument/2006/relationships" xmlns:p="http://schemas.openxmlformats.org/presentationml/2006/main">
  <p:tag name="SHAPE" val="OLD"/>
</p:tagLst>
</file>

<file path=ppt/tags/tag375.xml><?xml version="1.0" encoding="utf-8"?>
<p:tagLst xmlns:a="http://schemas.openxmlformats.org/drawingml/2006/main" xmlns:r="http://schemas.openxmlformats.org/officeDocument/2006/relationships" xmlns:p="http://schemas.openxmlformats.org/presentationml/2006/main">
  <p:tag name="SHAPE" val="OLD"/>
</p:tagLst>
</file>

<file path=ppt/tags/tag376.xml><?xml version="1.0" encoding="utf-8"?>
<p:tagLst xmlns:a="http://schemas.openxmlformats.org/drawingml/2006/main" xmlns:r="http://schemas.openxmlformats.org/officeDocument/2006/relationships" xmlns:p="http://schemas.openxmlformats.org/presentationml/2006/main">
  <p:tag name="SHAPE" val="OLD"/>
</p:tagLst>
</file>

<file path=ppt/tags/tag377.xml><?xml version="1.0" encoding="utf-8"?>
<p:tagLst xmlns:a="http://schemas.openxmlformats.org/drawingml/2006/main" xmlns:r="http://schemas.openxmlformats.org/officeDocument/2006/relationships" xmlns:p="http://schemas.openxmlformats.org/presentationml/2006/main">
  <p:tag name="SHAPE" val="OLD"/>
</p:tagLst>
</file>

<file path=ppt/tags/tag378.xml><?xml version="1.0" encoding="utf-8"?>
<p:tagLst xmlns:a="http://schemas.openxmlformats.org/drawingml/2006/main" xmlns:r="http://schemas.openxmlformats.org/officeDocument/2006/relationships" xmlns:p="http://schemas.openxmlformats.org/presentationml/2006/main">
  <p:tag name="SHAPE" val="OLD"/>
</p:tagLst>
</file>

<file path=ppt/tags/tag379.xml><?xml version="1.0" encoding="utf-8"?>
<p:tagLst xmlns:a="http://schemas.openxmlformats.org/drawingml/2006/main" xmlns:r="http://schemas.openxmlformats.org/officeDocument/2006/relationships" xmlns:p="http://schemas.openxmlformats.org/presentationml/2006/main">
  <p:tag name="SHAPE" val="OLD"/>
</p:tagLst>
</file>

<file path=ppt/tags/tag38.xml><?xml version="1.0" encoding="utf-8"?>
<p:tagLst xmlns:a="http://schemas.openxmlformats.org/drawingml/2006/main" xmlns:r="http://schemas.openxmlformats.org/officeDocument/2006/relationships" xmlns:p="http://schemas.openxmlformats.org/presentationml/2006/main">
  <p:tag name="SHAPE" val="OLD"/>
</p:tagLst>
</file>

<file path=ppt/tags/tag380.xml><?xml version="1.0" encoding="utf-8"?>
<p:tagLst xmlns:a="http://schemas.openxmlformats.org/drawingml/2006/main" xmlns:r="http://schemas.openxmlformats.org/officeDocument/2006/relationships" xmlns:p="http://schemas.openxmlformats.org/presentationml/2006/main">
  <p:tag name="SHAPE" val="OLD"/>
</p:tagLst>
</file>

<file path=ppt/tags/tag381.xml><?xml version="1.0" encoding="utf-8"?>
<p:tagLst xmlns:a="http://schemas.openxmlformats.org/drawingml/2006/main" xmlns:r="http://schemas.openxmlformats.org/officeDocument/2006/relationships" xmlns:p="http://schemas.openxmlformats.org/presentationml/2006/main">
  <p:tag name="SHAPE" val="OLD"/>
</p:tagLst>
</file>

<file path=ppt/tags/tag382.xml><?xml version="1.0" encoding="utf-8"?>
<p:tagLst xmlns:a="http://schemas.openxmlformats.org/drawingml/2006/main" xmlns:r="http://schemas.openxmlformats.org/officeDocument/2006/relationships" xmlns:p="http://schemas.openxmlformats.org/presentationml/2006/main">
  <p:tag name="SHAPE" val="OLD"/>
</p:tagLst>
</file>

<file path=ppt/tags/tag383.xml><?xml version="1.0" encoding="utf-8"?>
<p:tagLst xmlns:a="http://schemas.openxmlformats.org/drawingml/2006/main" xmlns:r="http://schemas.openxmlformats.org/officeDocument/2006/relationships" xmlns:p="http://schemas.openxmlformats.org/presentationml/2006/main">
  <p:tag name="SHAPE" val="OLD"/>
</p:tagLst>
</file>

<file path=ppt/tags/tag384.xml><?xml version="1.0" encoding="utf-8"?>
<p:tagLst xmlns:a="http://schemas.openxmlformats.org/drawingml/2006/main" xmlns:r="http://schemas.openxmlformats.org/officeDocument/2006/relationships" xmlns:p="http://schemas.openxmlformats.org/presentationml/2006/main">
  <p:tag name="SHAPE" val="OLD"/>
</p:tagLst>
</file>

<file path=ppt/tags/tag385.xml><?xml version="1.0" encoding="utf-8"?>
<p:tagLst xmlns:a="http://schemas.openxmlformats.org/drawingml/2006/main" xmlns:r="http://schemas.openxmlformats.org/officeDocument/2006/relationships" xmlns:p="http://schemas.openxmlformats.org/presentationml/2006/main">
  <p:tag name="SHAPE" val="OLD"/>
</p:tagLst>
</file>

<file path=ppt/tags/tag386.xml><?xml version="1.0" encoding="utf-8"?>
<p:tagLst xmlns:a="http://schemas.openxmlformats.org/drawingml/2006/main" xmlns:r="http://schemas.openxmlformats.org/officeDocument/2006/relationships" xmlns:p="http://schemas.openxmlformats.org/presentationml/2006/main">
  <p:tag name="SHAPE" val="OLD"/>
</p:tagLst>
</file>

<file path=ppt/tags/tag387.xml><?xml version="1.0" encoding="utf-8"?>
<p:tagLst xmlns:a="http://schemas.openxmlformats.org/drawingml/2006/main" xmlns:r="http://schemas.openxmlformats.org/officeDocument/2006/relationships" xmlns:p="http://schemas.openxmlformats.org/presentationml/2006/main">
  <p:tag name="SHAPE" val="OLD"/>
</p:tagLst>
</file>

<file path=ppt/tags/tag388.xml><?xml version="1.0" encoding="utf-8"?>
<p:tagLst xmlns:a="http://schemas.openxmlformats.org/drawingml/2006/main" xmlns:r="http://schemas.openxmlformats.org/officeDocument/2006/relationships" xmlns:p="http://schemas.openxmlformats.org/presentationml/2006/main">
  <p:tag name="SHAPE" val="OLD"/>
</p:tagLst>
</file>

<file path=ppt/tags/tag389.xml><?xml version="1.0" encoding="utf-8"?>
<p:tagLst xmlns:a="http://schemas.openxmlformats.org/drawingml/2006/main" xmlns:r="http://schemas.openxmlformats.org/officeDocument/2006/relationships" xmlns:p="http://schemas.openxmlformats.org/presentationml/2006/main">
  <p:tag name="SHAPE" val="OLD"/>
</p:tagLst>
</file>

<file path=ppt/tags/tag39.xml><?xml version="1.0" encoding="utf-8"?>
<p:tagLst xmlns:a="http://schemas.openxmlformats.org/drawingml/2006/main" xmlns:r="http://schemas.openxmlformats.org/officeDocument/2006/relationships" xmlns:p="http://schemas.openxmlformats.org/presentationml/2006/main">
  <p:tag name="SHAPE" val="OLD"/>
</p:tagLst>
</file>

<file path=ppt/tags/tag390.xml><?xml version="1.0" encoding="utf-8"?>
<p:tagLst xmlns:a="http://schemas.openxmlformats.org/drawingml/2006/main" xmlns:r="http://schemas.openxmlformats.org/officeDocument/2006/relationships" xmlns:p="http://schemas.openxmlformats.org/presentationml/2006/main">
  <p:tag name="SHAPE" val="OLD"/>
</p:tagLst>
</file>

<file path=ppt/tags/tag391.xml><?xml version="1.0" encoding="utf-8"?>
<p:tagLst xmlns:a="http://schemas.openxmlformats.org/drawingml/2006/main" xmlns:r="http://schemas.openxmlformats.org/officeDocument/2006/relationships" xmlns:p="http://schemas.openxmlformats.org/presentationml/2006/main">
  <p:tag name="SHAPE" val="OLD"/>
</p:tagLst>
</file>

<file path=ppt/tags/tag392.xml><?xml version="1.0" encoding="utf-8"?>
<p:tagLst xmlns:a="http://schemas.openxmlformats.org/drawingml/2006/main" xmlns:r="http://schemas.openxmlformats.org/officeDocument/2006/relationships" xmlns:p="http://schemas.openxmlformats.org/presentationml/2006/main">
  <p:tag name="SHAPE" val="OLD"/>
</p:tagLst>
</file>

<file path=ppt/tags/tag393.xml><?xml version="1.0" encoding="utf-8"?>
<p:tagLst xmlns:a="http://schemas.openxmlformats.org/drawingml/2006/main" xmlns:r="http://schemas.openxmlformats.org/officeDocument/2006/relationships" xmlns:p="http://schemas.openxmlformats.org/presentationml/2006/main">
  <p:tag name="SHAPE" val="OLD"/>
</p:tagLst>
</file>

<file path=ppt/tags/tag394.xml><?xml version="1.0" encoding="utf-8"?>
<p:tagLst xmlns:a="http://schemas.openxmlformats.org/drawingml/2006/main" xmlns:r="http://schemas.openxmlformats.org/officeDocument/2006/relationships" xmlns:p="http://schemas.openxmlformats.org/presentationml/2006/main">
  <p:tag name="SHAPE" val="OLD"/>
</p:tagLst>
</file>

<file path=ppt/tags/tag395.xml><?xml version="1.0" encoding="utf-8"?>
<p:tagLst xmlns:a="http://schemas.openxmlformats.org/drawingml/2006/main" xmlns:r="http://schemas.openxmlformats.org/officeDocument/2006/relationships" xmlns:p="http://schemas.openxmlformats.org/presentationml/2006/main">
  <p:tag name="SHAPE" val="OLD"/>
</p:tagLst>
</file>

<file path=ppt/tags/tag396.xml><?xml version="1.0" encoding="utf-8"?>
<p:tagLst xmlns:a="http://schemas.openxmlformats.org/drawingml/2006/main" xmlns:r="http://schemas.openxmlformats.org/officeDocument/2006/relationships" xmlns:p="http://schemas.openxmlformats.org/presentationml/2006/main">
  <p:tag name="SHAPE" val="OLD"/>
</p:tagLst>
</file>

<file path=ppt/tags/tag397.xml><?xml version="1.0" encoding="utf-8"?>
<p:tagLst xmlns:a="http://schemas.openxmlformats.org/drawingml/2006/main" xmlns:r="http://schemas.openxmlformats.org/officeDocument/2006/relationships" xmlns:p="http://schemas.openxmlformats.org/presentationml/2006/main">
  <p:tag name="SHAPE" val="OLD"/>
</p:tagLst>
</file>

<file path=ppt/tags/tag398.xml><?xml version="1.0" encoding="utf-8"?>
<p:tagLst xmlns:a="http://schemas.openxmlformats.org/drawingml/2006/main" xmlns:r="http://schemas.openxmlformats.org/officeDocument/2006/relationships" xmlns:p="http://schemas.openxmlformats.org/presentationml/2006/main">
  <p:tag name="SHAPE" val="OLD"/>
</p:tagLst>
</file>

<file path=ppt/tags/tag399.xml><?xml version="1.0" encoding="utf-8"?>
<p:tagLst xmlns:a="http://schemas.openxmlformats.org/drawingml/2006/main" xmlns:r="http://schemas.openxmlformats.org/officeDocument/2006/relationships" xmlns:p="http://schemas.openxmlformats.org/presentationml/2006/main">
  <p:tag name="SHAPE" val="OLD"/>
</p:tagLst>
</file>

<file path=ppt/tags/tag4.xml><?xml version="1.0" encoding="utf-8"?>
<p:tagLst xmlns:a="http://schemas.openxmlformats.org/drawingml/2006/main" xmlns:r="http://schemas.openxmlformats.org/officeDocument/2006/relationships" xmlns:p="http://schemas.openxmlformats.org/presentationml/2006/main">
  <p:tag name="SHAPE" val="OLD"/>
</p:tagLst>
</file>

<file path=ppt/tags/tag40.xml><?xml version="1.0" encoding="utf-8"?>
<p:tagLst xmlns:a="http://schemas.openxmlformats.org/drawingml/2006/main" xmlns:r="http://schemas.openxmlformats.org/officeDocument/2006/relationships" xmlns:p="http://schemas.openxmlformats.org/presentationml/2006/main">
  <p:tag name="SHAPE" val="OLD"/>
</p:tagLst>
</file>

<file path=ppt/tags/tag400.xml><?xml version="1.0" encoding="utf-8"?>
<p:tagLst xmlns:a="http://schemas.openxmlformats.org/drawingml/2006/main" xmlns:r="http://schemas.openxmlformats.org/officeDocument/2006/relationships" xmlns:p="http://schemas.openxmlformats.org/presentationml/2006/main">
  <p:tag name="SHAPE" val="OLD"/>
</p:tagLst>
</file>

<file path=ppt/tags/tag401.xml><?xml version="1.0" encoding="utf-8"?>
<p:tagLst xmlns:a="http://schemas.openxmlformats.org/drawingml/2006/main" xmlns:r="http://schemas.openxmlformats.org/officeDocument/2006/relationships" xmlns:p="http://schemas.openxmlformats.org/presentationml/2006/main">
  <p:tag name="SHAPE" val="OLD"/>
</p:tagLst>
</file>

<file path=ppt/tags/tag402.xml><?xml version="1.0" encoding="utf-8"?>
<p:tagLst xmlns:a="http://schemas.openxmlformats.org/drawingml/2006/main" xmlns:r="http://schemas.openxmlformats.org/officeDocument/2006/relationships" xmlns:p="http://schemas.openxmlformats.org/presentationml/2006/main">
  <p:tag name="SHAPE" val="OLD"/>
</p:tagLst>
</file>

<file path=ppt/tags/tag403.xml><?xml version="1.0" encoding="utf-8"?>
<p:tagLst xmlns:a="http://schemas.openxmlformats.org/drawingml/2006/main" xmlns:r="http://schemas.openxmlformats.org/officeDocument/2006/relationships" xmlns:p="http://schemas.openxmlformats.org/presentationml/2006/main">
  <p:tag name="SHAPE" val="OLD"/>
</p:tagLst>
</file>

<file path=ppt/tags/tag404.xml><?xml version="1.0" encoding="utf-8"?>
<p:tagLst xmlns:a="http://schemas.openxmlformats.org/drawingml/2006/main" xmlns:r="http://schemas.openxmlformats.org/officeDocument/2006/relationships" xmlns:p="http://schemas.openxmlformats.org/presentationml/2006/main">
  <p:tag name="SHAPE" val="OLD"/>
</p:tagLst>
</file>

<file path=ppt/tags/tag405.xml><?xml version="1.0" encoding="utf-8"?>
<p:tagLst xmlns:a="http://schemas.openxmlformats.org/drawingml/2006/main" xmlns:r="http://schemas.openxmlformats.org/officeDocument/2006/relationships" xmlns:p="http://schemas.openxmlformats.org/presentationml/2006/main">
  <p:tag name="SHAPE" val="OLD"/>
</p:tagLst>
</file>

<file path=ppt/tags/tag406.xml><?xml version="1.0" encoding="utf-8"?>
<p:tagLst xmlns:a="http://schemas.openxmlformats.org/drawingml/2006/main" xmlns:r="http://schemas.openxmlformats.org/officeDocument/2006/relationships" xmlns:p="http://schemas.openxmlformats.org/presentationml/2006/main">
  <p:tag name="SHAPE" val="OLD"/>
</p:tagLst>
</file>

<file path=ppt/tags/tag407.xml><?xml version="1.0" encoding="utf-8"?>
<p:tagLst xmlns:a="http://schemas.openxmlformats.org/drawingml/2006/main" xmlns:r="http://schemas.openxmlformats.org/officeDocument/2006/relationships" xmlns:p="http://schemas.openxmlformats.org/presentationml/2006/main">
  <p:tag name="SHAPE" val="OLD"/>
</p:tagLst>
</file>

<file path=ppt/tags/tag408.xml><?xml version="1.0" encoding="utf-8"?>
<p:tagLst xmlns:a="http://schemas.openxmlformats.org/drawingml/2006/main" xmlns:r="http://schemas.openxmlformats.org/officeDocument/2006/relationships" xmlns:p="http://schemas.openxmlformats.org/presentationml/2006/main">
  <p:tag name="SHAPE" val="OLD"/>
</p:tagLst>
</file>

<file path=ppt/tags/tag409.xml><?xml version="1.0" encoding="utf-8"?>
<p:tagLst xmlns:a="http://schemas.openxmlformats.org/drawingml/2006/main" xmlns:r="http://schemas.openxmlformats.org/officeDocument/2006/relationships" xmlns:p="http://schemas.openxmlformats.org/presentationml/2006/main">
  <p:tag name="SHAPE" val="OLD"/>
</p:tagLst>
</file>

<file path=ppt/tags/tag41.xml><?xml version="1.0" encoding="utf-8"?>
<p:tagLst xmlns:a="http://schemas.openxmlformats.org/drawingml/2006/main" xmlns:r="http://schemas.openxmlformats.org/officeDocument/2006/relationships" xmlns:p="http://schemas.openxmlformats.org/presentationml/2006/main">
  <p:tag name="SHAPE" val="OLD"/>
</p:tagLst>
</file>

<file path=ppt/tags/tag410.xml><?xml version="1.0" encoding="utf-8"?>
<p:tagLst xmlns:a="http://schemas.openxmlformats.org/drawingml/2006/main" xmlns:r="http://schemas.openxmlformats.org/officeDocument/2006/relationships" xmlns:p="http://schemas.openxmlformats.org/presentationml/2006/main">
  <p:tag name="SHAPE" val="OLD"/>
</p:tagLst>
</file>

<file path=ppt/tags/tag411.xml><?xml version="1.0" encoding="utf-8"?>
<p:tagLst xmlns:a="http://schemas.openxmlformats.org/drawingml/2006/main" xmlns:r="http://schemas.openxmlformats.org/officeDocument/2006/relationships" xmlns:p="http://schemas.openxmlformats.org/presentationml/2006/main">
  <p:tag name="SHAPE" val="OLD"/>
</p:tagLst>
</file>

<file path=ppt/tags/tag412.xml><?xml version="1.0" encoding="utf-8"?>
<p:tagLst xmlns:a="http://schemas.openxmlformats.org/drawingml/2006/main" xmlns:r="http://schemas.openxmlformats.org/officeDocument/2006/relationships" xmlns:p="http://schemas.openxmlformats.org/presentationml/2006/main">
  <p:tag name="SHAPE" val="OLD"/>
</p:tagLst>
</file>

<file path=ppt/tags/tag413.xml><?xml version="1.0" encoding="utf-8"?>
<p:tagLst xmlns:a="http://schemas.openxmlformats.org/drawingml/2006/main" xmlns:r="http://schemas.openxmlformats.org/officeDocument/2006/relationships" xmlns:p="http://schemas.openxmlformats.org/presentationml/2006/main">
  <p:tag name="SHAPE" val="OLD"/>
</p:tagLst>
</file>

<file path=ppt/tags/tag414.xml><?xml version="1.0" encoding="utf-8"?>
<p:tagLst xmlns:a="http://schemas.openxmlformats.org/drawingml/2006/main" xmlns:r="http://schemas.openxmlformats.org/officeDocument/2006/relationships" xmlns:p="http://schemas.openxmlformats.org/presentationml/2006/main">
  <p:tag name="SHAPE" val="OLD"/>
</p:tagLst>
</file>

<file path=ppt/tags/tag415.xml><?xml version="1.0" encoding="utf-8"?>
<p:tagLst xmlns:a="http://schemas.openxmlformats.org/drawingml/2006/main" xmlns:r="http://schemas.openxmlformats.org/officeDocument/2006/relationships" xmlns:p="http://schemas.openxmlformats.org/presentationml/2006/main">
  <p:tag name="SHAPE" val="OLD"/>
</p:tagLst>
</file>

<file path=ppt/tags/tag416.xml><?xml version="1.0" encoding="utf-8"?>
<p:tagLst xmlns:a="http://schemas.openxmlformats.org/drawingml/2006/main" xmlns:r="http://schemas.openxmlformats.org/officeDocument/2006/relationships" xmlns:p="http://schemas.openxmlformats.org/presentationml/2006/main">
  <p:tag name="SHAPE" val="OLD"/>
</p:tagLst>
</file>

<file path=ppt/tags/tag417.xml><?xml version="1.0" encoding="utf-8"?>
<p:tagLst xmlns:a="http://schemas.openxmlformats.org/drawingml/2006/main" xmlns:r="http://schemas.openxmlformats.org/officeDocument/2006/relationships" xmlns:p="http://schemas.openxmlformats.org/presentationml/2006/main">
  <p:tag name="SHAPE" val="OLD"/>
</p:tagLst>
</file>

<file path=ppt/tags/tag418.xml><?xml version="1.0" encoding="utf-8"?>
<p:tagLst xmlns:a="http://schemas.openxmlformats.org/drawingml/2006/main" xmlns:r="http://schemas.openxmlformats.org/officeDocument/2006/relationships" xmlns:p="http://schemas.openxmlformats.org/presentationml/2006/main">
  <p:tag name="SHAPE" val="OLD"/>
</p:tagLst>
</file>

<file path=ppt/tags/tag419.xml><?xml version="1.0" encoding="utf-8"?>
<p:tagLst xmlns:a="http://schemas.openxmlformats.org/drawingml/2006/main" xmlns:r="http://schemas.openxmlformats.org/officeDocument/2006/relationships" xmlns:p="http://schemas.openxmlformats.org/presentationml/2006/main">
  <p:tag name="SHAPE" val="OLD"/>
</p:tagLst>
</file>

<file path=ppt/tags/tag42.xml><?xml version="1.0" encoding="utf-8"?>
<p:tagLst xmlns:a="http://schemas.openxmlformats.org/drawingml/2006/main" xmlns:r="http://schemas.openxmlformats.org/officeDocument/2006/relationships" xmlns:p="http://schemas.openxmlformats.org/presentationml/2006/main">
  <p:tag name="SHAPE" val="OLD"/>
</p:tagLst>
</file>

<file path=ppt/tags/tag420.xml><?xml version="1.0" encoding="utf-8"?>
<p:tagLst xmlns:a="http://schemas.openxmlformats.org/drawingml/2006/main" xmlns:r="http://schemas.openxmlformats.org/officeDocument/2006/relationships" xmlns:p="http://schemas.openxmlformats.org/presentationml/2006/main">
  <p:tag name="SHAPE" val="OLD"/>
</p:tagLst>
</file>

<file path=ppt/tags/tag421.xml><?xml version="1.0" encoding="utf-8"?>
<p:tagLst xmlns:a="http://schemas.openxmlformats.org/drawingml/2006/main" xmlns:r="http://schemas.openxmlformats.org/officeDocument/2006/relationships" xmlns:p="http://schemas.openxmlformats.org/presentationml/2006/main">
  <p:tag name="SHAPE" val="OLD"/>
</p:tagLst>
</file>

<file path=ppt/tags/tag422.xml><?xml version="1.0" encoding="utf-8"?>
<p:tagLst xmlns:a="http://schemas.openxmlformats.org/drawingml/2006/main" xmlns:r="http://schemas.openxmlformats.org/officeDocument/2006/relationships" xmlns:p="http://schemas.openxmlformats.org/presentationml/2006/main">
  <p:tag name="SHAPE" val="OLD"/>
</p:tagLst>
</file>

<file path=ppt/tags/tag423.xml><?xml version="1.0" encoding="utf-8"?>
<p:tagLst xmlns:a="http://schemas.openxmlformats.org/drawingml/2006/main" xmlns:r="http://schemas.openxmlformats.org/officeDocument/2006/relationships" xmlns:p="http://schemas.openxmlformats.org/presentationml/2006/main">
  <p:tag name="SHAPE" val="OLD"/>
</p:tagLst>
</file>

<file path=ppt/tags/tag424.xml><?xml version="1.0" encoding="utf-8"?>
<p:tagLst xmlns:a="http://schemas.openxmlformats.org/drawingml/2006/main" xmlns:r="http://schemas.openxmlformats.org/officeDocument/2006/relationships" xmlns:p="http://schemas.openxmlformats.org/presentationml/2006/main">
  <p:tag name="SHAPE" val="OLD"/>
</p:tagLst>
</file>

<file path=ppt/tags/tag425.xml><?xml version="1.0" encoding="utf-8"?>
<p:tagLst xmlns:a="http://schemas.openxmlformats.org/drawingml/2006/main" xmlns:r="http://schemas.openxmlformats.org/officeDocument/2006/relationships" xmlns:p="http://schemas.openxmlformats.org/presentationml/2006/main">
  <p:tag name="SHAPE" val="OLD"/>
</p:tagLst>
</file>

<file path=ppt/tags/tag426.xml><?xml version="1.0" encoding="utf-8"?>
<p:tagLst xmlns:a="http://schemas.openxmlformats.org/drawingml/2006/main" xmlns:r="http://schemas.openxmlformats.org/officeDocument/2006/relationships" xmlns:p="http://schemas.openxmlformats.org/presentationml/2006/main">
  <p:tag name="SHAPE" val="OLD"/>
</p:tagLst>
</file>

<file path=ppt/tags/tag427.xml><?xml version="1.0" encoding="utf-8"?>
<p:tagLst xmlns:a="http://schemas.openxmlformats.org/drawingml/2006/main" xmlns:r="http://schemas.openxmlformats.org/officeDocument/2006/relationships" xmlns:p="http://schemas.openxmlformats.org/presentationml/2006/main">
  <p:tag name="SHAPE" val="OLD"/>
</p:tagLst>
</file>

<file path=ppt/tags/tag428.xml><?xml version="1.0" encoding="utf-8"?>
<p:tagLst xmlns:a="http://schemas.openxmlformats.org/drawingml/2006/main" xmlns:r="http://schemas.openxmlformats.org/officeDocument/2006/relationships" xmlns:p="http://schemas.openxmlformats.org/presentationml/2006/main">
  <p:tag name="SHAPE" val="OLD"/>
</p:tagLst>
</file>

<file path=ppt/tags/tag429.xml><?xml version="1.0" encoding="utf-8"?>
<p:tagLst xmlns:a="http://schemas.openxmlformats.org/drawingml/2006/main" xmlns:r="http://schemas.openxmlformats.org/officeDocument/2006/relationships" xmlns:p="http://schemas.openxmlformats.org/presentationml/2006/main">
  <p:tag name="EE4P_MAPWIZARD_ID" val="AR"/>
  <p:tag name="EE4P_MAPWIZARD_HEADINGS" val="Admin 0\Continent\UN Region\UN Sub Region"/>
  <p:tag name="EE4P_MAPWIZARD" val="Argentina\South America\Americas\South America"/>
</p:tagLst>
</file>

<file path=ppt/tags/tag43.xml><?xml version="1.0" encoding="utf-8"?>
<p:tagLst xmlns:a="http://schemas.openxmlformats.org/drawingml/2006/main" xmlns:r="http://schemas.openxmlformats.org/officeDocument/2006/relationships" xmlns:p="http://schemas.openxmlformats.org/presentationml/2006/main">
  <p:tag name="SHAPE" val="OLD"/>
</p:tagLst>
</file>

<file path=ppt/tags/tag430.xml><?xml version="1.0" encoding="utf-8"?>
<p:tagLst xmlns:a="http://schemas.openxmlformats.org/drawingml/2006/main" xmlns:r="http://schemas.openxmlformats.org/officeDocument/2006/relationships" xmlns:p="http://schemas.openxmlformats.org/presentationml/2006/main">
  <p:tag name="EE4P_MAPWIZARD_ID" val="BS"/>
  <p:tag name="EE4P_MAPWIZARD_HEADINGS" val="Admin 0\Continent\UN Region\UN Sub Region"/>
  <p:tag name="EE4P_MAPWIZARD" val="The Bahamas\North America\Americas\Caribbean"/>
</p:tagLst>
</file>

<file path=ppt/tags/tag431.xml><?xml version="1.0" encoding="utf-8"?>
<p:tagLst xmlns:a="http://schemas.openxmlformats.org/drawingml/2006/main" xmlns:r="http://schemas.openxmlformats.org/officeDocument/2006/relationships" xmlns:p="http://schemas.openxmlformats.org/presentationml/2006/main">
  <p:tag name="EE4P_MAPWIZARD_ID" val="BZ"/>
  <p:tag name="EE4P_MAPWIZARD_HEADINGS" val="Admin 0\Continent\UN Region\UN Sub Region"/>
  <p:tag name="EE4P_MAPWIZARD" val="Belize\North America\Americas\Central America"/>
</p:tagLst>
</file>

<file path=ppt/tags/tag432.xml><?xml version="1.0" encoding="utf-8"?>
<p:tagLst xmlns:a="http://schemas.openxmlformats.org/drawingml/2006/main" xmlns:r="http://schemas.openxmlformats.org/officeDocument/2006/relationships" xmlns:p="http://schemas.openxmlformats.org/presentationml/2006/main">
  <p:tag name="EE4P_MAPWIZARD_ID" val="BO"/>
  <p:tag name="EE4P_MAPWIZARD_HEADINGS" val="Admin 0\Continent\UN Region\UN Sub Region"/>
  <p:tag name="EE4P_MAPWIZARD" val="Bolivia\South America\Americas\South America"/>
</p:tagLst>
</file>

<file path=ppt/tags/tag433.xml><?xml version="1.0" encoding="utf-8"?>
<p:tagLst xmlns:a="http://schemas.openxmlformats.org/drawingml/2006/main" xmlns:r="http://schemas.openxmlformats.org/officeDocument/2006/relationships" xmlns:p="http://schemas.openxmlformats.org/presentationml/2006/main">
  <p:tag name="EE4P_MAPWIZARD_ID" val="BR"/>
  <p:tag name="EE4P_MAPWIZARD_HEADINGS" val="Admin 0\Continent\UN Region\UN Sub Region"/>
  <p:tag name="EE4P_MAPWIZARD" val="Brazil\South America\Americas\South America"/>
</p:tagLst>
</file>

<file path=ppt/tags/tag434.xml><?xml version="1.0" encoding="utf-8"?>
<p:tagLst xmlns:a="http://schemas.openxmlformats.org/drawingml/2006/main" xmlns:r="http://schemas.openxmlformats.org/officeDocument/2006/relationships" xmlns:p="http://schemas.openxmlformats.org/presentationml/2006/main">
  <p:tag name="EE4P_MAPWIZARD_ID" val="CA"/>
  <p:tag name="EE4P_MAPWIZARD_HEADINGS" val="Admin 0\Continent\UN Region\UN Sub Region"/>
  <p:tag name="EE4P_MAPWIZARD" val="Canada\North America\Americas\Northern America"/>
</p:tagLst>
</file>

<file path=ppt/tags/tag435.xml><?xml version="1.0" encoding="utf-8"?>
<p:tagLst xmlns:a="http://schemas.openxmlformats.org/drawingml/2006/main" xmlns:r="http://schemas.openxmlformats.org/officeDocument/2006/relationships" xmlns:p="http://schemas.openxmlformats.org/presentationml/2006/main">
  <p:tag name="EE4P_MAPWIZARD_ID" val="CL"/>
  <p:tag name="EE4P_MAPWIZARD_HEADINGS" val="Admin 0\Continent\UN Region\UN Sub Region"/>
  <p:tag name="EE4P_MAPWIZARD" val="Chile\South America\Americas\South America"/>
</p:tagLst>
</file>

<file path=ppt/tags/tag436.xml><?xml version="1.0" encoding="utf-8"?>
<p:tagLst xmlns:a="http://schemas.openxmlformats.org/drawingml/2006/main" xmlns:r="http://schemas.openxmlformats.org/officeDocument/2006/relationships" xmlns:p="http://schemas.openxmlformats.org/presentationml/2006/main">
  <p:tag name="EE4P_MAPWIZARD_ID" val="CO"/>
  <p:tag name="EE4P_MAPWIZARD_HEADINGS" val="Admin 0\Continent\UN Region\UN Sub Region"/>
  <p:tag name="EE4P_MAPWIZARD" val="Colombia\South America\Americas\South America"/>
</p:tagLst>
</file>

<file path=ppt/tags/tag437.xml><?xml version="1.0" encoding="utf-8"?>
<p:tagLst xmlns:a="http://schemas.openxmlformats.org/drawingml/2006/main" xmlns:r="http://schemas.openxmlformats.org/officeDocument/2006/relationships" xmlns:p="http://schemas.openxmlformats.org/presentationml/2006/main">
  <p:tag name="EE4P_MAPWIZARD_ID" val="CR"/>
  <p:tag name="EE4P_MAPWIZARD_HEADINGS" val="Admin 0\Continent\UN Region\UN Sub Region"/>
  <p:tag name="EE4P_MAPWIZARD" val="Costa Rica\North America\Americas\Central America"/>
</p:tagLst>
</file>

<file path=ppt/tags/tag438.xml><?xml version="1.0" encoding="utf-8"?>
<p:tagLst xmlns:a="http://schemas.openxmlformats.org/drawingml/2006/main" xmlns:r="http://schemas.openxmlformats.org/officeDocument/2006/relationships" xmlns:p="http://schemas.openxmlformats.org/presentationml/2006/main">
  <p:tag name="EE4P_MAPWIZARD_ID" val="CU"/>
  <p:tag name="EE4P_MAPWIZARD_HEADINGS" val="Admin 0\Continent\UN Region\UN Sub Region"/>
  <p:tag name="EE4P_MAPWIZARD" val="Cuba\North America\Americas\Caribbean"/>
</p:tagLst>
</file>

<file path=ppt/tags/tag439.xml><?xml version="1.0" encoding="utf-8"?>
<p:tagLst xmlns:a="http://schemas.openxmlformats.org/drawingml/2006/main" xmlns:r="http://schemas.openxmlformats.org/officeDocument/2006/relationships" xmlns:p="http://schemas.openxmlformats.org/presentationml/2006/main">
  <p:tag name="EE4P_MAPWIZARD_ID" val="DO"/>
  <p:tag name="EE4P_MAPWIZARD_HEADINGS" val="Admin 0\Continent\UN Region\UN Sub Region"/>
  <p:tag name="EE4P_MAPWIZARD" val="Dominican Republic\North America\Americas\Caribbean"/>
</p:tagLst>
</file>

<file path=ppt/tags/tag44.xml><?xml version="1.0" encoding="utf-8"?>
<p:tagLst xmlns:a="http://schemas.openxmlformats.org/drawingml/2006/main" xmlns:r="http://schemas.openxmlformats.org/officeDocument/2006/relationships" xmlns:p="http://schemas.openxmlformats.org/presentationml/2006/main">
  <p:tag name="SHAPE" val="OLD"/>
</p:tagLst>
</file>

<file path=ppt/tags/tag440.xml><?xml version="1.0" encoding="utf-8"?>
<p:tagLst xmlns:a="http://schemas.openxmlformats.org/drawingml/2006/main" xmlns:r="http://schemas.openxmlformats.org/officeDocument/2006/relationships" xmlns:p="http://schemas.openxmlformats.org/presentationml/2006/main">
  <p:tag name="EE4P_MAPWIZARD_ID" val="EC"/>
  <p:tag name="EE4P_MAPWIZARD_HEADINGS" val="Admin 0\Continent\UN Region\UN Sub Region"/>
  <p:tag name="EE4P_MAPWIZARD" val="Ecuador\South America\Americas\South America"/>
</p:tagLst>
</file>

<file path=ppt/tags/tag441.xml><?xml version="1.0" encoding="utf-8"?>
<p:tagLst xmlns:a="http://schemas.openxmlformats.org/drawingml/2006/main" xmlns:r="http://schemas.openxmlformats.org/officeDocument/2006/relationships" xmlns:p="http://schemas.openxmlformats.org/presentationml/2006/main">
  <p:tag name="EE4P_MAPWIZARD_ID" val="GT"/>
  <p:tag name="EE4P_MAPWIZARD_HEADINGS" val="Admin 0\Continent\UN Region\UN Sub Region"/>
  <p:tag name="EE4P_MAPWIZARD" val="Guatemala\North America\Americas\Central America"/>
</p:tagLst>
</file>

<file path=ppt/tags/tag442.xml><?xml version="1.0" encoding="utf-8"?>
<p:tagLst xmlns:a="http://schemas.openxmlformats.org/drawingml/2006/main" xmlns:r="http://schemas.openxmlformats.org/officeDocument/2006/relationships" xmlns:p="http://schemas.openxmlformats.org/presentationml/2006/main">
  <p:tag name="EE4P_MAPWIZARD_ID" val="GY"/>
  <p:tag name="EE4P_MAPWIZARD_HEADINGS" val="Admin 0\Continent\UN Region\UN Sub Region"/>
  <p:tag name="EE4P_MAPWIZARD" val="Guyana\South America\Americas\South America"/>
</p:tagLst>
</file>

<file path=ppt/tags/tag443.xml><?xml version="1.0" encoding="utf-8"?>
<p:tagLst xmlns:a="http://schemas.openxmlformats.org/drawingml/2006/main" xmlns:r="http://schemas.openxmlformats.org/officeDocument/2006/relationships" xmlns:p="http://schemas.openxmlformats.org/presentationml/2006/main">
  <p:tag name="EE4P_MAPWIZARD_ID" val="HN"/>
  <p:tag name="EE4P_MAPWIZARD_HEADINGS" val="Admin 0\Continent\UN Region\UN Sub Region"/>
  <p:tag name="EE4P_MAPWIZARD" val="Honduras\North America\Americas\Central America"/>
</p:tagLst>
</file>

<file path=ppt/tags/tag444.xml><?xml version="1.0" encoding="utf-8"?>
<p:tagLst xmlns:a="http://schemas.openxmlformats.org/drawingml/2006/main" xmlns:r="http://schemas.openxmlformats.org/officeDocument/2006/relationships" xmlns:p="http://schemas.openxmlformats.org/presentationml/2006/main">
  <p:tag name="EE4P_MAPWIZARD_ID" val="HT"/>
  <p:tag name="EE4P_MAPWIZARD_HEADINGS" val="Admin 0\Continent\UN Region\UN Sub Region"/>
  <p:tag name="EE4P_MAPWIZARD" val="Haiti\North America\Americas\Caribbean"/>
</p:tagLst>
</file>

<file path=ppt/tags/tag445.xml><?xml version="1.0" encoding="utf-8"?>
<p:tagLst xmlns:a="http://schemas.openxmlformats.org/drawingml/2006/main" xmlns:r="http://schemas.openxmlformats.org/officeDocument/2006/relationships" xmlns:p="http://schemas.openxmlformats.org/presentationml/2006/main">
  <p:tag name="EE4P_MAPWIZARD_ID" val="JM"/>
  <p:tag name="EE4P_MAPWIZARD_HEADINGS" val="Admin 0\Continent\UN Region\UN Sub Region"/>
  <p:tag name="EE4P_MAPWIZARD" val="Jamaica\North America\Americas\Caribbean"/>
</p:tagLst>
</file>

<file path=ppt/tags/tag446.xml><?xml version="1.0" encoding="utf-8"?>
<p:tagLst xmlns:a="http://schemas.openxmlformats.org/drawingml/2006/main" xmlns:r="http://schemas.openxmlformats.org/officeDocument/2006/relationships" xmlns:p="http://schemas.openxmlformats.org/presentationml/2006/main">
  <p:tag name="EE4P_MAPWIZARD_ID" val="MX"/>
  <p:tag name="EE4P_MAPWIZARD_HEADINGS" val="Admin 0\Continent\UN Region\UN Sub Region"/>
  <p:tag name="EE4P_MAPWIZARD" val="Mexico\North America\Americas\Central America"/>
</p:tagLst>
</file>

<file path=ppt/tags/tag447.xml><?xml version="1.0" encoding="utf-8"?>
<p:tagLst xmlns:a="http://schemas.openxmlformats.org/drawingml/2006/main" xmlns:r="http://schemas.openxmlformats.org/officeDocument/2006/relationships" xmlns:p="http://schemas.openxmlformats.org/presentationml/2006/main">
  <p:tag name="EE4P_MAPWIZARD_ID" val="NI"/>
  <p:tag name="EE4P_MAPWIZARD_HEADINGS" val="Admin 0\Continent\UN Region\UN Sub Region"/>
  <p:tag name="EE4P_MAPWIZARD" val="Nicaragua\North America\Americas\Central America"/>
</p:tagLst>
</file>

<file path=ppt/tags/tag448.xml><?xml version="1.0" encoding="utf-8"?>
<p:tagLst xmlns:a="http://schemas.openxmlformats.org/drawingml/2006/main" xmlns:r="http://schemas.openxmlformats.org/officeDocument/2006/relationships" xmlns:p="http://schemas.openxmlformats.org/presentationml/2006/main">
  <p:tag name="EE4P_MAPWIZARD_ID" val="PA"/>
  <p:tag name="EE4P_MAPWIZARD_HEADINGS" val="Admin 0\Continent\UN Region\UN Sub Region"/>
  <p:tag name="EE4P_MAPWIZARD" val="Panama\North America\Americas\Central America"/>
</p:tagLst>
</file>

<file path=ppt/tags/tag449.xml><?xml version="1.0" encoding="utf-8"?>
<p:tagLst xmlns:a="http://schemas.openxmlformats.org/drawingml/2006/main" xmlns:r="http://schemas.openxmlformats.org/officeDocument/2006/relationships" xmlns:p="http://schemas.openxmlformats.org/presentationml/2006/main">
  <p:tag name="EE4P_MAPWIZARD_ID" val="PE"/>
  <p:tag name="EE4P_MAPWIZARD_HEADINGS" val="Admin 0\Continent\UN Region\UN Sub Region"/>
  <p:tag name="EE4P_MAPWIZARD" val="Peru\South America\Americas\South America"/>
</p:tagLst>
</file>

<file path=ppt/tags/tag45.xml><?xml version="1.0" encoding="utf-8"?>
<p:tagLst xmlns:a="http://schemas.openxmlformats.org/drawingml/2006/main" xmlns:r="http://schemas.openxmlformats.org/officeDocument/2006/relationships" xmlns:p="http://schemas.openxmlformats.org/presentationml/2006/main">
  <p:tag name="SHAPE" val="OLD"/>
</p:tagLst>
</file>

<file path=ppt/tags/tag450.xml><?xml version="1.0" encoding="utf-8"?>
<p:tagLst xmlns:a="http://schemas.openxmlformats.org/drawingml/2006/main" xmlns:r="http://schemas.openxmlformats.org/officeDocument/2006/relationships" xmlns:p="http://schemas.openxmlformats.org/presentationml/2006/main">
  <p:tag name="EE4P_MAPWIZARD_ID" val="PY"/>
  <p:tag name="EE4P_MAPWIZARD_HEADINGS" val="Admin 0\Continent\UN Region\UN Sub Region"/>
  <p:tag name="EE4P_MAPWIZARD" val="Paraguay\South America\Americas\South America"/>
</p:tagLst>
</file>

<file path=ppt/tags/tag451.xml><?xml version="1.0" encoding="utf-8"?>
<p:tagLst xmlns:a="http://schemas.openxmlformats.org/drawingml/2006/main" xmlns:r="http://schemas.openxmlformats.org/officeDocument/2006/relationships" xmlns:p="http://schemas.openxmlformats.org/presentationml/2006/main">
  <p:tag name="EE4P_MAPWIZARD_ID" val="SV"/>
  <p:tag name="EE4P_MAPWIZARD_HEADINGS" val="Admin 0\Continent\UN Region\UN Sub Region"/>
  <p:tag name="EE4P_MAPWIZARD" val="El Salvador\North America\Americas\Central America"/>
</p:tagLst>
</file>

<file path=ppt/tags/tag452.xml><?xml version="1.0" encoding="utf-8"?>
<p:tagLst xmlns:a="http://schemas.openxmlformats.org/drawingml/2006/main" xmlns:r="http://schemas.openxmlformats.org/officeDocument/2006/relationships" xmlns:p="http://schemas.openxmlformats.org/presentationml/2006/main">
  <p:tag name="EE4P_MAPWIZARD_ID" val="SR"/>
  <p:tag name="EE4P_MAPWIZARD_HEADINGS" val="Admin 0\Continent\UN Region\UN Sub Region"/>
  <p:tag name="EE4P_MAPWIZARD" val="Suriname\South America\Americas\South America"/>
</p:tagLst>
</file>

<file path=ppt/tags/tag453.xml><?xml version="1.0" encoding="utf-8"?>
<p:tagLst xmlns:a="http://schemas.openxmlformats.org/drawingml/2006/main" xmlns:r="http://schemas.openxmlformats.org/officeDocument/2006/relationships" xmlns:p="http://schemas.openxmlformats.org/presentationml/2006/main">
  <p:tag name="EE4P_MAPWIZARD_ID" val="TT"/>
  <p:tag name="EE4P_MAPWIZARD_HEADINGS" val="Admin 0\Continent\UN Region\UN Sub Region"/>
  <p:tag name="EE4P_MAPWIZARD" val="Trinidad and Tobago\North America\Americas\Caribbean"/>
</p:tagLst>
</file>

<file path=ppt/tags/tag454.xml><?xml version="1.0" encoding="utf-8"?>
<p:tagLst xmlns:a="http://schemas.openxmlformats.org/drawingml/2006/main" xmlns:r="http://schemas.openxmlformats.org/officeDocument/2006/relationships" xmlns:p="http://schemas.openxmlformats.org/presentationml/2006/main">
  <p:tag name="EE4P_MAPWIZARD_ID" val="UY"/>
  <p:tag name="EE4P_MAPWIZARD_HEADINGS" val="Admin 0\Continent\UN Region\UN Sub Region"/>
  <p:tag name="EE4P_MAPWIZARD" val="Uruguay\South America\Americas\South America"/>
</p:tagLst>
</file>

<file path=ppt/tags/tag455.xml><?xml version="1.0" encoding="utf-8"?>
<p:tagLst xmlns:a="http://schemas.openxmlformats.org/drawingml/2006/main" xmlns:r="http://schemas.openxmlformats.org/officeDocument/2006/relationships" xmlns:p="http://schemas.openxmlformats.org/presentationml/2006/main">
  <p:tag name="EE4P_MAPWIZARD_ID" val="US"/>
  <p:tag name="EE4P_MAPWIZARD_HEADINGS" val="Admin 0\Continent\UN Region\UN Sub Region"/>
  <p:tag name="EE4P_MAPWIZARD" val="United States of America\North America\Americas\Northern America"/>
</p:tagLst>
</file>

<file path=ppt/tags/tag456.xml><?xml version="1.0" encoding="utf-8"?>
<p:tagLst xmlns:a="http://schemas.openxmlformats.org/drawingml/2006/main" xmlns:r="http://schemas.openxmlformats.org/officeDocument/2006/relationships" xmlns:p="http://schemas.openxmlformats.org/presentationml/2006/main">
  <p:tag name="EE4P_MAPWIZARD_ID" val="VE"/>
  <p:tag name="EE4P_MAPWIZARD_HEADINGS" val="Admin 0\Continent\UN Region\UN Sub Region"/>
  <p:tag name="EE4P_MAPWIZARD" val="Venezuela\South America\Americas\South America"/>
</p:tagLst>
</file>

<file path=ppt/tags/tag457.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458.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459.xml><?xml version="1.0" encoding="utf-8"?>
<p:tagLst xmlns:a="http://schemas.openxmlformats.org/drawingml/2006/main" xmlns:r="http://schemas.openxmlformats.org/officeDocument/2006/relationships" xmlns:p="http://schemas.openxmlformats.org/presentationml/2006/main">
  <p:tag name="EE4P_MAPWIZARD_ID" val="AF"/>
  <p:tag name="EE4P_MAPWIZARD_HEADINGS" val="Admin 0\Continent\UN Region\UN Sub Region"/>
  <p:tag name="EE4P_MAPWIZARD" val="Afghanistan\Asia\Asia\Southern Asia"/>
</p:tagLst>
</file>

<file path=ppt/tags/tag46.xml><?xml version="1.0" encoding="utf-8"?>
<p:tagLst xmlns:a="http://schemas.openxmlformats.org/drawingml/2006/main" xmlns:r="http://schemas.openxmlformats.org/officeDocument/2006/relationships" xmlns:p="http://schemas.openxmlformats.org/presentationml/2006/main">
  <p:tag name="SHAPE" val="OLD"/>
</p:tagLst>
</file>

<file path=ppt/tags/tag460.xml><?xml version="1.0" encoding="utf-8"?>
<p:tagLst xmlns:a="http://schemas.openxmlformats.org/drawingml/2006/main" xmlns:r="http://schemas.openxmlformats.org/officeDocument/2006/relationships" xmlns:p="http://schemas.openxmlformats.org/presentationml/2006/main">
  <p:tag name="EE4P_MAPWIZARD_ID" val="AO"/>
  <p:tag name="EE4P_MAPWIZARD_HEADINGS" val="Admin 0\Continent\UN Region\UN Sub Region"/>
  <p:tag name="EE4P_MAPWIZARD" val="Angola\Africa\Africa\Middle Africa"/>
</p:tagLst>
</file>

<file path=ppt/tags/tag461.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Continent\UN Region\UN Sub Region"/>
  <p:tag name="EE4P_MAPWIZARD" val="Albania\Europe\Europe\Southern Europe"/>
</p:tagLst>
</file>

<file path=ppt/tags/tag462.xml><?xml version="1.0" encoding="utf-8"?>
<p:tagLst xmlns:a="http://schemas.openxmlformats.org/drawingml/2006/main" xmlns:r="http://schemas.openxmlformats.org/officeDocument/2006/relationships" xmlns:p="http://schemas.openxmlformats.org/presentationml/2006/main">
  <p:tag name="EE4P_MAPWIZARD_ID" val="AE"/>
  <p:tag name="EE4P_MAPWIZARD_HEADINGS" val="Admin 0\Continent\UN Region\UN Sub Region"/>
  <p:tag name="EE4P_MAPWIZARD" val="United Arab Emirates\Asia\Asia\Western Asia"/>
</p:tagLst>
</file>

<file path=ppt/tags/tag463.xml><?xml version="1.0" encoding="utf-8"?>
<p:tagLst xmlns:a="http://schemas.openxmlformats.org/drawingml/2006/main" xmlns:r="http://schemas.openxmlformats.org/officeDocument/2006/relationships" xmlns:p="http://schemas.openxmlformats.org/presentationml/2006/main">
  <p:tag name="EE4P_MAPWIZARD_ID" val="AM"/>
  <p:tag name="EE4P_MAPWIZARD_HEADINGS" val="Admin 0\Continent\UN Region\UN Sub Region"/>
  <p:tag name="EE4P_MAPWIZARD" val="Armenia\Asia\Asia\Western Asia"/>
</p:tagLst>
</file>

<file path=ppt/tags/tag464.xml><?xml version="1.0" encoding="utf-8"?>
<p:tagLst xmlns:a="http://schemas.openxmlformats.org/drawingml/2006/main" xmlns:r="http://schemas.openxmlformats.org/officeDocument/2006/relationships" xmlns:p="http://schemas.openxmlformats.org/presentationml/2006/main">
  <p:tag name="EE4P_MAPWIZARD_ID" val="AU"/>
  <p:tag name="EE4P_MAPWIZARD_HEADINGS" val="Admin 0\Continent\UN Region\UN Sub Region"/>
  <p:tag name="EE4P_MAPWIZARD" val="Australia\Oceania\Oceania\Australia and New Zealand"/>
</p:tagLst>
</file>

<file path=ppt/tags/tag465.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Continent\UN Region\UN Sub Region"/>
  <p:tag name="EE4P_MAPWIZARD" val="Austria\Europe\Europe\Western Europe"/>
</p:tagLst>
</file>

<file path=ppt/tags/tag466.xml><?xml version="1.0" encoding="utf-8"?>
<p:tagLst xmlns:a="http://schemas.openxmlformats.org/drawingml/2006/main" xmlns:r="http://schemas.openxmlformats.org/officeDocument/2006/relationships" xmlns:p="http://schemas.openxmlformats.org/presentationml/2006/main">
  <p:tag name="EE4P_MAPWIZARD_ID" val="AZ"/>
  <p:tag name="EE4P_MAPWIZARD_HEADINGS" val="Admin 0\Continent\UN Region\UN Sub Region"/>
  <p:tag name="EE4P_MAPWIZARD" val="Azerbaijan\Asia\Asia\Western Asia"/>
</p:tagLst>
</file>

<file path=ppt/tags/tag467.xml><?xml version="1.0" encoding="utf-8"?>
<p:tagLst xmlns:a="http://schemas.openxmlformats.org/drawingml/2006/main" xmlns:r="http://schemas.openxmlformats.org/officeDocument/2006/relationships" xmlns:p="http://schemas.openxmlformats.org/presentationml/2006/main">
  <p:tag name="EE4P_MAPWIZARD_ID" val="BI"/>
  <p:tag name="EE4P_MAPWIZARD_HEADINGS" val="Admin 0\Continent\UN Region\UN Sub Region"/>
  <p:tag name="EE4P_MAPWIZARD" val="Burundi\Africa\Africa\Eastern Africa"/>
</p:tagLst>
</file>

<file path=ppt/tags/tag468.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Continent\UN Region\UN Sub Region"/>
  <p:tag name="EE4P_MAPWIZARD" val="Belgium\Europe\Europe\Western Europe"/>
</p:tagLst>
</file>

<file path=ppt/tags/tag469.xml><?xml version="1.0" encoding="utf-8"?>
<p:tagLst xmlns:a="http://schemas.openxmlformats.org/drawingml/2006/main" xmlns:r="http://schemas.openxmlformats.org/officeDocument/2006/relationships" xmlns:p="http://schemas.openxmlformats.org/presentationml/2006/main">
  <p:tag name="EE4P_MAPWIZARD_ID" val="BJ"/>
  <p:tag name="EE4P_MAPWIZARD_HEADINGS" val="Admin 0\Continent\UN Region\UN Sub Region"/>
  <p:tag name="EE4P_MAPWIZARD" val="Benin\Africa\Africa\Western Africa"/>
</p:tagLst>
</file>

<file path=ppt/tags/tag47.xml><?xml version="1.0" encoding="utf-8"?>
<p:tagLst xmlns:a="http://schemas.openxmlformats.org/drawingml/2006/main" xmlns:r="http://schemas.openxmlformats.org/officeDocument/2006/relationships" xmlns:p="http://schemas.openxmlformats.org/presentationml/2006/main">
  <p:tag name="SHAPE" val="OLD"/>
</p:tagLst>
</file>

<file path=ppt/tags/tag470.xml><?xml version="1.0" encoding="utf-8"?>
<p:tagLst xmlns:a="http://schemas.openxmlformats.org/drawingml/2006/main" xmlns:r="http://schemas.openxmlformats.org/officeDocument/2006/relationships" xmlns:p="http://schemas.openxmlformats.org/presentationml/2006/main">
  <p:tag name="EE4P_MAPWIZARD_ID" val="BF"/>
  <p:tag name="EE4P_MAPWIZARD_HEADINGS" val="Admin 0\Continent\UN Region\UN Sub Region"/>
  <p:tag name="EE4P_MAPWIZARD" val="Burkina Faso\Africa\Africa\Western Africa"/>
</p:tagLst>
</file>

<file path=ppt/tags/tag471.xml><?xml version="1.0" encoding="utf-8"?>
<p:tagLst xmlns:a="http://schemas.openxmlformats.org/drawingml/2006/main" xmlns:r="http://schemas.openxmlformats.org/officeDocument/2006/relationships" xmlns:p="http://schemas.openxmlformats.org/presentationml/2006/main">
  <p:tag name="EE4P_MAPWIZARD_ID" val="BD"/>
  <p:tag name="EE4P_MAPWIZARD_HEADINGS" val="Admin 0\Continent\UN Region\UN Sub Region"/>
  <p:tag name="EE4P_MAPWIZARD" val="Bangladesh\Asia\Asia\Southern Asia"/>
</p:tagLst>
</file>

<file path=ppt/tags/tag472.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Continent\UN Region\UN Sub Region"/>
  <p:tag name="EE4P_MAPWIZARD" val="Bulgaria\Europe\Europe\Eastern Europe"/>
</p:tagLst>
</file>

<file path=ppt/tags/tag473.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Continent\UN Region\UN Sub Region"/>
  <p:tag name="EE4P_MAPWIZARD" val="Bosnia and Herzegovina\Europe\Europe\Southern Europe"/>
</p:tagLst>
</file>

<file path=ppt/tags/tag474.xml><?xml version="1.0" encoding="utf-8"?>
<p:tagLst xmlns:a="http://schemas.openxmlformats.org/drawingml/2006/main" xmlns:r="http://schemas.openxmlformats.org/officeDocument/2006/relationships" xmlns:p="http://schemas.openxmlformats.org/presentationml/2006/main">
  <p:tag name="EE4P_MAPWIZARD_ID" val="BY"/>
  <p:tag name="EE4P_MAPWIZARD_HEADINGS" val="Admin 0\Continent\UN Region\UN Sub Region"/>
  <p:tag name="EE4P_MAPWIZARD" val="Belarus\Europe\Europe\Eastern Europe"/>
</p:tagLst>
</file>

<file path=ppt/tags/tag475.xml><?xml version="1.0" encoding="utf-8"?>
<p:tagLst xmlns:a="http://schemas.openxmlformats.org/drawingml/2006/main" xmlns:r="http://schemas.openxmlformats.org/officeDocument/2006/relationships" xmlns:p="http://schemas.openxmlformats.org/presentationml/2006/main">
  <p:tag name="EE4P_MAPWIZARD_ID" val="BN"/>
  <p:tag name="EE4P_MAPWIZARD_HEADINGS" val="Admin 0\Continent\UN Region\UN Sub Region"/>
  <p:tag name="EE4P_MAPWIZARD" val="Brunei\Asia\Asia\South-Eastern Asia"/>
</p:tagLst>
</file>

<file path=ppt/tags/tag476.xml><?xml version="1.0" encoding="utf-8"?>
<p:tagLst xmlns:a="http://schemas.openxmlformats.org/drawingml/2006/main" xmlns:r="http://schemas.openxmlformats.org/officeDocument/2006/relationships" xmlns:p="http://schemas.openxmlformats.org/presentationml/2006/main">
  <p:tag name="EE4P_MAPWIZARD_ID" val="BT"/>
  <p:tag name="EE4P_MAPWIZARD_HEADINGS" val="Admin 0\Continent\UN Region\UN Sub Region"/>
  <p:tag name="EE4P_MAPWIZARD" val="Bhutan\Asia\Asia\Southern Asia"/>
</p:tagLst>
</file>

<file path=ppt/tags/tag477.xml><?xml version="1.0" encoding="utf-8"?>
<p:tagLst xmlns:a="http://schemas.openxmlformats.org/drawingml/2006/main" xmlns:r="http://schemas.openxmlformats.org/officeDocument/2006/relationships" xmlns:p="http://schemas.openxmlformats.org/presentationml/2006/main">
  <p:tag name="EE4P_MAPWIZARD_ID" val="BW"/>
  <p:tag name="EE4P_MAPWIZARD_HEADINGS" val="Admin 0\Continent\UN Region\UN Sub Region"/>
  <p:tag name="EE4P_MAPWIZARD" val="Botswana\Africa\Africa\Southern Africa"/>
</p:tagLst>
</file>

<file path=ppt/tags/tag478.xml><?xml version="1.0" encoding="utf-8"?>
<p:tagLst xmlns:a="http://schemas.openxmlformats.org/drawingml/2006/main" xmlns:r="http://schemas.openxmlformats.org/officeDocument/2006/relationships" xmlns:p="http://schemas.openxmlformats.org/presentationml/2006/main">
  <p:tag name="EE4P_MAPWIZARD_ID" val="CF"/>
  <p:tag name="EE4P_MAPWIZARD_HEADINGS" val="Admin 0\Continent\UN Region\UN Sub Region"/>
  <p:tag name="EE4P_MAPWIZARD" val="Central African Republic\Africa\Africa\Middle Africa"/>
</p:tagLst>
</file>

<file path=ppt/tags/tag479.xml><?xml version="1.0" encoding="utf-8"?>
<p:tagLst xmlns:a="http://schemas.openxmlformats.org/drawingml/2006/main" xmlns:r="http://schemas.openxmlformats.org/officeDocument/2006/relationships" xmlns:p="http://schemas.openxmlformats.org/presentationml/2006/main">
  <p:tag name="EE4P_MAPWIZARD_ID" val="CN"/>
  <p:tag name="EE4P_MAPWIZARD_HEADINGS" val="Admin 0\Continent\UN Region\UN Sub Region"/>
  <p:tag name="EE4P_MAPWIZARD" val="China\Asia\Asia\Eastern Asia"/>
</p:tagLst>
</file>

<file path=ppt/tags/tag48.xml><?xml version="1.0" encoding="utf-8"?>
<p:tagLst xmlns:a="http://schemas.openxmlformats.org/drawingml/2006/main" xmlns:r="http://schemas.openxmlformats.org/officeDocument/2006/relationships" xmlns:p="http://schemas.openxmlformats.org/presentationml/2006/main">
  <p:tag name="SHAPE" val="OLD"/>
</p:tagLst>
</file>

<file path=ppt/tags/tag480.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Continent\UN Region\UN Sub Region"/>
  <p:tag name="EE4P_MAPWIZARD" val="Switzerland\Europe\Europe\Western Europe"/>
</p:tagLst>
</file>

<file path=ppt/tags/tag481.xml><?xml version="1.0" encoding="utf-8"?>
<p:tagLst xmlns:a="http://schemas.openxmlformats.org/drawingml/2006/main" xmlns:r="http://schemas.openxmlformats.org/officeDocument/2006/relationships" xmlns:p="http://schemas.openxmlformats.org/presentationml/2006/main">
  <p:tag name="EE4P_MAPWIZARD_ID" val="CI"/>
  <p:tag name="EE4P_MAPWIZARD_HEADINGS" val="Admin 0\Continent\UN Region\UN Sub Region"/>
  <p:tag name="EE4P_MAPWIZARD" val="Ivory Coast\Africa\Africa\Western Africa"/>
</p:tagLst>
</file>

<file path=ppt/tags/tag482.xml><?xml version="1.0" encoding="utf-8"?>
<p:tagLst xmlns:a="http://schemas.openxmlformats.org/drawingml/2006/main" xmlns:r="http://schemas.openxmlformats.org/officeDocument/2006/relationships" xmlns:p="http://schemas.openxmlformats.org/presentationml/2006/main">
  <p:tag name="EE4P_MAPWIZARD_ID" val="CM"/>
  <p:tag name="EE4P_MAPWIZARD_HEADINGS" val="Admin 0\Continent\UN Region\UN Sub Region"/>
  <p:tag name="EE4P_MAPWIZARD" val="Cameroon\Africa\Africa\Middle Africa"/>
</p:tagLst>
</file>

<file path=ppt/tags/tag483.xml><?xml version="1.0" encoding="utf-8"?>
<p:tagLst xmlns:a="http://schemas.openxmlformats.org/drawingml/2006/main" xmlns:r="http://schemas.openxmlformats.org/officeDocument/2006/relationships" xmlns:p="http://schemas.openxmlformats.org/presentationml/2006/main">
  <p:tag name="EE4P_MAPWIZARD_ID" val="CD"/>
  <p:tag name="EE4P_MAPWIZARD_HEADINGS" val="Admin 0\Continent\UN Region\UN Sub Region"/>
  <p:tag name="EE4P_MAPWIZARD" val="Democratic Republic of the Congo\Africa\Africa\Middle Africa"/>
</p:tagLst>
</file>

<file path=ppt/tags/tag484.xml><?xml version="1.0" encoding="utf-8"?>
<p:tagLst xmlns:a="http://schemas.openxmlformats.org/drawingml/2006/main" xmlns:r="http://schemas.openxmlformats.org/officeDocument/2006/relationships" xmlns:p="http://schemas.openxmlformats.org/presentationml/2006/main">
  <p:tag name="EE4P_MAPWIZARD_ID" val="CG"/>
  <p:tag name="EE4P_MAPWIZARD_HEADINGS" val="Admin 0\Continent\UN Region\UN Sub Region"/>
  <p:tag name="EE4P_MAPWIZARD" val="Republic of Congo\Africa\Africa\Middle Africa"/>
</p:tagLst>
</file>

<file path=ppt/tags/tag485.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Northern Cyprus\Asia\Asia\Western Asia"/>
</p:tagLst>
</file>

<file path=ppt/tags/tag486.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Cyprus\Asia\Asia\Western Asia"/>
</p:tagLst>
</file>

<file path=ppt/tags/tag487.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Continent\UN Region\UN Sub Region"/>
  <p:tag name="EE4P_MAPWIZARD" val="Czech Republic\Europe\Europe\Eastern Europe"/>
</p:tagLst>
</file>

<file path=ppt/tags/tag488.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Continent\UN Region\UN Sub Region"/>
  <p:tag name="EE4P_MAPWIZARD" val="Germany\Europe\Europe\Western Europe"/>
</p:tagLst>
</file>

<file path=ppt/tags/tag489.xml><?xml version="1.0" encoding="utf-8"?>
<p:tagLst xmlns:a="http://schemas.openxmlformats.org/drawingml/2006/main" xmlns:r="http://schemas.openxmlformats.org/officeDocument/2006/relationships" xmlns:p="http://schemas.openxmlformats.org/presentationml/2006/main">
  <p:tag name="EE4P_MAPWIZARD_ID" val="DJ"/>
  <p:tag name="EE4P_MAPWIZARD_HEADINGS" val="Admin 0\Continent\UN Region\UN Sub Region"/>
  <p:tag name="EE4P_MAPWIZARD" val="Djibouti\Africa\Africa\Eastern Africa"/>
</p:tagLst>
</file>

<file path=ppt/tags/tag49.xml><?xml version="1.0" encoding="utf-8"?>
<p:tagLst xmlns:a="http://schemas.openxmlformats.org/drawingml/2006/main" xmlns:r="http://schemas.openxmlformats.org/officeDocument/2006/relationships" xmlns:p="http://schemas.openxmlformats.org/presentationml/2006/main">
  <p:tag name="SHAPE" val="OLD"/>
</p:tagLst>
</file>

<file path=ppt/tags/tag490.xml><?xml version="1.0" encoding="utf-8"?>
<p:tagLst xmlns:a="http://schemas.openxmlformats.org/drawingml/2006/main" xmlns:r="http://schemas.openxmlformats.org/officeDocument/2006/relationships" xmlns:p="http://schemas.openxmlformats.org/presentationml/2006/main">
  <p:tag name="EE4P_MAPWIZARD_ID" val="DZ"/>
  <p:tag name="EE4P_MAPWIZARD_HEADINGS" val="Admin 0\Continent\UN Region\UN Sub Region"/>
  <p:tag name="EE4P_MAPWIZARD" val="Algeria\Africa\Africa\Northern Africa"/>
</p:tagLst>
</file>

<file path=ppt/tags/tag491.xml><?xml version="1.0" encoding="utf-8"?>
<p:tagLst xmlns:a="http://schemas.openxmlformats.org/drawingml/2006/main" xmlns:r="http://schemas.openxmlformats.org/officeDocument/2006/relationships" xmlns:p="http://schemas.openxmlformats.org/presentationml/2006/main">
  <p:tag name="EE4P_MAPWIZARD_ID" val="EG"/>
  <p:tag name="EE4P_MAPWIZARD_HEADINGS" val="Admin 0\Continent\UN Region\UN Sub Region"/>
  <p:tag name="EE4P_MAPWIZARD" val="Egypt\Africa\Africa\Northern Africa"/>
</p:tagLst>
</file>

<file path=ppt/tags/tag492.xml><?xml version="1.0" encoding="utf-8"?>
<p:tagLst xmlns:a="http://schemas.openxmlformats.org/drawingml/2006/main" xmlns:r="http://schemas.openxmlformats.org/officeDocument/2006/relationships" xmlns:p="http://schemas.openxmlformats.org/presentationml/2006/main">
  <p:tag name="EE4P_MAPWIZARD_ID" val="ER"/>
  <p:tag name="EE4P_MAPWIZARD_HEADINGS" val="Admin 0\Continent\UN Region\UN Sub Region"/>
  <p:tag name="EE4P_MAPWIZARD" val="Eritrea\Africa\Africa\Eastern Africa"/>
</p:tagLst>
</file>

<file path=ppt/tags/tag493.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Continent\UN Region\UN Sub Region"/>
  <p:tag name="EE4P_MAPWIZARD" val="Spain\Europe\Europe\Southern Europe"/>
</p:tagLst>
</file>

<file path=ppt/tags/tag494.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Continent\UN Region\UN Sub Region"/>
  <p:tag name="EE4P_MAPWIZARD" val="Estonia\Europe\Europe\Northern Europe"/>
</p:tagLst>
</file>

<file path=ppt/tags/tag495.xml><?xml version="1.0" encoding="utf-8"?>
<p:tagLst xmlns:a="http://schemas.openxmlformats.org/drawingml/2006/main" xmlns:r="http://schemas.openxmlformats.org/officeDocument/2006/relationships" xmlns:p="http://schemas.openxmlformats.org/presentationml/2006/main">
  <p:tag name="EE4P_MAPWIZARD_ID" val="ET"/>
  <p:tag name="EE4P_MAPWIZARD_HEADINGS" val="Admin 0\Continent\UN Region\UN Sub Region"/>
  <p:tag name="EE4P_MAPWIZARD" val="Ethiopia\Africa\Africa\Eastern Africa"/>
</p:tagLst>
</file>

<file path=ppt/tags/tag496.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Continent\UN Region\UN Sub Region"/>
  <p:tag name="EE4P_MAPWIZARD" val="Finland\Europe\Europe\Northern Europe"/>
</p:tagLst>
</file>

<file path=ppt/tags/tag497.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498.xml><?xml version="1.0" encoding="utf-8"?>
<p:tagLst xmlns:a="http://schemas.openxmlformats.org/drawingml/2006/main" xmlns:r="http://schemas.openxmlformats.org/officeDocument/2006/relationships" xmlns:p="http://schemas.openxmlformats.org/presentationml/2006/main">
  <p:tag name="EE4P_MAPWIZARD_ID" val="GA"/>
  <p:tag name="EE4P_MAPWIZARD_HEADINGS" val="Admin 0\Continent\UN Region\UN Sub Region"/>
  <p:tag name="EE4P_MAPWIZARD" val="Gabon\Africa\Africa\Middle Africa"/>
</p:tagLst>
</file>

<file path=ppt/tags/tag499.xml><?xml version="1.0" encoding="utf-8"?>
<p:tagLst xmlns:a="http://schemas.openxmlformats.org/drawingml/2006/main" xmlns:r="http://schemas.openxmlformats.org/officeDocument/2006/relationships" xmlns:p="http://schemas.openxmlformats.org/presentationml/2006/main">
  <p:tag name="EE4P_MAPWIZARD_ID" val="GE"/>
  <p:tag name="EE4P_MAPWIZARD_HEADINGS" val="Admin 0\Continent\UN Region\UN Sub Region"/>
  <p:tag name="EE4P_MAPWIZARD" val="Georgia\Asia\Asia\Western Asia"/>
</p:tagLst>
</file>

<file path=ppt/tags/tag5.xml><?xml version="1.0" encoding="utf-8"?>
<p:tagLst xmlns:a="http://schemas.openxmlformats.org/drawingml/2006/main" xmlns:r="http://schemas.openxmlformats.org/officeDocument/2006/relationships" xmlns:p="http://schemas.openxmlformats.org/presentationml/2006/main">
  <p:tag name="SHAPE" val="OLD"/>
</p:tagLst>
</file>

<file path=ppt/tags/tag50.xml><?xml version="1.0" encoding="utf-8"?>
<p:tagLst xmlns:a="http://schemas.openxmlformats.org/drawingml/2006/main" xmlns:r="http://schemas.openxmlformats.org/officeDocument/2006/relationships" xmlns:p="http://schemas.openxmlformats.org/presentationml/2006/main">
  <p:tag name="SHAPE" val="OLD"/>
</p:tagLst>
</file>

<file path=ppt/tags/tag500.xml><?xml version="1.0" encoding="utf-8"?>
<p:tagLst xmlns:a="http://schemas.openxmlformats.org/drawingml/2006/main" xmlns:r="http://schemas.openxmlformats.org/officeDocument/2006/relationships" xmlns:p="http://schemas.openxmlformats.org/presentationml/2006/main">
  <p:tag name="EE4P_MAPWIZARD_ID" val="GH"/>
  <p:tag name="EE4P_MAPWIZARD_HEADINGS" val="Admin 0\Continent\UN Region\UN Sub Region"/>
  <p:tag name="EE4P_MAPWIZARD" val="Ghana\Africa\Africa\Western Africa"/>
</p:tagLst>
</file>

<file path=ppt/tags/tag501.xml><?xml version="1.0" encoding="utf-8"?>
<p:tagLst xmlns:a="http://schemas.openxmlformats.org/drawingml/2006/main" xmlns:r="http://schemas.openxmlformats.org/officeDocument/2006/relationships" xmlns:p="http://schemas.openxmlformats.org/presentationml/2006/main">
  <p:tag name="EE4P_MAPWIZARD_ID" val="GN"/>
  <p:tag name="EE4P_MAPWIZARD_HEADINGS" val="Admin 0\Continent\UN Region\UN Sub Region"/>
  <p:tag name="EE4P_MAPWIZARD" val="Guinea\Africa\Africa\Western Africa"/>
</p:tagLst>
</file>

<file path=ppt/tags/tag502.xml><?xml version="1.0" encoding="utf-8"?>
<p:tagLst xmlns:a="http://schemas.openxmlformats.org/drawingml/2006/main" xmlns:r="http://schemas.openxmlformats.org/officeDocument/2006/relationships" xmlns:p="http://schemas.openxmlformats.org/presentationml/2006/main">
  <p:tag name="EE4P_MAPWIZARD_ID" val="GM"/>
  <p:tag name="EE4P_MAPWIZARD_HEADINGS" val="Admin 0\Continent\UN Region\UN Sub Region"/>
  <p:tag name="EE4P_MAPWIZARD" val="Gambia\Africa\Africa\Western Africa"/>
</p:tagLst>
</file>

<file path=ppt/tags/tag503.xml><?xml version="1.0" encoding="utf-8"?>
<p:tagLst xmlns:a="http://schemas.openxmlformats.org/drawingml/2006/main" xmlns:r="http://schemas.openxmlformats.org/officeDocument/2006/relationships" xmlns:p="http://schemas.openxmlformats.org/presentationml/2006/main">
  <p:tag name="EE4P_MAPWIZARD_ID" val="GW"/>
  <p:tag name="EE4P_MAPWIZARD_HEADINGS" val="Admin 0\Continent\UN Region\UN Sub Region"/>
  <p:tag name="EE4P_MAPWIZARD" val="Guinea Bissau\Africa\Africa\Western Africa"/>
</p:tagLst>
</file>

<file path=ppt/tags/tag504.xml><?xml version="1.0" encoding="utf-8"?>
<p:tagLst xmlns:a="http://schemas.openxmlformats.org/drawingml/2006/main" xmlns:r="http://schemas.openxmlformats.org/officeDocument/2006/relationships" xmlns:p="http://schemas.openxmlformats.org/presentationml/2006/main">
  <p:tag name="EE4P_MAPWIZARD_ID" val="GQ"/>
  <p:tag name="EE4P_MAPWIZARD_HEADINGS" val="Admin 0\Continent\UN Region\UN Sub Region"/>
  <p:tag name="EE4P_MAPWIZARD" val="Equatorial Guinea\Africa\Africa\Middle Africa"/>
</p:tagLst>
</file>

<file path=ppt/tags/tag505.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Continent\UN Region\UN Sub Region"/>
  <p:tag name="EE4P_MAPWIZARD" val="Greece\Europe\Europe\Southern Europe"/>
</p:tagLst>
</file>

<file path=ppt/tags/tag506.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Continent\UN Region\UN Sub Region"/>
  <p:tag name="EE4P_MAPWIZARD" val="Croatia\Europe\Europe\Southern Europe"/>
</p:tagLst>
</file>

<file path=ppt/tags/tag507.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Continent\UN Region\UN Sub Region"/>
  <p:tag name="EE4P_MAPWIZARD" val="Hungary\Europe\Europe\Eastern Europe"/>
</p:tagLst>
</file>

<file path=ppt/tags/tag508.xml><?xml version="1.0" encoding="utf-8"?>
<p:tagLst xmlns:a="http://schemas.openxmlformats.org/drawingml/2006/main" xmlns:r="http://schemas.openxmlformats.org/officeDocument/2006/relationships" xmlns:p="http://schemas.openxmlformats.org/presentationml/2006/main">
  <p:tag name="EE4P_MAPWIZARD_ID" val="ID"/>
  <p:tag name="EE4P_MAPWIZARD_HEADINGS" val="Admin 0\Continent\UN Region\UN Sub Region"/>
  <p:tag name="EE4P_MAPWIZARD" val="Indonesia\Asia\Asia\South-Eastern Asia"/>
</p:tagLst>
</file>

<file path=ppt/tags/tag509.xml><?xml version="1.0" encoding="utf-8"?>
<p:tagLst xmlns:a="http://schemas.openxmlformats.org/drawingml/2006/main" xmlns:r="http://schemas.openxmlformats.org/officeDocument/2006/relationships" xmlns:p="http://schemas.openxmlformats.org/presentationml/2006/main">
  <p:tag name="EE4P_MAPWIZARD_ID" val="IN"/>
  <p:tag name="EE4P_MAPWIZARD_HEADINGS" val="Admin 0\Continent\UN Region\UN Sub Region"/>
  <p:tag name="EE4P_MAPWIZARD" val="India\Asia\Asia\Southern Asia"/>
</p:tagLst>
</file>

<file path=ppt/tags/tag51.xml><?xml version="1.0" encoding="utf-8"?>
<p:tagLst xmlns:a="http://schemas.openxmlformats.org/drawingml/2006/main" xmlns:r="http://schemas.openxmlformats.org/officeDocument/2006/relationships" xmlns:p="http://schemas.openxmlformats.org/presentationml/2006/main">
  <p:tag name="SHAPE" val="OLD"/>
</p:tagLst>
</file>

<file path=ppt/tags/tag510.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Continent\UN Region\UN Sub Region"/>
  <p:tag name="EE4P_MAPWIZARD" val="Ireland\Europe\Europe\Northern Europe"/>
</p:tagLst>
</file>

<file path=ppt/tags/tag511.xml><?xml version="1.0" encoding="utf-8"?>
<p:tagLst xmlns:a="http://schemas.openxmlformats.org/drawingml/2006/main" xmlns:r="http://schemas.openxmlformats.org/officeDocument/2006/relationships" xmlns:p="http://schemas.openxmlformats.org/presentationml/2006/main">
  <p:tag name="EE4P_MAPWIZARD_ID" val="IR"/>
  <p:tag name="EE4P_MAPWIZARD_HEADINGS" val="Admin 0\Continent\UN Region\UN Sub Region"/>
  <p:tag name="EE4P_MAPWIZARD" val="Iran\Asia\Asia\Southern Asia"/>
</p:tagLst>
</file>

<file path=ppt/tags/tag512.xml><?xml version="1.0" encoding="utf-8"?>
<p:tagLst xmlns:a="http://schemas.openxmlformats.org/drawingml/2006/main" xmlns:r="http://schemas.openxmlformats.org/officeDocument/2006/relationships" xmlns:p="http://schemas.openxmlformats.org/presentationml/2006/main">
  <p:tag name="EE4P_MAPWIZARD_ID" val="IQ"/>
  <p:tag name="EE4P_MAPWIZARD_HEADINGS" val="Admin 0\Continent\UN Region\UN Sub Region"/>
  <p:tag name="EE4P_MAPWIZARD" val="Iraq\Asia\Asia\Western Asia"/>
</p:tagLst>
</file>

<file path=ppt/tags/tag513.xml><?xml version="1.0" encoding="utf-8"?>
<p:tagLst xmlns:a="http://schemas.openxmlformats.org/drawingml/2006/main" xmlns:r="http://schemas.openxmlformats.org/officeDocument/2006/relationships" xmlns:p="http://schemas.openxmlformats.org/presentationml/2006/main">
  <p:tag name="EE4P_MAPWIZARD_ID" val="IS"/>
  <p:tag name="EE4P_MAPWIZARD_HEADINGS" val="Admin 0\Continent\UN Region\UN Sub Region"/>
  <p:tag name="EE4P_MAPWIZARD" val="Iceland\Europe\Europe\Northern Europe"/>
</p:tagLst>
</file>

<file path=ppt/tags/tag514.xml><?xml version="1.0" encoding="utf-8"?>
<p:tagLst xmlns:a="http://schemas.openxmlformats.org/drawingml/2006/main" xmlns:r="http://schemas.openxmlformats.org/officeDocument/2006/relationships" xmlns:p="http://schemas.openxmlformats.org/presentationml/2006/main">
  <p:tag name="EE4P_MAPWIZARD_ID" val="IL"/>
  <p:tag name="EE4P_MAPWIZARD_HEADINGS" val="Admin 0\Continent\UN Region\UN Sub Region"/>
  <p:tag name="EE4P_MAPWIZARD" val="Israel\Asia\Asia\Western Asia"/>
</p:tagLst>
</file>

<file path=ppt/tags/tag515.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Continent\UN Region\UN Sub Region"/>
  <p:tag name="EE4P_MAPWIZARD" val="Italy\Europe\Europe\Southern Europe"/>
</p:tagLst>
</file>

<file path=ppt/tags/tag516.xml><?xml version="1.0" encoding="utf-8"?>
<p:tagLst xmlns:a="http://schemas.openxmlformats.org/drawingml/2006/main" xmlns:r="http://schemas.openxmlformats.org/officeDocument/2006/relationships" xmlns:p="http://schemas.openxmlformats.org/presentationml/2006/main">
  <p:tag name="EE4P_MAPWIZARD_ID" val="JO"/>
  <p:tag name="EE4P_MAPWIZARD_HEADINGS" val="Admin 0\Continent\UN Region\UN Sub Region"/>
  <p:tag name="EE4P_MAPWIZARD" val="Jordan\Asia\Asia\Western Asia"/>
</p:tagLst>
</file>

<file path=ppt/tags/tag517.xml><?xml version="1.0" encoding="utf-8"?>
<p:tagLst xmlns:a="http://schemas.openxmlformats.org/drawingml/2006/main" xmlns:r="http://schemas.openxmlformats.org/officeDocument/2006/relationships" xmlns:p="http://schemas.openxmlformats.org/presentationml/2006/main">
  <p:tag name="EE4P_MAPWIZARD_ID" val="JP"/>
  <p:tag name="EE4P_MAPWIZARD_HEADINGS" val="Admin 0\Continent\UN Region\UN Sub Region"/>
  <p:tag name="EE4P_MAPWIZARD" val="Japan\Asia\Asia\Eastern Asia"/>
</p:tagLst>
</file>

<file path=ppt/tags/tag518.xml><?xml version="1.0" encoding="utf-8"?>
<p:tagLst xmlns:a="http://schemas.openxmlformats.org/drawingml/2006/main" xmlns:r="http://schemas.openxmlformats.org/officeDocument/2006/relationships" xmlns:p="http://schemas.openxmlformats.org/presentationml/2006/main">
  <p:tag name="EE4P_MAPWIZARD_ID" val="KZ"/>
  <p:tag name="EE4P_MAPWIZARD_HEADINGS" val="Admin 0\Continent\UN Region\UN Sub Region"/>
  <p:tag name="EE4P_MAPWIZARD" val="Kazakhstan\Asia\Asia\Central Asia"/>
</p:tagLst>
</file>

<file path=ppt/tags/tag519.xml><?xml version="1.0" encoding="utf-8"?>
<p:tagLst xmlns:a="http://schemas.openxmlformats.org/drawingml/2006/main" xmlns:r="http://schemas.openxmlformats.org/officeDocument/2006/relationships" xmlns:p="http://schemas.openxmlformats.org/presentationml/2006/main">
  <p:tag name="EE4P_MAPWIZARD_ID" val="KE"/>
  <p:tag name="EE4P_MAPWIZARD_HEADINGS" val="Admin 0\Continent\UN Region\UN Sub Region"/>
  <p:tag name="EE4P_MAPWIZARD" val="Kenya\Africa\Africa\Eastern Africa"/>
</p:tagLst>
</file>

<file path=ppt/tags/tag52.xml><?xml version="1.0" encoding="utf-8"?>
<p:tagLst xmlns:a="http://schemas.openxmlformats.org/drawingml/2006/main" xmlns:r="http://schemas.openxmlformats.org/officeDocument/2006/relationships" xmlns:p="http://schemas.openxmlformats.org/presentationml/2006/main">
  <p:tag name="SHAPE" val="OLD"/>
</p:tagLst>
</file>

<file path=ppt/tags/tag520.xml><?xml version="1.0" encoding="utf-8"?>
<p:tagLst xmlns:a="http://schemas.openxmlformats.org/drawingml/2006/main" xmlns:r="http://schemas.openxmlformats.org/officeDocument/2006/relationships" xmlns:p="http://schemas.openxmlformats.org/presentationml/2006/main">
  <p:tag name="EE4P_MAPWIZARD_ID" val="KG"/>
  <p:tag name="EE4P_MAPWIZARD_HEADINGS" val="Admin 0\Continent\UN Region\UN Sub Region"/>
  <p:tag name="EE4P_MAPWIZARD" val="Kyrgyzstan\Asia\Asia\Central Asia"/>
</p:tagLst>
</file>

<file path=ppt/tags/tag521.xml><?xml version="1.0" encoding="utf-8"?>
<p:tagLst xmlns:a="http://schemas.openxmlformats.org/drawingml/2006/main" xmlns:r="http://schemas.openxmlformats.org/officeDocument/2006/relationships" xmlns:p="http://schemas.openxmlformats.org/presentationml/2006/main">
  <p:tag name="EE4P_MAPWIZARD_ID" val="KH"/>
  <p:tag name="EE4P_MAPWIZARD_HEADINGS" val="Admin 0\Continent\UN Region\UN Sub Region"/>
  <p:tag name="EE4P_MAPWIZARD" val="Cambodia\Asia\Asia\South-Eastern Asia"/>
</p:tagLst>
</file>

<file path=ppt/tags/tag522.xml><?xml version="1.0" encoding="utf-8"?>
<p:tagLst xmlns:a="http://schemas.openxmlformats.org/drawingml/2006/main" xmlns:r="http://schemas.openxmlformats.org/officeDocument/2006/relationships" xmlns:p="http://schemas.openxmlformats.org/presentationml/2006/main">
  <p:tag name="EE4P_MAPWIZARD_ID" val="KR"/>
  <p:tag name="EE4P_MAPWIZARD_HEADINGS" val="Admin 0\Continent\UN Region\UN Sub Region"/>
  <p:tag name="EE4P_MAPWIZARD" val="South Korea\Asia\Asia\Eastern Asia"/>
</p:tagLst>
</file>

<file path=ppt/tags/tag523.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Continent\UN Region\UN Sub Region"/>
  <p:tag name="EE4P_MAPWIZARD" val="Kosovo\Europe\Europe\Southern Europe"/>
</p:tagLst>
</file>

<file path=ppt/tags/tag524.xml><?xml version="1.0" encoding="utf-8"?>
<p:tagLst xmlns:a="http://schemas.openxmlformats.org/drawingml/2006/main" xmlns:r="http://schemas.openxmlformats.org/officeDocument/2006/relationships" xmlns:p="http://schemas.openxmlformats.org/presentationml/2006/main">
  <p:tag name="EE4P_MAPWIZARD_ID" val="KW"/>
  <p:tag name="EE4P_MAPWIZARD_HEADINGS" val="Admin 0\Continent\UN Region\UN Sub Region"/>
  <p:tag name="EE4P_MAPWIZARD" val="Kuwait\Asia\Asia\Western Asia"/>
</p:tagLst>
</file>

<file path=ppt/tags/tag525.xml><?xml version="1.0" encoding="utf-8"?>
<p:tagLst xmlns:a="http://schemas.openxmlformats.org/drawingml/2006/main" xmlns:r="http://schemas.openxmlformats.org/officeDocument/2006/relationships" xmlns:p="http://schemas.openxmlformats.org/presentationml/2006/main">
  <p:tag name="EE4P_MAPWIZARD_ID" val="LA"/>
  <p:tag name="EE4P_MAPWIZARD_HEADINGS" val="Admin 0\Continent\UN Region\UN Sub Region"/>
  <p:tag name="EE4P_MAPWIZARD" val="Laos\Asia\Asia\South-Eastern Asia"/>
</p:tagLst>
</file>

<file path=ppt/tags/tag526.xml><?xml version="1.0" encoding="utf-8"?>
<p:tagLst xmlns:a="http://schemas.openxmlformats.org/drawingml/2006/main" xmlns:r="http://schemas.openxmlformats.org/officeDocument/2006/relationships" xmlns:p="http://schemas.openxmlformats.org/presentationml/2006/main">
  <p:tag name="EE4P_MAPWIZARD_ID" val="LB"/>
  <p:tag name="EE4P_MAPWIZARD_HEADINGS" val="Admin 0\Continent\UN Region\UN Sub Region"/>
  <p:tag name="EE4P_MAPWIZARD" val="Lebanon\Asia\Asia\Western Asia"/>
</p:tagLst>
</file>

<file path=ppt/tags/tag527.xml><?xml version="1.0" encoding="utf-8"?>
<p:tagLst xmlns:a="http://schemas.openxmlformats.org/drawingml/2006/main" xmlns:r="http://schemas.openxmlformats.org/officeDocument/2006/relationships" xmlns:p="http://schemas.openxmlformats.org/presentationml/2006/main">
  <p:tag name="EE4P_MAPWIZARD_ID" val="LR"/>
  <p:tag name="EE4P_MAPWIZARD_HEADINGS" val="Admin 0\Continent\UN Region\UN Sub Region"/>
  <p:tag name="EE4P_MAPWIZARD" val="Liberia\Africa\Africa\Western Africa"/>
</p:tagLst>
</file>

<file path=ppt/tags/tag528.xml><?xml version="1.0" encoding="utf-8"?>
<p:tagLst xmlns:a="http://schemas.openxmlformats.org/drawingml/2006/main" xmlns:r="http://schemas.openxmlformats.org/officeDocument/2006/relationships" xmlns:p="http://schemas.openxmlformats.org/presentationml/2006/main">
  <p:tag name="EE4P_MAPWIZARD_ID" val="LY"/>
  <p:tag name="EE4P_MAPWIZARD_HEADINGS" val="Admin 0\Continent\UN Region\UN Sub Region"/>
  <p:tag name="EE4P_MAPWIZARD" val="Libya\Africa\Africa\Northern Africa"/>
</p:tagLst>
</file>

<file path=ppt/tags/tag529.xml><?xml version="1.0" encoding="utf-8"?>
<p:tagLst xmlns:a="http://schemas.openxmlformats.org/drawingml/2006/main" xmlns:r="http://schemas.openxmlformats.org/officeDocument/2006/relationships" xmlns:p="http://schemas.openxmlformats.org/presentationml/2006/main">
  <p:tag name="EE4P_MAPWIZARD_ID" val="LK"/>
  <p:tag name="EE4P_MAPWIZARD_HEADINGS" val="Admin 0\Continent\UN Region\UN Sub Region"/>
  <p:tag name="EE4P_MAPWIZARD" val="Sri Lanka\Asia\Asia\Southern Asia"/>
</p:tagLst>
</file>

<file path=ppt/tags/tag53.xml><?xml version="1.0" encoding="utf-8"?>
<p:tagLst xmlns:a="http://schemas.openxmlformats.org/drawingml/2006/main" xmlns:r="http://schemas.openxmlformats.org/officeDocument/2006/relationships" xmlns:p="http://schemas.openxmlformats.org/presentationml/2006/main">
  <p:tag name="SHAPE" val="OLD"/>
</p:tagLst>
</file>

<file path=ppt/tags/tag530.xml><?xml version="1.0" encoding="utf-8"?>
<p:tagLst xmlns:a="http://schemas.openxmlformats.org/drawingml/2006/main" xmlns:r="http://schemas.openxmlformats.org/officeDocument/2006/relationships" xmlns:p="http://schemas.openxmlformats.org/presentationml/2006/main">
  <p:tag name="EE4P_MAPWIZARD_ID" val="LS"/>
  <p:tag name="EE4P_MAPWIZARD_HEADINGS" val="Admin 0\Continent\UN Region\UN Sub Region"/>
  <p:tag name="EE4P_MAPWIZARD" val="Lesotho\Africa\Africa\Southern Africa"/>
</p:tagLst>
</file>

<file path=ppt/tags/tag531.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Continent\UN Region\UN Sub Region"/>
  <p:tag name="EE4P_MAPWIZARD" val="Lithuania\Europe\Europe\Northern Europe"/>
</p:tagLst>
</file>

<file path=ppt/tags/tag532.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Continent\UN Region\UN Sub Region"/>
  <p:tag name="EE4P_MAPWIZARD" val="Luxembourg\Europe\Europe\Western Europe"/>
</p:tagLst>
</file>

<file path=ppt/tags/tag533.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Continent\UN Region\UN Sub Region"/>
  <p:tag name="EE4P_MAPWIZARD" val="Latvia\Europe\Europe\Northern Europe"/>
</p:tagLst>
</file>

<file path=ppt/tags/tag534.xml><?xml version="1.0" encoding="utf-8"?>
<p:tagLst xmlns:a="http://schemas.openxmlformats.org/drawingml/2006/main" xmlns:r="http://schemas.openxmlformats.org/officeDocument/2006/relationships" xmlns:p="http://schemas.openxmlformats.org/presentationml/2006/main">
  <p:tag name="EE4P_MAPWIZARD_ID" val="MA"/>
  <p:tag name="EE4P_MAPWIZARD_HEADINGS" val="Admin 0\Continent\UN Region\UN Sub Region"/>
  <p:tag name="EE4P_MAPWIZARD" val="Morocco\Africa\Africa\Northern Africa"/>
</p:tagLst>
</file>

<file path=ppt/tags/tag535.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Continent\UN Region\UN Sub Region"/>
  <p:tag name="EE4P_MAPWIZARD" val="Moldova\Europe\Europe\Eastern Europe"/>
</p:tagLst>
</file>

<file path=ppt/tags/tag536.xml><?xml version="1.0" encoding="utf-8"?>
<p:tagLst xmlns:a="http://schemas.openxmlformats.org/drawingml/2006/main" xmlns:r="http://schemas.openxmlformats.org/officeDocument/2006/relationships" xmlns:p="http://schemas.openxmlformats.org/presentationml/2006/main">
  <p:tag name="EE4P_MAPWIZARD_ID" val="MG"/>
  <p:tag name="EE4P_MAPWIZARD_HEADINGS" val="Admin 0\Continent\UN Region\UN Sub Region"/>
  <p:tag name="EE4P_MAPWIZARD" val="Madagascar\Africa\Africa\Eastern Africa"/>
</p:tagLst>
</file>

<file path=ppt/tags/tag537.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Continent\UN Region\UN Sub Region"/>
  <p:tag name="EE4P_MAPWIZARD" val="Macedonia\Europe\Europe\Southern Europe"/>
</p:tagLst>
</file>

<file path=ppt/tags/tag538.xml><?xml version="1.0" encoding="utf-8"?>
<p:tagLst xmlns:a="http://schemas.openxmlformats.org/drawingml/2006/main" xmlns:r="http://schemas.openxmlformats.org/officeDocument/2006/relationships" xmlns:p="http://schemas.openxmlformats.org/presentationml/2006/main">
  <p:tag name="EE4P_MAPWIZARD_ID" val="ML"/>
  <p:tag name="EE4P_MAPWIZARD_HEADINGS" val="Admin 0\Continent\UN Region\UN Sub Region"/>
  <p:tag name="EE4P_MAPWIZARD" val="Mali\Africa\Africa\Western Africa"/>
</p:tagLst>
</file>

<file path=ppt/tags/tag539.xml><?xml version="1.0" encoding="utf-8"?>
<p:tagLst xmlns:a="http://schemas.openxmlformats.org/drawingml/2006/main" xmlns:r="http://schemas.openxmlformats.org/officeDocument/2006/relationships" xmlns:p="http://schemas.openxmlformats.org/presentationml/2006/main">
  <p:tag name="EE4P_MAPWIZARD_ID" val="MM"/>
  <p:tag name="EE4P_MAPWIZARD_HEADINGS" val="Admin 0\Continent\UN Region\UN Sub Region"/>
  <p:tag name="EE4P_MAPWIZARD" val="Myanmar\Asia\Asia\South-Eastern Asia"/>
</p:tagLst>
</file>

<file path=ppt/tags/tag54.xml><?xml version="1.0" encoding="utf-8"?>
<p:tagLst xmlns:a="http://schemas.openxmlformats.org/drawingml/2006/main" xmlns:r="http://schemas.openxmlformats.org/officeDocument/2006/relationships" xmlns:p="http://schemas.openxmlformats.org/presentationml/2006/main">
  <p:tag name="SHAPE" val="OLD"/>
</p:tagLst>
</file>

<file path=ppt/tags/tag540.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Continent\UN Region\UN Sub Region"/>
  <p:tag name="EE4P_MAPWIZARD" val="Montenegro\Europe\Europe\Southern Europe"/>
</p:tagLst>
</file>

<file path=ppt/tags/tag541.xml><?xml version="1.0" encoding="utf-8"?>
<p:tagLst xmlns:a="http://schemas.openxmlformats.org/drawingml/2006/main" xmlns:r="http://schemas.openxmlformats.org/officeDocument/2006/relationships" xmlns:p="http://schemas.openxmlformats.org/presentationml/2006/main">
  <p:tag name="EE4P_MAPWIZARD_ID" val="MN"/>
  <p:tag name="EE4P_MAPWIZARD_HEADINGS" val="Admin 0\Continent\UN Region\UN Sub Region"/>
  <p:tag name="EE4P_MAPWIZARD" val="Mongolia\Asia\Asia\Eastern Asia"/>
</p:tagLst>
</file>

<file path=ppt/tags/tag542.xml><?xml version="1.0" encoding="utf-8"?>
<p:tagLst xmlns:a="http://schemas.openxmlformats.org/drawingml/2006/main" xmlns:r="http://schemas.openxmlformats.org/officeDocument/2006/relationships" xmlns:p="http://schemas.openxmlformats.org/presentationml/2006/main">
  <p:tag name="EE4P_MAPWIZARD_ID" val="MZ"/>
  <p:tag name="EE4P_MAPWIZARD_HEADINGS" val="Admin 0\Continent\UN Region\UN Sub Region"/>
  <p:tag name="EE4P_MAPWIZARD" val="Mozambique\Africa\Africa\Eastern Africa"/>
</p:tagLst>
</file>

<file path=ppt/tags/tag543.xml><?xml version="1.0" encoding="utf-8"?>
<p:tagLst xmlns:a="http://schemas.openxmlformats.org/drawingml/2006/main" xmlns:r="http://schemas.openxmlformats.org/officeDocument/2006/relationships" xmlns:p="http://schemas.openxmlformats.org/presentationml/2006/main">
  <p:tag name="EE4P_MAPWIZARD_ID" val="MR"/>
  <p:tag name="EE4P_MAPWIZARD_HEADINGS" val="Admin 0\Continent\UN Region\UN Sub Region"/>
  <p:tag name="EE4P_MAPWIZARD" val="Mauritania\Africa\Africa\Western Africa"/>
</p:tagLst>
</file>

<file path=ppt/tags/tag544.xml><?xml version="1.0" encoding="utf-8"?>
<p:tagLst xmlns:a="http://schemas.openxmlformats.org/drawingml/2006/main" xmlns:r="http://schemas.openxmlformats.org/officeDocument/2006/relationships" xmlns:p="http://schemas.openxmlformats.org/presentationml/2006/main">
  <p:tag name="EE4P_MAPWIZARD_ID" val="MW"/>
  <p:tag name="EE4P_MAPWIZARD_HEADINGS" val="Admin 0\Continent\UN Region\UN Sub Region"/>
  <p:tag name="EE4P_MAPWIZARD" val="Malawi\Africa\Africa\Eastern Africa"/>
</p:tagLst>
</file>

<file path=ppt/tags/tag545.xml><?xml version="1.0" encoding="utf-8"?>
<p:tagLst xmlns:a="http://schemas.openxmlformats.org/drawingml/2006/main" xmlns:r="http://schemas.openxmlformats.org/officeDocument/2006/relationships" xmlns:p="http://schemas.openxmlformats.org/presentationml/2006/main">
  <p:tag name="EE4P_MAPWIZARD_ID" val="MY"/>
  <p:tag name="EE4P_MAPWIZARD_HEADINGS" val="Admin 0\Continent\UN Region\UN Sub Region"/>
  <p:tag name="EE4P_MAPWIZARD" val="Malaysia\Asia\Asia\South-Eastern Asia"/>
</p:tagLst>
</file>

<file path=ppt/tags/tag546.xml><?xml version="1.0" encoding="utf-8"?>
<p:tagLst xmlns:a="http://schemas.openxmlformats.org/drawingml/2006/main" xmlns:r="http://schemas.openxmlformats.org/officeDocument/2006/relationships" xmlns:p="http://schemas.openxmlformats.org/presentationml/2006/main">
  <p:tag name="EE4P_MAPWIZARD_ID" val="NA"/>
  <p:tag name="EE4P_MAPWIZARD_HEADINGS" val="Admin 0\Continent\UN Region\UN Sub Region"/>
  <p:tag name="EE4P_MAPWIZARD" val="Namibia\Africa\Africa\Southern Africa"/>
</p:tagLst>
</file>

<file path=ppt/tags/tag547.xml><?xml version="1.0" encoding="utf-8"?>
<p:tagLst xmlns:a="http://schemas.openxmlformats.org/drawingml/2006/main" xmlns:r="http://schemas.openxmlformats.org/officeDocument/2006/relationships" xmlns:p="http://schemas.openxmlformats.org/presentationml/2006/main">
  <p:tag name="EE4P_MAPWIZARD_ID" val="NE"/>
  <p:tag name="EE4P_MAPWIZARD_HEADINGS" val="Admin 0\Continent\UN Region\UN Sub Region"/>
  <p:tag name="EE4P_MAPWIZARD" val="Niger\Africa\Africa\Western Africa"/>
</p:tagLst>
</file>

<file path=ppt/tags/tag548.xml><?xml version="1.0" encoding="utf-8"?>
<p:tagLst xmlns:a="http://schemas.openxmlformats.org/drawingml/2006/main" xmlns:r="http://schemas.openxmlformats.org/officeDocument/2006/relationships" xmlns:p="http://schemas.openxmlformats.org/presentationml/2006/main">
  <p:tag name="EE4P_MAPWIZARD_ID" val="NG"/>
  <p:tag name="EE4P_MAPWIZARD_HEADINGS" val="Admin 0\Continent\UN Region\UN Sub Region"/>
  <p:tag name="EE4P_MAPWIZARD" val="Nigeria\Africa\Africa\Western Africa"/>
</p:tagLst>
</file>

<file path=ppt/tags/tag549.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Continent\UN Region\UN Sub Region"/>
  <p:tag name="EE4P_MAPWIZARD" val="Netherlands\Europe\Europe\Western Europe"/>
</p:tagLst>
</file>

<file path=ppt/tags/tag55.xml><?xml version="1.0" encoding="utf-8"?>
<p:tagLst xmlns:a="http://schemas.openxmlformats.org/drawingml/2006/main" xmlns:r="http://schemas.openxmlformats.org/officeDocument/2006/relationships" xmlns:p="http://schemas.openxmlformats.org/presentationml/2006/main">
  <p:tag name="SHAPE" val="OLD"/>
</p:tagLst>
</file>

<file path=ppt/tags/tag550.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Continent\UN Region\UN Sub Region"/>
  <p:tag name="EE4P_MAPWIZARD" val="Norway\Europe\Europe\Northern Europe"/>
</p:tagLst>
</file>

<file path=ppt/tags/tag551.xml><?xml version="1.0" encoding="utf-8"?>
<p:tagLst xmlns:a="http://schemas.openxmlformats.org/drawingml/2006/main" xmlns:r="http://schemas.openxmlformats.org/officeDocument/2006/relationships" xmlns:p="http://schemas.openxmlformats.org/presentationml/2006/main">
  <p:tag name="EE4P_MAPWIZARD_ID" val="NP"/>
  <p:tag name="EE4P_MAPWIZARD_HEADINGS" val="Admin 0\Continent\UN Region\UN Sub Region"/>
  <p:tag name="EE4P_MAPWIZARD" val="Nepal\Asia\Asia\Southern Asia"/>
</p:tagLst>
</file>

<file path=ppt/tags/tag552.xml><?xml version="1.0" encoding="utf-8"?>
<p:tagLst xmlns:a="http://schemas.openxmlformats.org/drawingml/2006/main" xmlns:r="http://schemas.openxmlformats.org/officeDocument/2006/relationships" xmlns:p="http://schemas.openxmlformats.org/presentationml/2006/main">
  <p:tag name="EE4P_MAPWIZARD_ID" val="NZ"/>
  <p:tag name="EE4P_MAPWIZARD_HEADINGS" val="Admin 0\Continent\UN Region\UN Sub Region"/>
  <p:tag name="EE4P_MAPWIZARD" val="New Zealand\Oceania\Oceania\Australia and New Zealand"/>
</p:tagLst>
</file>

<file path=ppt/tags/tag553.xml><?xml version="1.0" encoding="utf-8"?>
<p:tagLst xmlns:a="http://schemas.openxmlformats.org/drawingml/2006/main" xmlns:r="http://schemas.openxmlformats.org/officeDocument/2006/relationships" xmlns:p="http://schemas.openxmlformats.org/presentationml/2006/main">
  <p:tag name="EE4P_MAPWIZARD_ID" val="OM"/>
  <p:tag name="EE4P_MAPWIZARD_HEADINGS" val="Admin 0\Continent\UN Region\UN Sub Region"/>
  <p:tag name="EE4P_MAPWIZARD" val="Oman\Asia\Asia\Western Asia"/>
</p:tagLst>
</file>

<file path=ppt/tags/tag554.xml><?xml version="1.0" encoding="utf-8"?>
<p:tagLst xmlns:a="http://schemas.openxmlformats.org/drawingml/2006/main" xmlns:r="http://schemas.openxmlformats.org/officeDocument/2006/relationships" xmlns:p="http://schemas.openxmlformats.org/presentationml/2006/main">
  <p:tag name="EE4P_MAPWIZARD_ID" val="PK"/>
  <p:tag name="EE4P_MAPWIZARD_HEADINGS" val="Admin 0\Continent\UN Region\UN Sub Region"/>
  <p:tag name="EE4P_MAPWIZARD" val="Pakistan\Asia\Asia\Southern Asia"/>
</p:tagLst>
</file>

<file path=ppt/tags/tag555.xml><?xml version="1.0" encoding="utf-8"?>
<p:tagLst xmlns:a="http://schemas.openxmlformats.org/drawingml/2006/main" xmlns:r="http://schemas.openxmlformats.org/officeDocument/2006/relationships" xmlns:p="http://schemas.openxmlformats.org/presentationml/2006/main">
  <p:tag name="EE4P_MAPWIZARD_ID" val="PH"/>
  <p:tag name="EE4P_MAPWIZARD_HEADINGS" val="Admin 0\Continent\UN Region\UN Sub Region"/>
  <p:tag name="EE4P_MAPWIZARD" val="Philippines\Asia\Asia\South-Eastern Asia"/>
</p:tagLst>
</file>

<file path=ppt/tags/tag556.xml><?xml version="1.0" encoding="utf-8"?>
<p:tagLst xmlns:a="http://schemas.openxmlformats.org/drawingml/2006/main" xmlns:r="http://schemas.openxmlformats.org/officeDocument/2006/relationships" xmlns:p="http://schemas.openxmlformats.org/presentationml/2006/main">
  <p:tag name="EE4P_MAPWIZARD_ID" val="PG"/>
  <p:tag name="EE4P_MAPWIZARD_HEADINGS" val="Admin 0\Continent\UN Region\UN Sub Region"/>
  <p:tag name="EE4P_MAPWIZARD" val="Papua New Guinea\Oceania\Oceania\Melanesia"/>
</p:tagLst>
</file>

<file path=ppt/tags/tag557.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Continent\UN Region\UN Sub Region"/>
  <p:tag name="EE4P_MAPWIZARD" val="Poland\Europe\Europe\Eastern Europe"/>
</p:tagLst>
</file>

<file path=ppt/tags/tag558.xml><?xml version="1.0" encoding="utf-8"?>
<p:tagLst xmlns:a="http://schemas.openxmlformats.org/drawingml/2006/main" xmlns:r="http://schemas.openxmlformats.org/officeDocument/2006/relationships" xmlns:p="http://schemas.openxmlformats.org/presentationml/2006/main">
  <p:tag name="EE4P_MAPWIZARD_ID" val="KP"/>
  <p:tag name="EE4P_MAPWIZARD_HEADINGS" val="Admin 0\Continent\UN Region\UN Sub Region"/>
  <p:tag name="EE4P_MAPWIZARD" val="North Korea\Asia\Asia\Eastern Asia"/>
</p:tagLst>
</file>

<file path=ppt/tags/tag559.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Continent\UN Region\UN Sub Region"/>
  <p:tag name="EE4P_MAPWIZARD" val="Portugal\Europe\Europe\Southern Europe"/>
</p:tagLst>
</file>

<file path=ppt/tags/tag56.xml><?xml version="1.0" encoding="utf-8"?>
<p:tagLst xmlns:a="http://schemas.openxmlformats.org/drawingml/2006/main" xmlns:r="http://schemas.openxmlformats.org/officeDocument/2006/relationships" xmlns:p="http://schemas.openxmlformats.org/presentationml/2006/main">
  <p:tag name="SHAPE" val="OLD"/>
</p:tagLst>
</file>

<file path=ppt/tags/tag560.xml><?xml version="1.0" encoding="utf-8"?>
<p:tagLst xmlns:a="http://schemas.openxmlformats.org/drawingml/2006/main" xmlns:r="http://schemas.openxmlformats.org/officeDocument/2006/relationships" xmlns:p="http://schemas.openxmlformats.org/presentationml/2006/main">
  <p:tag name="EE4P_MAPWIZARD_ID" val="QA"/>
  <p:tag name="EE4P_MAPWIZARD_HEADINGS" val="Admin 0\Continent\UN Region\UN Sub Region"/>
  <p:tag name="EE4P_MAPWIZARD" val="Qatar\Asia\Asia\Western Asia"/>
</p:tagLst>
</file>

<file path=ppt/tags/tag561.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Continent\UN Region\UN Sub Region"/>
  <p:tag name="EE4P_MAPWIZARD" val="Romania\Europe\Europe\Eastern Europe"/>
</p:tagLst>
</file>

<file path=ppt/tags/tag562.xml><?xml version="1.0" encoding="utf-8"?>
<p:tagLst xmlns:a="http://schemas.openxmlformats.org/drawingml/2006/main" xmlns:r="http://schemas.openxmlformats.org/officeDocument/2006/relationships" xmlns:p="http://schemas.openxmlformats.org/presentationml/2006/main">
  <p:tag name="EE4P_MAPWIZARD_ID" val="RU"/>
  <p:tag name="EE4P_MAPWIZARD_HEADINGS" val="Admin 0\Continent\UN Region\UN Sub Region"/>
  <p:tag name="EE4P_MAPWIZARD" val="Russia\Europe\Europe\Eastern Europe"/>
</p:tagLst>
</file>

<file path=ppt/tags/tag563.xml><?xml version="1.0" encoding="utf-8"?>
<p:tagLst xmlns:a="http://schemas.openxmlformats.org/drawingml/2006/main" xmlns:r="http://schemas.openxmlformats.org/officeDocument/2006/relationships" xmlns:p="http://schemas.openxmlformats.org/presentationml/2006/main">
  <p:tag name="EE4P_MAPWIZARD_ID" val="RW"/>
  <p:tag name="EE4P_MAPWIZARD_HEADINGS" val="Admin 0\Continent\UN Region\UN Sub Region"/>
  <p:tag name="EE4P_MAPWIZARD" val="Rwanda\Africa\Africa\Eastern Africa"/>
</p:tagLst>
</file>

<file path=ppt/tags/tag564.xml><?xml version="1.0" encoding="utf-8"?>
<p:tagLst xmlns:a="http://schemas.openxmlformats.org/drawingml/2006/main" xmlns:r="http://schemas.openxmlformats.org/officeDocument/2006/relationships" xmlns:p="http://schemas.openxmlformats.org/presentationml/2006/main">
  <p:tag name="EE4P_MAPWIZARD_ID" val="EH"/>
  <p:tag name="EE4P_MAPWIZARD_HEADINGS" val="Admin 0\Continent\UN Region\UN Sub Region"/>
  <p:tag name="EE4P_MAPWIZARD" val="Western Sahara\Africa\Africa\Northern Africa"/>
</p:tagLst>
</file>

<file path=ppt/tags/tag565.xml><?xml version="1.0" encoding="utf-8"?>
<p:tagLst xmlns:a="http://schemas.openxmlformats.org/drawingml/2006/main" xmlns:r="http://schemas.openxmlformats.org/officeDocument/2006/relationships" xmlns:p="http://schemas.openxmlformats.org/presentationml/2006/main">
  <p:tag name="EE4P_MAPWIZARD_ID" val="SA"/>
  <p:tag name="EE4P_MAPWIZARD_HEADINGS" val="Admin 0\Continent\UN Region\UN Sub Region"/>
  <p:tag name="EE4P_MAPWIZARD" val="Saudi Arabia\Asia\Asia\Western Asia"/>
</p:tagLst>
</file>

<file path=ppt/tags/tag566.xml><?xml version="1.0" encoding="utf-8"?>
<p:tagLst xmlns:a="http://schemas.openxmlformats.org/drawingml/2006/main" xmlns:r="http://schemas.openxmlformats.org/officeDocument/2006/relationships" xmlns:p="http://schemas.openxmlformats.org/presentationml/2006/main">
  <p:tag name="EE4P_MAPWIZARD_ID" val="SD"/>
  <p:tag name="EE4P_MAPWIZARD_HEADINGS" val="Admin 0\Continent\UN Region\UN Sub Region"/>
  <p:tag name="EE4P_MAPWIZARD" val="Sudan\Africa\Africa\Northern Africa"/>
</p:tagLst>
</file>

<file path=ppt/tags/tag567.xml><?xml version="1.0" encoding="utf-8"?>
<p:tagLst xmlns:a="http://schemas.openxmlformats.org/drawingml/2006/main" xmlns:r="http://schemas.openxmlformats.org/officeDocument/2006/relationships" xmlns:p="http://schemas.openxmlformats.org/presentationml/2006/main">
  <p:tag name="EE4P_MAPWIZARD_ID" val="SS"/>
  <p:tag name="EE4P_MAPWIZARD_HEADINGS" val="Admin 0\Continent\UN Region\UN Sub Region"/>
  <p:tag name="EE4P_MAPWIZARD" val="South Sudan\Africa\Africa\Eastern Africa"/>
</p:tagLst>
</file>

<file path=ppt/tags/tag568.xml><?xml version="1.0" encoding="utf-8"?>
<p:tagLst xmlns:a="http://schemas.openxmlformats.org/drawingml/2006/main" xmlns:r="http://schemas.openxmlformats.org/officeDocument/2006/relationships" xmlns:p="http://schemas.openxmlformats.org/presentationml/2006/main">
  <p:tag name="EE4P_MAPWIZARD_ID" val="SN"/>
  <p:tag name="EE4P_MAPWIZARD_HEADINGS" val="Admin 0\Continent\UN Region\UN Sub Region"/>
  <p:tag name="EE4P_MAPWIZARD" val="Senegal\Africa\Africa\Western Africa"/>
</p:tagLst>
</file>

<file path=ppt/tags/tag569.xml><?xml version="1.0" encoding="utf-8"?>
<p:tagLst xmlns:a="http://schemas.openxmlformats.org/drawingml/2006/main" xmlns:r="http://schemas.openxmlformats.org/officeDocument/2006/relationships" xmlns:p="http://schemas.openxmlformats.org/presentationml/2006/main">
  <p:tag name="EE4P_MAPWIZARD_ID" val="SB"/>
  <p:tag name="EE4P_MAPWIZARD_HEADINGS" val="Admin 0\Continent\UN Region\UN Sub Region"/>
  <p:tag name="EE4P_MAPWIZARD" val="Solomon Islands\Oceania\Oceania\Melanesia"/>
</p:tagLst>
</file>

<file path=ppt/tags/tag57.xml><?xml version="1.0" encoding="utf-8"?>
<p:tagLst xmlns:a="http://schemas.openxmlformats.org/drawingml/2006/main" xmlns:r="http://schemas.openxmlformats.org/officeDocument/2006/relationships" xmlns:p="http://schemas.openxmlformats.org/presentationml/2006/main">
  <p:tag name="SHAPE" val="OLD"/>
</p:tagLst>
</file>

<file path=ppt/tags/tag570.xml><?xml version="1.0" encoding="utf-8"?>
<p:tagLst xmlns:a="http://schemas.openxmlformats.org/drawingml/2006/main" xmlns:r="http://schemas.openxmlformats.org/officeDocument/2006/relationships" xmlns:p="http://schemas.openxmlformats.org/presentationml/2006/main">
  <p:tag name="EE4P_MAPWIZARD_ID" val="SL"/>
  <p:tag name="EE4P_MAPWIZARD_HEADINGS" val="Admin 0\Continent\UN Region\UN Sub Region"/>
  <p:tag name="EE4P_MAPWIZARD" val="Sierra Leone\Africa\Africa\Western Africa"/>
</p:tagLst>
</file>

<file path=ppt/tags/tag571.xml><?xml version="1.0" encoding="utf-8"?>
<p:tagLst xmlns:a="http://schemas.openxmlformats.org/drawingml/2006/main" xmlns:r="http://schemas.openxmlformats.org/officeDocument/2006/relationships" xmlns:p="http://schemas.openxmlformats.org/presentationml/2006/main">
  <p:tag name="EE4P_MAPWIZARD_ID" val="SO"/>
  <p:tag name="EE4P_MAPWIZARD_HEADINGS" val="Admin 0\Continent\UN Region\UN Sub Region"/>
  <p:tag name="EE4P_MAPWIZARD" val="Somaliland\Africa\Africa\Eastern Africa"/>
</p:tagLst>
</file>

<file path=ppt/tags/tag572.xml><?xml version="1.0" encoding="utf-8"?>
<p:tagLst xmlns:a="http://schemas.openxmlformats.org/drawingml/2006/main" xmlns:r="http://schemas.openxmlformats.org/officeDocument/2006/relationships" xmlns:p="http://schemas.openxmlformats.org/presentationml/2006/main">
  <p:tag name="EE4P_MAPWIZARD_ID" val="SO"/>
  <p:tag name="EE4P_MAPWIZARD_HEADINGS" val="Admin 0\Continent\UN Region\UN Sub Region"/>
  <p:tag name="EE4P_MAPWIZARD" val="Somalia\Africa\Africa\Eastern Africa"/>
</p:tagLst>
</file>

<file path=ppt/tags/tag573.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Continent\UN Region\UN Sub Region"/>
  <p:tag name="EE4P_MAPWIZARD" val="Republic of Serbia\Europe\Europe\Southern Europe"/>
</p:tagLst>
</file>

<file path=ppt/tags/tag574.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Continent\UN Region\UN Sub Region"/>
  <p:tag name="EE4P_MAPWIZARD" val="Slovakia\Europe\Europe\Eastern Europe"/>
</p:tagLst>
</file>

<file path=ppt/tags/tag575.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Continent\UN Region\UN Sub Region"/>
  <p:tag name="EE4P_MAPWIZARD" val="Slovenia\Europe\Europe\Southern Europe"/>
</p:tagLst>
</file>

<file path=ppt/tags/tag576.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Continent\UN Region\UN Sub Region"/>
  <p:tag name="EE4P_MAPWIZARD" val="Sweden\Europe\Europe\Northern Europe"/>
</p:tagLst>
</file>

<file path=ppt/tags/tag577.xml><?xml version="1.0" encoding="utf-8"?>
<p:tagLst xmlns:a="http://schemas.openxmlformats.org/drawingml/2006/main" xmlns:r="http://schemas.openxmlformats.org/officeDocument/2006/relationships" xmlns:p="http://schemas.openxmlformats.org/presentationml/2006/main">
  <p:tag name="EE4P_MAPWIZARD_ID" val="SZ"/>
  <p:tag name="EE4P_MAPWIZARD_HEADINGS" val="Admin 0\Continent\UN Region\UN Sub Region"/>
  <p:tag name="EE4P_MAPWIZARD" val="Swaziland\Africa\Africa\Southern Africa"/>
</p:tagLst>
</file>

<file path=ppt/tags/tag578.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0\Continent\UN Region\UN Sub Region"/>
  <p:tag name="EE4P_MAPWIZARD" val="Syria\Asia\Asia\Western Asia"/>
</p:tagLst>
</file>

<file path=ppt/tags/tag579.xml><?xml version="1.0" encoding="utf-8"?>
<p:tagLst xmlns:a="http://schemas.openxmlformats.org/drawingml/2006/main" xmlns:r="http://schemas.openxmlformats.org/officeDocument/2006/relationships" xmlns:p="http://schemas.openxmlformats.org/presentationml/2006/main">
  <p:tag name="EE4P_MAPWIZARD_ID" val="TD"/>
  <p:tag name="EE4P_MAPWIZARD_HEADINGS" val="Admin 0\Continent\UN Region\UN Sub Region"/>
  <p:tag name="EE4P_MAPWIZARD" val="Chad\Africa\Africa\Middle Africa"/>
</p:tagLst>
</file>

<file path=ppt/tags/tag58.xml><?xml version="1.0" encoding="utf-8"?>
<p:tagLst xmlns:a="http://schemas.openxmlformats.org/drawingml/2006/main" xmlns:r="http://schemas.openxmlformats.org/officeDocument/2006/relationships" xmlns:p="http://schemas.openxmlformats.org/presentationml/2006/main">
  <p:tag name="SHAPE" val="OLD"/>
</p:tagLst>
</file>

<file path=ppt/tags/tag580.xml><?xml version="1.0" encoding="utf-8"?>
<p:tagLst xmlns:a="http://schemas.openxmlformats.org/drawingml/2006/main" xmlns:r="http://schemas.openxmlformats.org/officeDocument/2006/relationships" xmlns:p="http://schemas.openxmlformats.org/presentationml/2006/main">
  <p:tag name="EE4P_MAPWIZARD_ID" val="TG"/>
  <p:tag name="EE4P_MAPWIZARD_HEADINGS" val="Admin 0\Continent\UN Region\UN Sub Region"/>
  <p:tag name="EE4P_MAPWIZARD" val="Togo\Africa\Africa\Western Africa"/>
</p:tagLst>
</file>

<file path=ppt/tags/tag581.xml><?xml version="1.0" encoding="utf-8"?>
<p:tagLst xmlns:a="http://schemas.openxmlformats.org/drawingml/2006/main" xmlns:r="http://schemas.openxmlformats.org/officeDocument/2006/relationships" xmlns:p="http://schemas.openxmlformats.org/presentationml/2006/main">
  <p:tag name="EE4P_MAPWIZARD_ID" val="TH"/>
  <p:tag name="EE4P_MAPWIZARD_HEADINGS" val="Admin 0\Continent\UN Region\UN Sub Region"/>
  <p:tag name="EE4P_MAPWIZARD" val="Thailand\Asia\Asia\South-Eastern Asia"/>
</p:tagLst>
</file>

<file path=ppt/tags/tag582.xml><?xml version="1.0" encoding="utf-8"?>
<p:tagLst xmlns:a="http://schemas.openxmlformats.org/drawingml/2006/main" xmlns:r="http://schemas.openxmlformats.org/officeDocument/2006/relationships" xmlns:p="http://schemas.openxmlformats.org/presentationml/2006/main">
  <p:tag name="EE4P_MAPWIZARD_ID" val="TJ"/>
  <p:tag name="EE4P_MAPWIZARD_HEADINGS" val="Admin 0\Continent\UN Region\UN Sub Region"/>
  <p:tag name="EE4P_MAPWIZARD" val="Tajikistan\Asia\Asia\Central Asia"/>
</p:tagLst>
</file>

<file path=ppt/tags/tag583.xml><?xml version="1.0" encoding="utf-8"?>
<p:tagLst xmlns:a="http://schemas.openxmlformats.org/drawingml/2006/main" xmlns:r="http://schemas.openxmlformats.org/officeDocument/2006/relationships" xmlns:p="http://schemas.openxmlformats.org/presentationml/2006/main">
  <p:tag name="EE4P_MAPWIZARD_ID" val="TM"/>
  <p:tag name="EE4P_MAPWIZARD_HEADINGS" val="Admin 0\Continent\UN Region\UN Sub Region"/>
  <p:tag name="EE4P_MAPWIZARD" val="Turkmenistan\Asia\Asia\Central Asia"/>
</p:tagLst>
</file>

<file path=ppt/tags/tag584.xml><?xml version="1.0" encoding="utf-8"?>
<p:tagLst xmlns:a="http://schemas.openxmlformats.org/drawingml/2006/main" xmlns:r="http://schemas.openxmlformats.org/officeDocument/2006/relationships" xmlns:p="http://schemas.openxmlformats.org/presentationml/2006/main">
  <p:tag name="EE4P_MAPWIZARD_ID" val="TL"/>
  <p:tag name="EE4P_MAPWIZARD_HEADINGS" val="Admin 0\Continent\UN Region\UN Sub Region"/>
  <p:tag name="EE4P_MAPWIZARD" val="East Timor\Asia\Asia\South-Eastern Asia"/>
</p:tagLst>
</file>

<file path=ppt/tags/tag585.xml><?xml version="1.0" encoding="utf-8"?>
<p:tagLst xmlns:a="http://schemas.openxmlformats.org/drawingml/2006/main" xmlns:r="http://schemas.openxmlformats.org/officeDocument/2006/relationships" xmlns:p="http://schemas.openxmlformats.org/presentationml/2006/main">
  <p:tag name="EE4P_MAPWIZARD_ID" val="TN"/>
  <p:tag name="EE4P_MAPWIZARD_HEADINGS" val="Admin 0\Continent\UN Region\UN Sub Region"/>
  <p:tag name="EE4P_MAPWIZARD" val="Tunisia\Africa\Africa\Northern Africa"/>
</p:tagLst>
</file>

<file path=ppt/tags/tag586.xml><?xml version="1.0" encoding="utf-8"?>
<p:tagLst xmlns:a="http://schemas.openxmlformats.org/drawingml/2006/main" xmlns:r="http://schemas.openxmlformats.org/officeDocument/2006/relationships" xmlns:p="http://schemas.openxmlformats.org/presentationml/2006/main">
  <p:tag name="EE4P_MAPWIZARD_ID" val="TR"/>
  <p:tag name="EE4P_MAPWIZARD_HEADINGS" val="Admin 0\Continent\UN Region\UN Sub Region"/>
  <p:tag name="EE4P_MAPWIZARD" val="Turkey\Asia\Asia\Western Asia"/>
</p:tagLst>
</file>

<file path=ppt/tags/tag587.xml><?xml version="1.0" encoding="utf-8"?>
<p:tagLst xmlns:a="http://schemas.openxmlformats.org/drawingml/2006/main" xmlns:r="http://schemas.openxmlformats.org/officeDocument/2006/relationships" xmlns:p="http://schemas.openxmlformats.org/presentationml/2006/main">
  <p:tag name="EE4P_MAPWIZARD_ID" val="TW"/>
  <p:tag name="EE4P_MAPWIZARD_HEADINGS" val="Admin 0\Continent\UN Region\UN Sub Region"/>
  <p:tag name="EE4P_MAPWIZARD" val="Taiwan\Asia\Asia\Eastern Asia"/>
</p:tagLst>
</file>

<file path=ppt/tags/tag588.xml><?xml version="1.0" encoding="utf-8"?>
<p:tagLst xmlns:a="http://schemas.openxmlformats.org/drawingml/2006/main" xmlns:r="http://schemas.openxmlformats.org/officeDocument/2006/relationships" xmlns:p="http://schemas.openxmlformats.org/presentationml/2006/main">
  <p:tag name="EE4P_MAPWIZARD_ID" val="TZ"/>
  <p:tag name="EE4P_MAPWIZARD_HEADINGS" val="Admin 0\Continent\UN Region\UN Sub Region"/>
  <p:tag name="EE4P_MAPWIZARD" val="United Republic of Tanzania\Africa\Africa\Eastern Africa"/>
</p:tagLst>
</file>

<file path=ppt/tags/tag589.xml><?xml version="1.0" encoding="utf-8"?>
<p:tagLst xmlns:a="http://schemas.openxmlformats.org/drawingml/2006/main" xmlns:r="http://schemas.openxmlformats.org/officeDocument/2006/relationships" xmlns:p="http://schemas.openxmlformats.org/presentationml/2006/main">
  <p:tag name="EE4P_MAPWIZARD_ID" val="UG"/>
  <p:tag name="EE4P_MAPWIZARD_HEADINGS" val="Admin 0\Continent\UN Region\UN Sub Region"/>
  <p:tag name="EE4P_MAPWIZARD" val="Uganda\Africa\Africa\Eastern Africa"/>
</p:tagLst>
</file>

<file path=ppt/tags/tag59.xml><?xml version="1.0" encoding="utf-8"?>
<p:tagLst xmlns:a="http://schemas.openxmlformats.org/drawingml/2006/main" xmlns:r="http://schemas.openxmlformats.org/officeDocument/2006/relationships" xmlns:p="http://schemas.openxmlformats.org/presentationml/2006/main">
  <p:tag name="SHAPE" val="OLD"/>
</p:tagLst>
</file>

<file path=ppt/tags/tag590.xml><?xml version="1.0" encoding="utf-8"?>
<p:tagLst xmlns:a="http://schemas.openxmlformats.org/drawingml/2006/main" xmlns:r="http://schemas.openxmlformats.org/officeDocument/2006/relationships" xmlns:p="http://schemas.openxmlformats.org/presentationml/2006/main">
  <p:tag name="EE4P_MAPWIZARD_ID" val="UA"/>
  <p:tag name="EE4P_MAPWIZARD_HEADINGS" val="Admin 0\Continent\UN Region\UN Sub Region"/>
  <p:tag name="EE4P_MAPWIZARD" val="Ukraine\Europe\Europe\Eastern Europe"/>
</p:tagLst>
</file>

<file path=ppt/tags/tag591.xml><?xml version="1.0" encoding="utf-8"?>
<p:tagLst xmlns:a="http://schemas.openxmlformats.org/drawingml/2006/main" xmlns:r="http://schemas.openxmlformats.org/officeDocument/2006/relationships" xmlns:p="http://schemas.openxmlformats.org/presentationml/2006/main">
  <p:tag name="EE4P_MAPWIZARD_ID" val="UZ"/>
  <p:tag name="EE4P_MAPWIZARD_HEADINGS" val="Admin 0\Continent\UN Region\UN Sub Region"/>
  <p:tag name="EE4P_MAPWIZARD" val="Uzbekistan\Asia\Asia\Central Asia"/>
</p:tagLst>
</file>

<file path=ppt/tags/tag592.xml><?xml version="1.0" encoding="utf-8"?>
<p:tagLst xmlns:a="http://schemas.openxmlformats.org/drawingml/2006/main" xmlns:r="http://schemas.openxmlformats.org/officeDocument/2006/relationships" xmlns:p="http://schemas.openxmlformats.org/presentationml/2006/main">
  <p:tag name="EE4P_MAPWIZARD_ID" val="VN"/>
  <p:tag name="EE4P_MAPWIZARD_HEADINGS" val="Admin 0\Continent\UN Region\UN Sub Region"/>
  <p:tag name="EE4P_MAPWIZARD" val="Vietnam\Asia\Asia\South-Eastern Asia"/>
</p:tagLst>
</file>

<file path=ppt/tags/tag593.xml><?xml version="1.0" encoding="utf-8"?>
<p:tagLst xmlns:a="http://schemas.openxmlformats.org/drawingml/2006/main" xmlns:r="http://schemas.openxmlformats.org/officeDocument/2006/relationships" xmlns:p="http://schemas.openxmlformats.org/presentationml/2006/main">
  <p:tag name="EE4P_MAPWIZARD_ID" val="VU"/>
  <p:tag name="EE4P_MAPWIZARD_HEADINGS" val="Admin 0\Continent\UN Region\UN Sub Region"/>
  <p:tag name="EE4P_MAPWIZARD" val="Vanuatu\Oceania\Oceania\Melanesia"/>
</p:tagLst>
</file>

<file path=ppt/tags/tag594.xml><?xml version="1.0" encoding="utf-8"?>
<p:tagLst xmlns:a="http://schemas.openxmlformats.org/drawingml/2006/main" xmlns:r="http://schemas.openxmlformats.org/officeDocument/2006/relationships" xmlns:p="http://schemas.openxmlformats.org/presentationml/2006/main">
  <p:tag name="EE4P_MAPWIZARD_ID" val="YE"/>
  <p:tag name="EE4P_MAPWIZARD_HEADINGS" val="Admin 0\Continent\UN Region\UN Sub Region"/>
  <p:tag name="EE4P_MAPWIZARD" val="Yemen\Asia\Asia\Western Asia"/>
</p:tagLst>
</file>

<file path=ppt/tags/tag595.xml><?xml version="1.0" encoding="utf-8"?>
<p:tagLst xmlns:a="http://schemas.openxmlformats.org/drawingml/2006/main" xmlns:r="http://schemas.openxmlformats.org/officeDocument/2006/relationships" xmlns:p="http://schemas.openxmlformats.org/presentationml/2006/main">
  <p:tag name="EE4P_MAPWIZARD_ID" val="ZA"/>
  <p:tag name="EE4P_MAPWIZARD_HEADINGS" val="Admin 0\Continent\UN Region\UN Sub Region"/>
  <p:tag name="EE4P_MAPWIZARD" val="South Africa\Africa\Africa\Southern Africa"/>
</p:tagLst>
</file>

<file path=ppt/tags/tag596.xml><?xml version="1.0" encoding="utf-8"?>
<p:tagLst xmlns:a="http://schemas.openxmlformats.org/drawingml/2006/main" xmlns:r="http://schemas.openxmlformats.org/officeDocument/2006/relationships" xmlns:p="http://schemas.openxmlformats.org/presentationml/2006/main">
  <p:tag name="EE4P_MAPWIZARD_ID" val="ZM"/>
  <p:tag name="EE4P_MAPWIZARD_HEADINGS" val="Admin 0\Continent\UN Region\UN Sub Region"/>
  <p:tag name="EE4P_MAPWIZARD" val="Zambia\Africa\Africa\Eastern Africa"/>
</p:tagLst>
</file>

<file path=ppt/tags/tag597.xml><?xml version="1.0" encoding="utf-8"?>
<p:tagLst xmlns:a="http://schemas.openxmlformats.org/drawingml/2006/main" xmlns:r="http://schemas.openxmlformats.org/officeDocument/2006/relationships" xmlns:p="http://schemas.openxmlformats.org/presentationml/2006/main">
  <p:tag name="EE4P_MAPWIZARD_ID" val="ZW"/>
  <p:tag name="EE4P_MAPWIZARD_HEADINGS" val="Admin 0\Continent\UN Region\UN Sub Region"/>
  <p:tag name="EE4P_MAPWIZARD" val="Zimbabwe\Africa\Africa\Eastern Africa"/>
</p:tagLst>
</file>

<file path=ppt/tags/tag598.xml><?xml version="1.0" encoding="utf-8"?>
<p:tagLst xmlns:a="http://schemas.openxmlformats.org/drawingml/2006/main" xmlns:r="http://schemas.openxmlformats.org/officeDocument/2006/relationships" xmlns:p="http://schemas.openxmlformats.org/presentationml/2006/main">
  <p:tag name="EE4P_MAPWIZARD_ID" val="FJ"/>
  <p:tag name="EE4P_MAPWIZARD_HEADINGS" val="Admin 0\Continent\UN Region\UN Sub Region"/>
  <p:tag name="EE4P_MAPWIZARD" val="Fiji\Oceania\Oceania\Melanesia"/>
</p:tagLst>
</file>

<file path=ppt/tags/tag599.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6.xml><?xml version="1.0" encoding="utf-8"?>
<p:tagLst xmlns:a="http://schemas.openxmlformats.org/drawingml/2006/main" xmlns:r="http://schemas.openxmlformats.org/officeDocument/2006/relationships" xmlns:p="http://schemas.openxmlformats.org/presentationml/2006/main">
  <p:tag name="SHAPE" val="OLD"/>
</p:tagLst>
</file>

<file path=ppt/tags/tag60.xml><?xml version="1.0" encoding="utf-8"?>
<p:tagLst xmlns:a="http://schemas.openxmlformats.org/drawingml/2006/main" xmlns:r="http://schemas.openxmlformats.org/officeDocument/2006/relationships" xmlns:p="http://schemas.openxmlformats.org/presentationml/2006/main">
  <p:tag name="SHAPE" val="OLD"/>
</p:tagLst>
</file>

<file path=ppt/tags/tag600.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601.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602.xml><?xml version="1.0" encoding="utf-8"?>
<p:tagLst xmlns:a="http://schemas.openxmlformats.org/drawingml/2006/main" xmlns:r="http://schemas.openxmlformats.org/officeDocument/2006/relationships" xmlns:p="http://schemas.openxmlformats.org/presentationml/2006/main">
  <p:tag name="SHAPE" val="OLD"/>
</p:tagLst>
</file>

<file path=ppt/tags/tag603.xml><?xml version="1.0" encoding="utf-8"?>
<p:tagLst xmlns:a="http://schemas.openxmlformats.org/drawingml/2006/main" xmlns:r="http://schemas.openxmlformats.org/officeDocument/2006/relationships" xmlns:p="http://schemas.openxmlformats.org/presentationml/2006/main">
  <p:tag name="SHAPE" val="OLD"/>
</p:tagLst>
</file>

<file path=ppt/tags/tag604.xml><?xml version="1.0" encoding="utf-8"?>
<p:tagLst xmlns:a="http://schemas.openxmlformats.org/drawingml/2006/main" xmlns:r="http://schemas.openxmlformats.org/officeDocument/2006/relationships" xmlns:p="http://schemas.openxmlformats.org/presentationml/2006/main">
  <p:tag name="SHAPE" val="OLD"/>
</p:tagLst>
</file>

<file path=ppt/tags/tag605.xml><?xml version="1.0" encoding="utf-8"?>
<p:tagLst xmlns:a="http://schemas.openxmlformats.org/drawingml/2006/main" xmlns:r="http://schemas.openxmlformats.org/officeDocument/2006/relationships" xmlns:p="http://schemas.openxmlformats.org/presentationml/2006/main">
  <p:tag name="SHAPE" val="OLD"/>
</p:tagLst>
</file>

<file path=ppt/tags/tag606.xml><?xml version="1.0" encoding="utf-8"?>
<p:tagLst xmlns:a="http://schemas.openxmlformats.org/drawingml/2006/main" xmlns:r="http://schemas.openxmlformats.org/officeDocument/2006/relationships" xmlns:p="http://schemas.openxmlformats.org/presentationml/2006/main">
  <p:tag name="SHAPE" val="OLD"/>
</p:tagLst>
</file>

<file path=ppt/tags/tag607.xml><?xml version="1.0" encoding="utf-8"?>
<p:tagLst xmlns:a="http://schemas.openxmlformats.org/drawingml/2006/main" xmlns:r="http://schemas.openxmlformats.org/officeDocument/2006/relationships" xmlns:p="http://schemas.openxmlformats.org/presentationml/2006/main">
  <p:tag name="SHAPE" val="OLD"/>
</p:tagLst>
</file>

<file path=ppt/tags/tag608.xml><?xml version="1.0" encoding="utf-8"?>
<p:tagLst xmlns:a="http://schemas.openxmlformats.org/drawingml/2006/main" xmlns:r="http://schemas.openxmlformats.org/officeDocument/2006/relationships" xmlns:p="http://schemas.openxmlformats.org/presentationml/2006/main">
  <p:tag name="SHAPE" val="OLD"/>
</p:tagLst>
</file>

<file path=ppt/tags/tag609.xml><?xml version="1.0" encoding="utf-8"?>
<p:tagLst xmlns:a="http://schemas.openxmlformats.org/drawingml/2006/main" xmlns:r="http://schemas.openxmlformats.org/officeDocument/2006/relationships" xmlns:p="http://schemas.openxmlformats.org/presentationml/2006/main">
  <p:tag name="SHAPE" val="OLD"/>
</p:tagLst>
</file>

<file path=ppt/tags/tag61.xml><?xml version="1.0" encoding="utf-8"?>
<p:tagLst xmlns:a="http://schemas.openxmlformats.org/drawingml/2006/main" xmlns:r="http://schemas.openxmlformats.org/officeDocument/2006/relationships" xmlns:p="http://schemas.openxmlformats.org/presentationml/2006/main">
  <p:tag name="SHAPE" val="OLD"/>
</p:tagLst>
</file>

<file path=ppt/tags/tag610.xml><?xml version="1.0" encoding="utf-8"?>
<p:tagLst xmlns:a="http://schemas.openxmlformats.org/drawingml/2006/main" xmlns:r="http://schemas.openxmlformats.org/officeDocument/2006/relationships" xmlns:p="http://schemas.openxmlformats.org/presentationml/2006/main">
  <p:tag name="SHAPE" val="OLD"/>
</p:tagLst>
</file>

<file path=ppt/tags/tag611.xml><?xml version="1.0" encoding="utf-8"?>
<p:tagLst xmlns:a="http://schemas.openxmlformats.org/drawingml/2006/main" xmlns:r="http://schemas.openxmlformats.org/officeDocument/2006/relationships" xmlns:p="http://schemas.openxmlformats.org/presentationml/2006/main">
  <p:tag name="SHAPE" val="OLD"/>
</p:tagLst>
</file>

<file path=ppt/tags/tag612.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
  <p:tag name="EE4P_MAPWIZARD" val="Cyprus"/>
</p:tagLst>
</file>

<file path=ppt/tags/tag613.xml><?xml version="1.0" encoding="utf-8"?>
<p:tagLst xmlns:a="http://schemas.openxmlformats.org/drawingml/2006/main" xmlns:r="http://schemas.openxmlformats.org/officeDocument/2006/relationships" xmlns:p="http://schemas.openxmlformats.org/presentationml/2006/main">
  <p:tag name="EE4P_MAPWIZARD_ID" val="GE"/>
  <p:tag name="EE4P_MAPWIZARD_HEADINGS" val="Admin 0"/>
  <p:tag name="EE4P_MAPWIZARD" val="Georgia"/>
</p:tagLst>
</file>

<file path=ppt/tags/tag614.xml><?xml version="1.0" encoding="utf-8"?>
<p:tagLst xmlns:a="http://schemas.openxmlformats.org/drawingml/2006/main" xmlns:r="http://schemas.openxmlformats.org/officeDocument/2006/relationships" xmlns:p="http://schemas.openxmlformats.org/presentationml/2006/main">
  <p:tag name="EE4P_MAPWIZARD_ID" val="IQ"/>
  <p:tag name="EE4P_MAPWIZARD_HEADINGS" val="Admin 0"/>
  <p:tag name="EE4P_MAPWIZARD" val="Iraq"/>
</p:tagLst>
</file>

<file path=ppt/tags/tag615.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0"/>
  <p:tag name="EE4P_MAPWIZARD" val="Syria"/>
</p:tagLst>
</file>

<file path=ppt/tags/tag616.xml><?xml version="1.0" encoding="utf-8"?>
<p:tagLst xmlns:a="http://schemas.openxmlformats.org/drawingml/2006/main" xmlns:r="http://schemas.openxmlformats.org/officeDocument/2006/relationships" xmlns:p="http://schemas.openxmlformats.org/presentationml/2006/main">
  <p:tag name="EE4P_MAPWIZARD_ID" val="TR"/>
  <p:tag name="EE4P_MAPWIZARD_HEADINGS" val="Admin 0"/>
  <p:tag name="EE4P_MAPWIZARD" val="Turkey"/>
</p:tagLst>
</file>

<file path=ppt/tags/tag617.xml><?xml version="1.0" encoding="utf-8"?>
<p:tagLst xmlns:a="http://schemas.openxmlformats.org/drawingml/2006/main" xmlns:r="http://schemas.openxmlformats.org/officeDocument/2006/relationships" xmlns:p="http://schemas.openxmlformats.org/presentationml/2006/main">
  <p:tag name="EE4P_MAPWIZARD_ID" val="RU"/>
  <p:tag name="EE4P_MAPWIZARD_HEADINGS" val="Admin 0"/>
  <p:tag name="EE4P_MAPWIZARD" val="Russia"/>
</p:tagLst>
</file>

<file path=ppt/tags/tag618.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
  <p:tag name="EE4P_MAPWIZARD" val="Albania"/>
</p:tagLst>
</file>

<file path=ppt/tags/tag619.xml><?xml version="1.0" encoding="utf-8"?>
<p:tagLst xmlns:a="http://schemas.openxmlformats.org/drawingml/2006/main" xmlns:r="http://schemas.openxmlformats.org/officeDocument/2006/relationships" xmlns:p="http://schemas.openxmlformats.org/presentationml/2006/main">
  <p:tag name="EE4P_MAPWIZARD_ID" val="AD"/>
  <p:tag name="EE4P_MAPWIZARD_HEADINGS" val="Admin 0"/>
  <p:tag name="EE4P_MAPWIZARD" val="Andorra"/>
</p:tagLst>
</file>

<file path=ppt/tags/tag62.xml><?xml version="1.0" encoding="utf-8"?>
<p:tagLst xmlns:a="http://schemas.openxmlformats.org/drawingml/2006/main" xmlns:r="http://schemas.openxmlformats.org/officeDocument/2006/relationships" xmlns:p="http://schemas.openxmlformats.org/presentationml/2006/main">
  <p:tag name="SHAPE" val="OLD"/>
</p:tagLst>
</file>

<file path=ppt/tags/tag620.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
  <p:tag name="EE4P_MAPWIZARD" val="Austria"/>
</p:tagLst>
</file>

<file path=ppt/tags/tag621.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
  <p:tag name="EE4P_MAPWIZARD" val="Belgium"/>
</p:tagLst>
</file>

<file path=ppt/tags/tag622.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
  <p:tag name="EE4P_MAPWIZARD" val="Bulgaria"/>
</p:tagLst>
</file>

<file path=ppt/tags/tag623.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
  <p:tag name="EE4P_MAPWIZARD" val="Bosnia and Herzegovina"/>
</p:tagLst>
</file>

<file path=ppt/tags/tag624.xml><?xml version="1.0" encoding="utf-8"?>
<p:tagLst xmlns:a="http://schemas.openxmlformats.org/drawingml/2006/main" xmlns:r="http://schemas.openxmlformats.org/officeDocument/2006/relationships" xmlns:p="http://schemas.openxmlformats.org/presentationml/2006/main">
  <p:tag name="EE4P_MAPWIZARD_ID" val="BY"/>
  <p:tag name="EE4P_MAPWIZARD_HEADINGS" val="Admin 0"/>
  <p:tag name="EE4P_MAPWIZARD" val="Belarus"/>
</p:tagLst>
</file>

<file path=ppt/tags/tag625.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
  <p:tag name="EE4P_MAPWIZARD" val="Switzerland"/>
</p:tagLst>
</file>

<file path=ppt/tags/tag626.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
  <p:tag name="EE4P_MAPWIZARD" val="Czech Republic"/>
</p:tagLst>
</file>

<file path=ppt/tags/tag627.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
  <p:tag name="EE4P_MAPWIZARD" val="Germany"/>
</p:tagLst>
</file>

<file path=ppt/tags/tag628.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629.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63.xml><?xml version="1.0" encoding="utf-8"?>
<p:tagLst xmlns:a="http://schemas.openxmlformats.org/drawingml/2006/main" xmlns:r="http://schemas.openxmlformats.org/officeDocument/2006/relationships" xmlns:p="http://schemas.openxmlformats.org/presentationml/2006/main">
  <p:tag name="SHAPE" val="OLD"/>
</p:tagLst>
</file>

<file path=ppt/tags/tag630.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631.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632.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
  <p:tag name="EE4P_MAPWIZARD" val="Estonia"/>
</p:tagLst>
</file>

<file path=ppt/tags/tag633.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
  <p:tag name="EE4P_MAPWIZARD" val="Finland"/>
</p:tagLst>
</file>

<file path=ppt/tags/tag634.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
  <p:tag name="EE4P_MAPWIZARD" val="France"/>
</p:tagLst>
</file>

<file path=ppt/tags/tag635.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
  <p:tag name="EE4P_MAPWIZARD" val="United Kingdom"/>
</p:tagLst>
</file>

<file path=ppt/tags/tag636.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
  <p:tag name="EE4P_MAPWIZARD" val="Greece"/>
</p:tagLst>
</file>

<file path=ppt/tags/tag637.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
  <p:tag name="EE4P_MAPWIZARD" val="Croatia"/>
</p:tagLst>
</file>

<file path=ppt/tags/tag638.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
  <p:tag name="EE4P_MAPWIZARD" val="Hungary"/>
</p:tagLst>
</file>

<file path=ppt/tags/tag639.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
  <p:tag name="EE4P_MAPWIZARD" val="Ireland"/>
</p:tagLst>
</file>

<file path=ppt/tags/tag64.xml><?xml version="1.0" encoding="utf-8"?>
<p:tagLst xmlns:a="http://schemas.openxmlformats.org/drawingml/2006/main" xmlns:r="http://schemas.openxmlformats.org/officeDocument/2006/relationships" xmlns:p="http://schemas.openxmlformats.org/presentationml/2006/main">
  <p:tag name="SHAPE" val="OLD"/>
</p:tagLst>
</file>

<file path=ppt/tags/tag640.xml><?xml version="1.0" encoding="utf-8"?>
<p:tagLst xmlns:a="http://schemas.openxmlformats.org/drawingml/2006/main" xmlns:r="http://schemas.openxmlformats.org/officeDocument/2006/relationships" xmlns:p="http://schemas.openxmlformats.org/presentationml/2006/main">
  <p:tag name="EE4P_MAPWIZARD_ID" val="IS"/>
  <p:tag name="EE4P_MAPWIZARD_HEADINGS" val="Admin 0"/>
  <p:tag name="EE4P_MAPWIZARD" val="Iceland"/>
</p:tagLst>
</file>

<file path=ppt/tags/tag641.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642.xml><?xml version="1.0" encoding="utf-8"?>
<p:tagLst xmlns:a="http://schemas.openxmlformats.org/drawingml/2006/main" xmlns:r="http://schemas.openxmlformats.org/officeDocument/2006/relationships" xmlns:p="http://schemas.openxmlformats.org/presentationml/2006/main">
  <p:tag name="EE4P_MAPWIZARD_ID" val="SM"/>
  <p:tag name="EE4P_MAPWIZARD_HEADINGS" val="Admin 0"/>
  <p:tag name="EE4P_MAPWIZARD" val="San Marino"/>
</p:tagLst>
</file>

<file path=ppt/tags/tag643.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
  <p:tag name="EE4P_MAPWIZARD" val="Kosovo"/>
</p:tagLst>
</file>

<file path=ppt/tags/tag644.xml><?xml version="1.0" encoding="utf-8"?>
<p:tagLst xmlns:a="http://schemas.openxmlformats.org/drawingml/2006/main" xmlns:r="http://schemas.openxmlformats.org/officeDocument/2006/relationships" xmlns:p="http://schemas.openxmlformats.org/presentationml/2006/main">
  <p:tag name="EE4P_MAPWIZARD_ID" val="LI"/>
  <p:tag name="EE4P_MAPWIZARD_HEADINGS" val="Admin 0"/>
  <p:tag name="EE4P_MAPWIZARD" val="Liechtenstein"/>
</p:tagLst>
</file>

<file path=ppt/tags/tag645.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
  <p:tag name="EE4P_MAPWIZARD" val="Lithuania"/>
</p:tagLst>
</file>

<file path=ppt/tags/tag646.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
  <p:tag name="EE4P_MAPWIZARD" val="Luxembourg"/>
</p:tagLst>
</file>

<file path=ppt/tags/tag647.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
  <p:tag name="EE4P_MAPWIZARD" val="Latvia"/>
</p:tagLst>
</file>

<file path=ppt/tags/tag648.xml><?xml version="1.0" encoding="utf-8"?>
<p:tagLst xmlns:a="http://schemas.openxmlformats.org/drawingml/2006/main" xmlns:r="http://schemas.openxmlformats.org/officeDocument/2006/relationships" xmlns:p="http://schemas.openxmlformats.org/presentationml/2006/main">
  <p:tag name="EE4P_MAPWIZARD_ID" val="MC"/>
  <p:tag name="EE4P_MAPWIZARD_HEADINGS" val="Admin 0"/>
  <p:tag name="EE4P_MAPWIZARD" val="Monaco"/>
</p:tagLst>
</file>

<file path=ppt/tags/tag649.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
  <p:tag name="EE4P_MAPWIZARD" val="Moldova"/>
</p:tagLst>
</file>

<file path=ppt/tags/tag65.xml><?xml version="1.0" encoding="utf-8"?>
<p:tagLst xmlns:a="http://schemas.openxmlformats.org/drawingml/2006/main" xmlns:r="http://schemas.openxmlformats.org/officeDocument/2006/relationships" xmlns:p="http://schemas.openxmlformats.org/presentationml/2006/main">
  <p:tag name="SHAPE" val="OLD"/>
</p:tagLst>
</file>

<file path=ppt/tags/tag650.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
  <p:tag name="EE4P_MAPWIZARD" val="Macedonia"/>
</p:tagLst>
</file>

<file path=ppt/tags/tag651.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652.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653.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
  <p:tag name="EE4P_MAPWIZARD" val="Montenegro"/>
</p:tagLst>
</file>

<file path=ppt/tags/tag654.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
  <p:tag name="EE4P_MAPWIZARD" val="Netherlands"/>
</p:tagLst>
</file>

<file path=ppt/tags/tag655.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
  <p:tag name="EE4P_MAPWIZARD" val="Norway"/>
</p:tagLst>
</file>

<file path=ppt/tags/tag656.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
  <p:tag name="EE4P_MAPWIZARD" val="Poland"/>
</p:tagLst>
</file>

<file path=ppt/tags/tag657.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
  <p:tag name="EE4P_MAPWIZARD" val="Portugal"/>
</p:tagLst>
</file>

<file path=ppt/tags/tag658.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
  <p:tag name="EE4P_MAPWIZARD" val="Romania"/>
</p:tagLst>
</file>

<file path=ppt/tags/tag659.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66.xml><?xml version="1.0" encoding="utf-8"?>
<p:tagLst xmlns:a="http://schemas.openxmlformats.org/drawingml/2006/main" xmlns:r="http://schemas.openxmlformats.org/officeDocument/2006/relationships" xmlns:p="http://schemas.openxmlformats.org/presentationml/2006/main">
  <p:tag name="SHAPE" val="OLD"/>
</p:tagLst>
</file>

<file path=ppt/tags/tag660.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
  <p:tag name="EE4P_MAPWIZARD" val="Republic of Serbia"/>
</p:tagLst>
</file>

<file path=ppt/tags/tag661.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
  <p:tag name="EE4P_MAPWIZARD" val="Slovakia"/>
</p:tagLst>
</file>

<file path=ppt/tags/tag662.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
  <p:tag name="EE4P_MAPWIZARD" val="Slovenia"/>
</p:tagLst>
</file>

<file path=ppt/tags/tag663.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
  <p:tag name="EE4P_MAPWIZARD" val="Sweden"/>
</p:tagLst>
</file>

<file path=ppt/tags/tag664.xml><?xml version="1.0" encoding="utf-8"?>
<p:tagLst xmlns:a="http://schemas.openxmlformats.org/drawingml/2006/main" xmlns:r="http://schemas.openxmlformats.org/officeDocument/2006/relationships" xmlns:p="http://schemas.openxmlformats.org/presentationml/2006/main">
  <p:tag name="EE4P_MAPWIZARD_ID" val="UA"/>
  <p:tag name="EE4P_MAPWIZARD_HEADINGS" val="Admin 0"/>
  <p:tag name="EE4P_MAPWIZARD" val="Ukraine"/>
</p:tagLst>
</file>

<file path=ppt/tags/tag665.xml><?xml version="1.0" encoding="utf-8"?>
<p:tagLst xmlns:a="http://schemas.openxmlformats.org/drawingml/2006/main" xmlns:r="http://schemas.openxmlformats.org/officeDocument/2006/relationships" xmlns:p="http://schemas.openxmlformats.org/presentationml/2006/main">
  <p:tag name="EE4P_MAPWIZARD_ID" val="VA"/>
  <p:tag name="EE4P_MAPWIZARD_HEADINGS" val="Admin 0"/>
  <p:tag name="EE4P_MAPWIZARD" val="Vatican"/>
</p:tagLst>
</file>

<file path=ppt/tags/tag666.xml><?xml version="1.0" encoding="utf-8"?>
<p:tagLst xmlns:a="http://schemas.openxmlformats.org/drawingml/2006/main" xmlns:r="http://schemas.openxmlformats.org/officeDocument/2006/relationships" xmlns:p="http://schemas.openxmlformats.org/presentationml/2006/main">
  <p:tag name="SHAPE" val="OLD"/>
</p:tagLst>
</file>

<file path=ppt/tags/tag667.xml><?xml version="1.0" encoding="utf-8"?>
<p:tagLst xmlns:a="http://schemas.openxmlformats.org/drawingml/2006/main" xmlns:r="http://schemas.openxmlformats.org/officeDocument/2006/relationships" xmlns:p="http://schemas.openxmlformats.org/presentationml/2006/main">
  <p:tag name="SHAPE" val="OLD"/>
</p:tagLst>
</file>

<file path=ppt/tags/tag668.xml><?xml version="1.0" encoding="utf-8"?>
<p:tagLst xmlns:a="http://schemas.openxmlformats.org/drawingml/2006/main" xmlns:r="http://schemas.openxmlformats.org/officeDocument/2006/relationships" xmlns:p="http://schemas.openxmlformats.org/presentationml/2006/main">
  <p:tag name="SHAPE" val="OLD"/>
</p:tagLst>
</file>

<file path=ppt/tags/tag669.xml><?xml version="1.0" encoding="utf-8"?>
<p:tagLst xmlns:a="http://schemas.openxmlformats.org/drawingml/2006/main" xmlns:r="http://schemas.openxmlformats.org/officeDocument/2006/relationships" xmlns:p="http://schemas.openxmlformats.org/presentationml/2006/main">
  <p:tag name="SHAPE" val="OLD"/>
</p:tagLst>
</file>

<file path=ppt/tags/tag67.xml><?xml version="1.0" encoding="utf-8"?>
<p:tagLst xmlns:a="http://schemas.openxmlformats.org/drawingml/2006/main" xmlns:r="http://schemas.openxmlformats.org/officeDocument/2006/relationships" xmlns:p="http://schemas.openxmlformats.org/presentationml/2006/main">
  <p:tag name="SHAPE" val="OLD"/>
</p:tagLst>
</file>

<file path=ppt/tags/tag670.xml><?xml version="1.0" encoding="utf-8"?>
<p:tagLst xmlns:a="http://schemas.openxmlformats.org/drawingml/2006/main" xmlns:r="http://schemas.openxmlformats.org/officeDocument/2006/relationships" xmlns:p="http://schemas.openxmlformats.org/presentationml/2006/main">
  <p:tag name="SHAPE" val="OLD"/>
</p:tagLst>
</file>

<file path=ppt/tags/tag671.xml><?xml version="1.0" encoding="utf-8"?>
<p:tagLst xmlns:a="http://schemas.openxmlformats.org/drawingml/2006/main" xmlns:r="http://schemas.openxmlformats.org/officeDocument/2006/relationships" xmlns:p="http://schemas.openxmlformats.org/presentationml/2006/main">
  <p:tag name="SHAPE" val="OLD"/>
</p:tagLst>
</file>

<file path=ppt/tags/tag672.xml><?xml version="1.0" encoding="utf-8"?>
<p:tagLst xmlns:a="http://schemas.openxmlformats.org/drawingml/2006/main" xmlns:r="http://schemas.openxmlformats.org/officeDocument/2006/relationships" xmlns:p="http://schemas.openxmlformats.org/presentationml/2006/main">
  <p:tag name="SHAPE" val="OLD"/>
</p:tagLst>
</file>

<file path=ppt/tags/tag673.xml><?xml version="1.0" encoding="utf-8"?>
<p:tagLst xmlns:a="http://schemas.openxmlformats.org/drawingml/2006/main" xmlns:r="http://schemas.openxmlformats.org/officeDocument/2006/relationships" xmlns:p="http://schemas.openxmlformats.org/presentationml/2006/main">
  <p:tag name="SHAPE" val="OLD"/>
</p:tagLst>
</file>

<file path=ppt/tags/tag674.xml><?xml version="1.0" encoding="utf-8"?>
<p:tagLst xmlns:a="http://schemas.openxmlformats.org/drawingml/2006/main" xmlns:r="http://schemas.openxmlformats.org/officeDocument/2006/relationships" xmlns:p="http://schemas.openxmlformats.org/presentationml/2006/main">
  <p:tag name="SHAPE" val="OLD"/>
</p:tagLst>
</file>

<file path=ppt/tags/tag675.xml><?xml version="1.0" encoding="utf-8"?>
<p:tagLst xmlns:a="http://schemas.openxmlformats.org/drawingml/2006/main" xmlns:r="http://schemas.openxmlformats.org/officeDocument/2006/relationships" xmlns:p="http://schemas.openxmlformats.org/presentationml/2006/main">
  <p:tag name="SHAPE" val="OLD"/>
</p:tagLst>
</file>

<file path=ppt/tags/tag676.xml><?xml version="1.0" encoding="utf-8"?>
<p:tagLst xmlns:a="http://schemas.openxmlformats.org/drawingml/2006/main" xmlns:r="http://schemas.openxmlformats.org/officeDocument/2006/relationships" xmlns:p="http://schemas.openxmlformats.org/presentationml/2006/main">
  <p:tag name="SHAPE" val="OLD"/>
</p:tagLst>
</file>

<file path=ppt/tags/tag677.xml><?xml version="1.0" encoding="utf-8"?>
<p:tagLst xmlns:a="http://schemas.openxmlformats.org/drawingml/2006/main" xmlns:r="http://schemas.openxmlformats.org/officeDocument/2006/relationships" xmlns:p="http://schemas.openxmlformats.org/presentationml/2006/main">
  <p:tag name="SHAPE" val="OLD"/>
</p:tagLst>
</file>

<file path=ppt/tags/tag678.xml><?xml version="1.0" encoding="utf-8"?>
<p:tagLst xmlns:a="http://schemas.openxmlformats.org/drawingml/2006/main" xmlns:r="http://schemas.openxmlformats.org/officeDocument/2006/relationships" xmlns:p="http://schemas.openxmlformats.org/presentationml/2006/main">
  <p:tag name="SHAPE" val="OLD"/>
</p:tagLst>
</file>

<file path=ppt/tags/tag679.xml><?xml version="1.0" encoding="utf-8"?>
<p:tagLst xmlns:a="http://schemas.openxmlformats.org/drawingml/2006/main" xmlns:r="http://schemas.openxmlformats.org/officeDocument/2006/relationships" xmlns:p="http://schemas.openxmlformats.org/presentationml/2006/main">
  <p:tag name="SHAPE" val="OLD"/>
</p:tagLst>
</file>

<file path=ppt/tags/tag68.xml><?xml version="1.0" encoding="utf-8"?>
<p:tagLst xmlns:a="http://schemas.openxmlformats.org/drawingml/2006/main" xmlns:r="http://schemas.openxmlformats.org/officeDocument/2006/relationships" xmlns:p="http://schemas.openxmlformats.org/presentationml/2006/main">
  <p:tag name="SHAPE" val="OLD"/>
</p:tagLst>
</file>

<file path=ppt/tags/tag680.xml><?xml version="1.0" encoding="utf-8"?>
<p:tagLst xmlns:a="http://schemas.openxmlformats.org/drawingml/2006/main" xmlns:r="http://schemas.openxmlformats.org/officeDocument/2006/relationships" xmlns:p="http://schemas.openxmlformats.org/presentationml/2006/main">
  <p:tag name="SHAPE" val="OLD"/>
</p:tagLst>
</file>

<file path=ppt/tags/tag681.xml><?xml version="1.0" encoding="utf-8"?>
<p:tagLst xmlns:a="http://schemas.openxmlformats.org/drawingml/2006/main" xmlns:r="http://schemas.openxmlformats.org/officeDocument/2006/relationships" xmlns:p="http://schemas.openxmlformats.org/presentationml/2006/main">
  <p:tag name="SHAPE" val="OLD"/>
</p:tagLst>
</file>

<file path=ppt/tags/tag682.xml><?xml version="1.0" encoding="utf-8"?>
<p:tagLst xmlns:a="http://schemas.openxmlformats.org/drawingml/2006/main" xmlns:r="http://schemas.openxmlformats.org/officeDocument/2006/relationships" xmlns:p="http://schemas.openxmlformats.org/presentationml/2006/main">
  <p:tag name="SHAPE" val="OLD"/>
</p:tagLst>
</file>

<file path=ppt/tags/tag683.xml><?xml version="1.0" encoding="utf-8"?>
<p:tagLst xmlns:a="http://schemas.openxmlformats.org/drawingml/2006/main" xmlns:r="http://schemas.openxmlformats.org/officeDocument/2006/relationships" xmlns:p="http://schemas.openxmlformats.org/presentationml/2006/main">
  <p:tag name="SHAPE" val="OLD"/>
</p:tagLst>
</file>

<file path=ppt/tags/tag684.xml><?xml version="1.0" encoding="utf-8"?>
<p:tagLst xmlns:a="http://schemas.openxmlformats.org/drawingml/2006/main" xmlns:r="http://schemas.openxmlformats.org/officeDocument/2006/relationships" xmlns:p="http://schemas.openxmlformats.org/presentationml/2006/main">
  <p:tag name="SHAPE" val="OLD"/>
</p:tagLst>
</file>

<file path=ppt/tags/tag685.xml><?xml version="1.0" encoding="utf-8"?>
<p:tagLst xmlns:a="http://schemas.openxmlformats.org/drawingml/2006/main" xmlns:r="http://schemas.openxmlformats.org/officeDocument/2006/relationships" xmlns:p="http://schemas.openxmlformats.org/presentationml/2006/main">
  <p:tag name="SHAPE" val="OLD"/>
</p:tagLst>
</file>

<file path=ppt/tags/tag686.xml><?xml version="1.0" encoding="utf-8"?>
<p:tagLst xmlns:a="http://schemas.openxmlformats.org/drawingml/2006/main" xmlns:r="http://schemas.openxmlformats.org/officeDocument/2006/relationships" xmlns:p="http://schemas.openxmlformats.org/presentationml/2006/main">
  <p:tag name="SHAPE" val="OLD"/>
</p:tagLst>
</file>

<file path=ppt/tags/tag687.xml><?xml version="1.0" encoding="utf-8"?>
<p:tagLst xmlns:a="http://schemas.openxmlformats.org/drawingml/2006/main" xmlns:r="http://schemas.openxmlformats.org/officeDocument/2006/relationships" xmlns:p="http://schemas.openxmlformats.org/presentationml/2006/main">
  <p:tag name="SHAPE" val="OLD"/>
</p:tagLst>
</file>

<file path=ppt/tags/tag688.xml><?xml version="1.0" encoding="utf-8"?>
<p:tagLst xmlns:a="http://schemas.openxmlformats.org/drawingml/2006/main" xmlns:r="http://schemas.openxmlformats.org/officeDocument/2006/relationships" xmlns:p="http://schemas.openxmlformats.org/presentationml/2006/main">
  <p:tag name="SHAPE" val="OLD"/>
</p:tagLst>
</file>

<file path=ppt/tags/tag689.xml><?xml version="1.0" encoding="utf-8"?>
<p:tagLst xmlns:a="http://schemas.openxmlformats.org/drawingml/2006/main" xmlns:r="http://schemas.openxmlformats.org/officeDocument/2006/relationships" xmlns:p="http://schemas.openxmlformats.org/presentationml/2006/main">
  <p:tag name="SHAPE" val="OLD"/>
</p:tagLst>
</file>

<file path=ppt/tags/tag69.xml><?xml version="1.0" encoding="utf-8"?>
<p:tagLst xmlns:a="http://schemas.openxmlformats.org/drawingml/2006/main" xmlns:r="http://schemas.openxmlformats.org/officeDocument/2006/relationships" xmlns:p="http://schemas.openxmlformats.org/presentationml/2006/main">
  <p:tag name="SHAPE" val="OLD"/>
</p:tagLst>
</file>

<file path=ppt/tags/tag690.xml><?xml version="1.0" encoding="utf-8"?>
<p:tagLst xmlns:a="http://schemas.openxmlformats.org/drawingml/2006/main" xmlns:r="http://schemas.openxmlformats.org/officeDocument/2006/relationships" xmlns:p="http://schemas.openxmlformats.org/presentationml/2006/main">
  <p:tag name="SHAPE" val="OLD"/>
</p:tagLst>
</file>

<file path=ppt/tags/tag691.xml><?xml version="1.0" encoding="utf-8"?>
<p:tagLst xmlns:a="http://schemas.openxmlformats.org/drawingml/2006/main" xmlns:r="http://schemas.openxmlformats.org/officeDocument/2006/relationships" xmlns:p="http://schemas.openxmlformats.org/presentationml/2006/main">
  <p:tag name="SHAPE" val="OLD"/>
</p:tagLst>
</file>

<file path=ppt/tags/tag692.xml><?xml version="1.0" encoding="utf-8"?>
<p:tagLst xmlns:a="http://schemas.openxmlformats.org/drawingml/2006/main" xmlns:r="http://schemas.openxmlformats.org/officeDocument/2006/relationships" xmlns:p="http://schemas.openxmlformats.org/presentationml/2006/main">
  <p:tag name="SHAPE" val="OLD"/>
</p:tagLst>
</file>

<file path=ppt/tags/tag693.xml><?xml version="1.0" encoding="utf-8"?>
<p:tagLst xmlns:a="http://schemas.openxmlformats.org/drawingml/2006/main" xmlns:r="http://schemas.openxmlformats.org/officeDocument/2006/relationships" xmlns:p="http://schemas.openxmlformats.org/presentationml/2006/main">
  <p:tag name="SHAPE" val="OLD"/>
</p:tagLst>
</file>

<file path=ppt/tags/tag694.xml><?xml version="1.0" encoding="utf-8"?>
<p:tagLst xmlns:a="http://schemas.openxmlformats.org/drawingml/2006/main" xmlns:r="http://schemas.openxmlformats.org/officeDocument/2006/relationships" xmlns:p="http://schemas.openxmlformats.org/presentationml/2006/main">
  <p:tag name="SHAPE" val="OLD"/>
</p:tagLst>
</file>

<file path=ppt/tags/tag695.xml><?xml version="1.0" encoding="utf-8"?>
<p:tagLst xmlns:a="http://schemas.openxmlformats.org/drawingml/2006/main" xmlns:r="http://schemas.openxmlformats.org/officeDocument/2006/relationships" xmlns:p="http://schemas.openxmlformats.org/presentationml/2006/main">
  <p:tag name="SHAPE" val="OLD"/>
</p:tagLst>
</file>

<file path=ppt/tags/tag696.xml><?xml version="1.0" encoding="utf-8"?>
<p:tagLst xmlns:a="http://schemas.openxmlformats.org/drawingml/2006/main" xmlns:r="http://schemas.openxmlformats.org/officeDocument/2006/relationships" xmlns:p="http://schemas.openxmlformats.org/presentationml/2006/main">
  <p:tag name="SHAPE" val="OLD"/>
</p:tagLst>
</file>

<file path=ppt/tags/tag697.xml><?xml version="1.0" encoding="utf-8"?>
<p:tagLst xmlns:a="http://schemas.openxmlformats.org/drawingml/2006/main" xmlns:r="http://schemas.openxmlformats.org/officeDocument/2006/relationships" xmlns:p="http://schemas.openxmlformats.org/presentationml/2006/main">
  <p:tag name="SHAPE" val="OLD"/>
</p:tagLst>
</file>

<file path=ppt/tags/tag698.xml><?xml version="1.0" encoding="utf-8"?>
<p:tagLst xmlns:a="http://schemas.openxmlformats.org/drawingml/2006/main" xmlns:r="http://schemas.openxmlformats.org/officeDocument/2006/relationships" xmlns:p="http://schemas.openxmlformats.org/presentationml/2006/main">
  <p:tag name="SHAPE" val="OLD"/>
</p:tagLst>
</file>

<file path=ppt/tags/tag699.xml><?xml version="1.0" encoding="utf-8"?>
<p:tagLst xmlns:a="http://schemas.openxmlformats.org/drawingml/2006/main" xmlns:r="http://schemas.openxmlformats.org/officeDocument/2006/relationships" xmlns:p="http://schemas.openxmlformats.org/presentationml/2006/main">
  <p:tag name="SHAPE" val="OLD"/>
</p:tagLst>
</file>

<file path=ppt/tags/tag7.xml><?xml version="1.0" encoding="utf-8"?>
<p:tagLst xmlns:a="http://schemas.openxmlformats.org/drawingml/2006/main" xmlns:r="http://schemas.openxmlformats.org/officeDocument/2006/relationships" xmlns:p="http://schemas.openxmlformats.org/presentationml/2006/main">
  <p:tag name="SHAPE" val="OLD"/>
</p:tagLst>
</file>

<file path=ppt/tags/tag70.xml><?xml version="1.0" encoding="utf-8"?>
<p:tagLst xmlns:a="http://schemas.openxmlformats.org/drawingml/2006/main" xmlns:r="http://schemas.openxmlformats.org/officeDocument/2006/relationships" xmlns:p="http://schemas.openxmlformats.org/presentationml/2006/main">
  <p:tag name="SHAPE" val="OLD"/>
</p:tagLst>
</file>

<file path=ppt/tags/tag700.xml><?xml version="1.0" encoding="utf-8"?>
<p:tagLst xmlns:a="http://schemas.openxmlformats.org/drawingml/2006/main" xmlns:r="http://schemas.openxmlformats.org/officeDocument/2006/relationships" xmlns:p="http://schemas.openxmlformats.org/presentationml/2006/main">
  <p:tag name="SHAPE" val="OLD"/>
</p:tagLst>
</file>

<file path=ppt/tags/tag701.xml><?xml version="1.0" encoding="utf-8"?>
<p:tagLst xmlns:a="http://schemas.openxmlformats.org/drawingml/2006/main" xmlns:r="http://schemas.openxmlformats.org/officeDocument/2006/relationships" xmlns:p="http://schemas.openxmlformats.org/presentationml/2006/main">
  <p:tag name="SHAPE" val="OLD"/>
</p:tagLst>
</file>

<file path=ppt/tags/tag702.xml><?xml version="1.0" encoding="utf-8"?>
<p:tagLst xmlns:a="http://schemas.openxmlformats.org/drawingml/2006/main" xmlns:r="http://schemas.openxmlformats.org/officeDocument/2006/relationships" xmlns:p="http://schemas.openxmlformats.org/presentationml/2006/main">
  <p:tag name="SHAPE" val="OLD"/>
</p:tagLst>
</file>

<file path=ppt/tags/tag703.xml><?xml version="1.0" encoding="utf-8"?>
<p:tagLst xmlns:a="http://schemas.openxmlformats.org/drawingml/2006/main" xmlns:r="http://schemas.openxmlformats.org/officeDocument/2006/relationships" xmlns:p="http://schemas.openxmlformats.org/presentationml/2006/main">
  <p:tag name="SHAPE" val="OLD"/>
</p:tagLst>
</file>

<file path=ppt/tags/tag704.xml><?xml version="1.0" encoding="utf-8"?>
<p:tagLst xmlns:a="http://schemas.openxmlformats.org/drawingml/2006/main" xmlns:r="http://schemas.openxmlformats.org/officeDocument/2006/relationships" xmlns:p="http://schemas.openxmlformats.org/presentationml/2006/main">
  <p:tag name="SHAPE" val="OLD"/>
</p:tagLst>
</file>

<file path=ppt/tags/tag705.xml><?xml version="1.0" encoding="utf-8"?>
<p:tagLst xmlns:a="http://schemas.openxmlformats.org/drawingml/2006/main" xmlns:r="http://schemas.openxmlformats.org/officeDocument/2006/relationships" xmlns:p="http://schemas.openxmlformats.org/presentationml/2006/main">
  <p:tag name="SHAPE" val="OLD"/>
</p:tagLst>
</file>

<file path=ppt/tags/tag706.xml><?xml version="1.0" encoding="utf-8"?>
<p:tagLst xmlns:a="http://schemas.openxmlformats.org/drawingml/2006/main" xmlns:r="http://schemas.openxmlformats.org/officeDocument/2006/relationships" xmlns:p="http://schemas.openxmlformats.org/presentationml/2006/main">
  <p:tag name="SHAPE" val="OLD"/>
</p:tagLst>
</file>

<file path=ppt/tags/tag707.xml><?xml version="1.0" encoding="utf-8"?>
<p:tagLst xmlns:a="http://schemas.openxmlformats.org/drawingml/2006/main" xmlns:r="http://schemas.openxmlformats.org/officeDocument/2006/relationships" xmlns:p="http://schemas.openxmlformats.org/presentationml/2006/main">
  <p:tag name="SHAPE" val="OLD"/>
</p:tagLst>
</file>

<file path=ppt/tags/tag708.xml><?xml version="1.0" encoding="utf-8"?>
<p:tagLst xmlns:a="http://schemas.openxmlformats.org/drawingml/2006/main" xmlns:r="http://schemas.openxmlformats.org/officeDocument/2006/relationships" xmlns:p="http://schemas.openxmlformats.org/presentationml/2006/main">
  <p:tag name="SHAPE" val="OLD"/>
</p:tagLst>
</file>

<file path=ppt/tags/tag709.xml><?xml version="1.0" encoding="utf-8"?>
<p:tagLst xmlns:a="http://schemas.openxmlformats.org/drawingml/2006/main" xmlns:r="http://schemas.openxmlformats.org/officeDocument/2006/relationships" xmlns:p="http://schemas.openxmlformats.org/presentationml/2006/main">
  <p:tag name="SHAPE" val="OLD"/>
</p:tagLst>
</file>

<file path=ppt/tags/tag71.xml><?xml version="1.0" encoding="utf-8"?>
<p:tagLst xmlns:a="http://schemas.openxmlformats.org/drawingml/2006/main" xmlns:r="http://schemas.openxmlformats.org/officeDocument/2006/relationships" xmlns:p="http://schemas.openxmlformats.org/presentationml/2006/main">
  <p:tag name="SHAPE" val="OLD"/>
</p:tagLst>
</file>

<file path=ppt/tags/tag710.xml><?xml version="1.0" encoding="utf-8"?>
<p:tagLst xmlns:a="http://schemas.openxmlformats.org/drawingml/2006/main" xmlns:r="http://schemas.openxmlformats.org/officeDocument/2006/relationships" xmlns:p="http://schemas.openxmlformats.org/presentationml/2006/main">
  <p:tag name="SHAPE" val="OLD"/>
</p:tagLst>
</file>

<file path=ppt/tags/tag711.xml><?xml version="1.0" encoding="utf-8"?>
<p:tagLst xmlns:a="http://schemas.openxmlformats.org/drawingml/2006/main" xmlns:r="http://schemas.openxmlformats.org/officeDocument/2006/relationships" xmlns:p="http://schemas.openxmlformats.org/presentationml/2006/main">
  <p:tag name="SHAPE" val="OLD"/>
</p:tagLst>
</file>

<file path=ppt/tags/tag712.xml><?xml version="1.0" encoding="utf-8"?>
<p:tagLst xmlns:a="http://schemas.openxmlformats.org/drawingml/2006/main" xmlns:r="http://schemas.openxmlformats.org/officeDocument/2006/relationships" xmlns:p="http://schemas.openxmlformats.org/presentationml/2006/main">
  <p:tag name="SHAPE" val="OLD"/>
</p:tagLst>
</file>

<file path=ppt/tags/tag713.xml><?xml version="1.0" encoding="utf-8"?>
<p:tagLst xmlns:a="http://schemas.openxmlformats.org/drawingml/2006/main" xmlns:r="http://schemas.openxmlformats.org/officeDocument/2006/relationships" xmlns:p="http://schemas.openxmlformats.org/presentationml/2006/main">
  <p:tag name="SHAPE" val="OLD"/>
</p:tagLst>
</file>

<file path=ppt/tags/tag714.xml><?xml version="1.0" encoding="utf-8"?>
<p:tagLst xmlns:a="http://schemas.openxmlformats.org/drawingml/2006/main" xmlns:r="http://schemas.openxmlformats.org/officeDocument/2006/relationships" xmlns:p="http://schemas.openxmlformats.org/presentationml/2006/main">
  <p:tag name="SHAPE" val="OLD"/>
</p:tagLst>
</file>

<file path=ppt/tags/tag715.xml><?xml version="1.0" encoding="utf-8"?>
<p:tagLst xmlns:a="http://schemas.openxmlformats.org/drawingml/2006/main" xmlns:r="http://schemas.openxmlformats.org/officeDocument/2006/relationships" xmlns:p="http://schemas.openxmlformats.org/presentationml/2006/main">
  <p:tag name="SHAPE" val="OLD"/>
</p:tagLst>
</file>

<file path=ppt/tags/tag716.xml><?xml version="1.0" encoding="utf-8"?>
<p:tagLst xmlns:a="http://schemas.openxmlformats.org/drawingml/2006/main" xmlns:r="http://schemas.openxmlformats.org/officeDocument/2006/relationships" xmlns:p="http://schemas.openxmlformats.org/presentationml/2006/main">
  <p:tag name="SHAPE" val="OLD"/>
</p:tagLst>
</file>

<file path=ppt/tags/tag717.xml><?xml version="1.0" encoding="utf-8"?>
<p:tagLst xmlns:a="http://schemas.openxmlformats.org/drawingml/2006/main" xmlns:r="http://schemas.openxmlformats.org/officeDocument/2006/relationships" xmlns:p="http://schemas.openxmlformats.org/presentationml/2006/main">
  <p:tag name="SHAPE" val="OLD"/>
</p:tagLst>
</file>

<file path=ppt/tags/tag718.xml><?xml version="1.0" encoding="utf-8"?>
<p:tagLst xmlns:a="http://schemas.openxmlformats.org/drawingml/2006/main" xmlns:r="http://schemas.openxmlformats.org/officeDocument/2006/relationships" xmlns:p="http://schemas.openxmlformats.org/presentationml/2006/main">
  <p:tag name="SHAPE" val="OLD"/>
</p:tagLst>
</file>

<file path=ppt/tags/tag719.xml><?xml version="1.0" encoding="utf-8"?>
<p:tagLst xmlns:a="http://schemas.openxmlformats.org/drawingml/2006/main" xmlns:r="http://schemas.openxmlformats.org/officeDocument/2006/relationships" xmlns:p="http://schemas.openxmlformats.org/presentationml/2006/main">
  <p:tag name="SHAPE" val="OLD"/>
</p:tagLst>
</file>

<file path=ppt/tags/tag72.xml><?xml version="1.0" encoding="utf-8"?>
<p:tagLst xmlns:a="http://schemas.openxmlformats.org/drawingml/2006/main" xmlns:r="http://schemas.openxmlformats.org/officeDocument/2006/relationships" xmlns:p="http://schemas.openxmlformats.org/presentationml/2006/main">
  <p:tag name="SHAPE" val="OLD"/>
</p:tagLst>
</file>

<file path=ppt/tags/tag720.xml><?xml version="1.0" encoding="utf-8"?>
<p:tagLst xmlns:a="http://schemas.openxmlformats.org/drawingml/2006/main" xmlns:r="http://schemas.openxmlformats.org/officeDocument/2006/relationships" xmlns:p="http://schemas.openxmlformats.org/presentationml/2006/main">
  <p:tag name="SHAPE" val="OLD"/>
</p:tagLst>
</file>

<file path=ppt/tags/tag721.xml><?xml version="1.0" encoding="utf-8"?>
<p:tagLst xmlns:a="http://schemas.openxmlformats.org/drawingml/2006/main" xmlns:r="http://schemas.openxmlformats.org/officeDocument/2006/relationships" xmlns:p="http://schemas.openxmlformats.org/presentationml/2006/main">
  <p:tag name="SHAPE" val="OLD"/>
</p:tagLst>
</file>

<file path=ppt/tags/tag722.xml><?xml version="1.0" encoding="utf-8"?>
<p:tagLst xmlns:a="http://schemas.openxmlformats.org/drawingml/2006/main" xmlns:r="http://schemas.openxmlformats.org/officeDocument/2006/relationships" xmlns:p="http://schemas.openxmlformats.org/presentationml/2006/main">
  <p:tag name="SHAPE" val="OLD"/>
</p:tagLst>
</file>

<file path=ppt/tags/tag723.xml><?xml version="1.0" encoding="utf-8"?>
<p:tagLst xmlns:a="http://schemas.openxmlformats.org/drawingml/2006/main" xmlns:r="http://schemas.openxmlformats.org/officeDocument/2006/relationships" xmlns:p="http://schemas.openxmlformats.org/presentationml/2006/main">
  <p:tag name="SHAPE" val="OLD"/>
</p:tagLst>
</file>

<file path=ppt/tags/tag724.xml><?xml version="1.0" encoding="utf-8"?>
<p:tagLst xmlns:a="http://schemas.openxmlformats.org/drawingml/2006/main" xmlns:r="http://schemas.openxmlformats.org/officeDocument/2006/relationships" xmlns:p="http://schemas.openxmlformats.org/presentationml/2006/main">
  <p:tag name="SHAPE" val="OLD"/>
</p:tagLst>
</file>

<file path=ppt/tags/tag725.xml><?xml version="1.0" encoding="utf-8"?>
<p:tagLst xmlns:a="http://schemas.openxmlformats.org/drawingml/2006/main" xmlns:r="http://schemas.openxmlformats.org/officeDocument/2006/relationships" xmlns:p="http://schemas.openxmlformats.org/presentationml/2006/main">
  <p:tag name="SHAPE" val="OLD"/>
</p:tagLst>
</file>

<file path=ppt/tags/tag726.xml><?xml version="1.0" encoding="utf-8"?>
<p:tagLst xmlns:a="http://schemas.openxmlformats.org/drawingml/2006/main" xmlns:r="http://schemas.openxmlformats.org/officeDocument/2006/relationships" xmlns:p="http://schemas.openxmlformats.org/presentationml/2006/main">
  <p:tag name="SHAPE" val="OLD"/>
</p:tagLst>
</file>

<file path=ppt/tags/tag727.xml><?xml version="1.0" encoding="utf-8"?>
<p:tagLst xmlns:a="http://schemas.openxmlformats.org/drawingml/2006/main" xmlns:r="http://schemas.openxmlformats.org/officeDocument/2006/relationships" xmlns:p="http://schemas.openxmlformats.org/presentationml/2006/main">
  <p:tag name="SHAPE" val="OLD"/>
</p:tagLst>
</file>

<file path=ppt/tags/tag728.xml><?xml version="1.0" encoding="utf-8"?>
<p:tagLst xmlns:a="http://schemas.openxmlformats.org/drawingml/2006/main" xmlns:r="http://schemas.openxmlformats.org/officeDocument/2006/relationships" xmlns:p="http://schemas.openxmlformats.org/presentationml/2006/main">
  <p:tag name="SHAPE" val="OLD"/>
</p:tagLst>
</file>

<file path=ppt/tags/tag729.xml><?xml version="1.0" encoding="utf-8"?>
<p:tagLst xmlns:a="http://schemas.openxmlformats.org/drawingml/2006/main" xmlns:r="http://schemas.openxmlformats.org/officeDocument/2006/relationships" xmlns:p="http://schemas.openxmlformats.org/presentationml/2006/main">
  <p:tag name="SHAPE" val="OLD"/>
</p:tagLst>
</file>

<file path=ppt/tags/tag73.xml><?xml version="1.0" encoding="utf-8"?>
<p:tagLst xmlns:a="http://schemas.openxmlformats.org/drawingml/2006/main" xmlns:r="http://schemas.openxmlformats.org/officeDocument/2006/relationships" xmlns:p="http://schemas.openxmlformats.org/presentationml/2006/main">
  <p:tag name="SHAPE" val="OLD"/>
</p:tagLst>
</file>

<file path=ppt/tags/tag730.xml><?xml version="1.0" encoding="utf-8"?>
<p:tagLst xmlns:a="http://schemas.openxmlformats.org/drawingml/2006/main" xmlns:r="http://schemas.openxmlformats.org/officeDocument/2006/relationships" xmlns:p="http://schemas.openxmlformats.org/presentationml/2006/main">
  <p:tag name="SHAPE" val="OLD"/>
</p:tagLst>
</file>

<file path=ppt/tags/tag731.xml><?xml version="1.0" encoding="utf-8"?>
<p:tagLst xmlns:a="http://schemas.openxmlformats.org/drawingml/2006/main" xmlns:r="http://schemas.openxmlformats.org/officeDocument/2006/relationships" xmlns:p="http://schemas.openxmlformats.org/presentationml/2006/main">
  <p:tag name="SHAPE" val="OLD"/>
</p:tagLst>
</file>

<file path=ppt/tags/tag732.xml><?xml version="1.0" encoding="utf-8"?>
<p:tagLst xmlns:a="http://schemas.openxmlformats.org/drawingml/2006/main" xmlns:r="http://schemas.openxmlformats.org/officeDocument/2006/relationships" xmlns:p="http://schemas.openxmlformats.org/presentationml/2006/main">
  <p:tag name="SHAPE" val="OLD"/>
</p:tagLst>
</file>

<file path=ppt/tags/tag733.xml><?xml version="1.0" encoding="utf-8"?>
<p:tagLst xmlns:a="http://schemas.openxmlformats.org/drawingml/2006/main" xmlns:r="http://schemas.openxmlformats.org/officeDocument/2006/relationships" xmlns:p="http://schemas.openxmlformats.org/presentationml/2006/main">
  <p:tag name="SHAPE" val="OLD"/>
</p:tagLst>
</file>

<file path=ppt/tags/tag734.xml><?xml version="1.0" encoding="utf-8"?>
<p:tagLst xmlns:a="http://schemas.openxmlformats.org/drawingml/2006/main" xmlns:r="http://schemas.openxmlformats.org/officeDocument/2006/relationships" xmlns:p="http://schemas.openxmlformats.org/presentationml/2006/main">
  <p:tag name="SHAPE" val="OLD"/>
</p:tagLst>
</file>

<file path=ppt/tags/tag735.xml><?xml version="1.0" encoding="utf-8"?>
<p:tagLst xmlns:a="http://schemas.openxmlformats.org/drawingml/2006/main" xmlns:r="http://schemas.openxmlformats.org/officeDocument/2006/relationships" xmlns:p="http://schemas.openxmlformats.org/presentationml/2006/main">
  <p:tag name="SHAPE" val="OLD"/>
</p:tagLst>
</file>

<file path=ppt/tags/tag736.xml><?xml version="1.0" encoding="utf-8"?>
<p:tagLst xmlns:a="http://schemas.openxmlformats.org/drawingml/2006/main" xmlns:r="http://schemas.openxmlformats.org/officeDocument/2006/relationships" xmlns:p="http://schemas.openxmlformats.org/presentationml/2006/main">
  <p:tag name="SHAPE" val="OLD"/>
</p:tagLst>
</file>

<file path=ppt/tags/tag737.xml><?xml version="1.0" encoding="utf-8"?>
<p:tagLst xmlns:a="http://schemas.openxmlformats.org/drawingml/2006/main" xmlns:r="http://schemas.openxmlformats.org/officeDocument/2006/relationships" xmlns:p="http://schemas.openxmlformats.org/presentationml/2006/main">
  <p:tag name="SHAPE" val="OLD"/>
</p:tagLst>
</file>

<file path=ppt/tags/tag738.xml><?xml version="1.0" encoding="utf-8"?>
<p:tagLst xmlns:a="http://schemas.openxmlformats.org/drawingml/2006/main" xmlns:r="http://schemas.openxmlformats.org/officeDocument/2006/relationships" xmlns:p="http://schemas.openxmlformats.org/presentationml/2006/main">
  <p:tag name="SHAPE" val="OLD"/>
</p:tagLst>
</file>

<file path=ppt/tags/tag739.xml><?xml version="1.0" encoding="utf-8"?>
<p:tagLst xmlns:a="http://schemas.openxmlformats.org/drawingml/2006/main" xmlns:r="http://schemas.openxmlformats.org/officeDocument/2006/relationships" xmlns:p="http://schemas.openxmlformats.org/presentationml/2006/main">
  <p:tag name="SHAPE" val="OLD"/>
</p:tagLst>
</file>

<file path=ppt/tags/tag74.xml><?xml version="1.0" encoding="utf-8"?>
<p:tagLst xmlns:a="http://schemas.openxmlformats.org/drawingml/2006/main" xmlns:r="http://schemas.openxmlformats.org/officeDocument/2006/relationships" xmlns:p="http://schemas.openxmlformats.org/presentationml/2006/main">
  <p:tag name="SHAPE" val="OLD"/>
</p:tagLst>
</file>

<file path=ppt/tags/tag740.xml><?xml version="1.0" encoding="utf-8"?>
<p:tagLst xmlns:a="http://schemas.openxmlformats.org/drawingml/2006/main" xmlns:r="http://schemas.openxmlformats.org/officeDocument/2006/relationships" xmlns:p="http://schemas.openxmlformats.org/presentationml/2006/main">
  <p:tag name="SHAPE" val="OLD"/>
</p:tagLst>
</file>

<file path=ppt/tags/tag741.xml><?xml version="1.0" encoding="utf-8"?>
<p:tagLst xmlns:a="http://schemas.openxmlformats.org/drawingml/2006/main" xmlns:r="http://schemas.openxmlformats.org/officeDocument/2006/relationships" xmlns:p="http://schemas.openxmlformats.org/presentationml/2006/main">
  <p:tag name="SHAPE" val="OLD"/>
</p:tagLst>
</file>

<file path=ppt/tags/tag742.xml><?xml version="1.0" encoding="utf-8"?>
<p:tagLst xmlns:a="http://schemas.openxmlformats.org/drawingml/2006/main" xmlns:r="http://schemas.openxmlformats.org/officeDocument/2006/relationships" xmlns:p="http://schemas.openxmlformats.org/presentationml/2006/main">
  <p:tag name="SHAPE" val="OLD"/>
</p:tagLst>
</file>

<file path=ppt/tags/tag743.xml><?xml version="1.0" encoding="utf-8"?>
<p:tagLst xmlns:a="http://schemas.openxmlformats.org/drawingml/2006/main" xmlns:r="http://schemas.openxmlformats.org/officeDocument/2006/relationships" xmlns:p="http://schemas.openxmlformats.org/presentationml/2006/main">
  <p:tag name="SHAPE" val="OLD"/>
</p:tagLst>
</file>

<file path=ppt/tags/tag744.xml><?xml version="1.0" encoding="utf-8"?>
<p:tagLst xmlns:a="http://schemas.openxmlformats.org/drawingml/2006/main" xmlns:r="http://schemas.openxmlformats.org/officeDocument/2006/relationships" xmlns:p="http://schemas.openxmlformats.org/presentationml/2006/main">
  <p:tag name="SHAPE" val="OLD"/>
</p:tagLst>
</file>

<file path=ppt/tags/tag745.xml><?xml version="1.0" encoding="utf-8"?>
<p:tagLst xmlns:a="http://schemas.openxmlformats.org/drawingml/2006/main" xmlns:r="http://schemas.openxmlformats.org/officeDocument/2006/relationships" xmlns:p="http://schemas.openxmlformats.org/presentationml/2006/main">
  <p:tag name="SHAPE" val="OLD"/>
</p:tagLst>
</file>

<file path=ppt/tags/tag746.xml><?xml version="1.0" encoding="utf-8"?>
<p:tagLst xmlns:a="http://schemas.openxmlformats.org/drawingml/2006/main" xmlns:r="http://schemas.openxmlformats.org/officeDocument/2006/relationships" xmlns:p="http://schemas.openxmlformats.org/presentationml/2006/main">
  <p:tag name="SHAPE" val="OLD"/>
</p:tagLst>
</file>

<file path=ppt/tags/tag747.xml><?xml version="1.0" encoding="utf-8"?>
<p:tagLst xmlns:a="http://schemas.openxmlformats.org/drawingml/2006/main" xmlns:r="http://schemas.openxmlformats.org/officeDocument/2006/relationships" xmlns:p="http://schemas.openxmlformats.org/presentationml/2006/main">
  <p:tag name="SHAPE" val="OLD"/>
</p:tagLst>
</file>

<file path=ppt/tags/tag748.xml><?xml version="1.0" encoding="utf-8"?>
<p:tagLst xmlns:a="http://schemas.openxmlformats.org/drawingml/2006/main" xmlns:r="http://schemas.openxmlformats.org/officeDocument/2006/relationships" xmlns:p="http://schemas.openxmlformats.org/presentationml/2006/main">
  <p:tag name="SHAPE" val="OLD"/>
</p:tagLst>
</file>

<file path=ppt/tags/tag749.xml><?xml version="1.0" encoding="utf-8"?>
<p:tagLst xmlns:a="http://schemas.openxmlformats.org/drawingml/2006/main" xmlns:r="http://schemas.openxmlformats.org/officeDocument/2006/relationships" xmlns:p="http://schemas.openxmlformats.org/presentationml/2006/main">
  <p:tag name="SHAPE" val="OLD"/>
</p:tagLst>
</file>

<file path=ppt/tags/tag75.xml><?xml version="1.0" encoding="utf-8"?>
<p:tagLst xmlns:a="http://schemas.openxmlformats.org/drawingml/2006/main" xmlns:r="http://schemas.openxmlformats.org/officeDocument/2006/relationships" xmlns:p="http://schemas.openxmlformats.org/presentationml/2006/main">
  <p:tag name="SHAPE" val="OLD"/>
</p:tagLst>
</file>

<file path=ppt/tags/tag750.xml><?xml version="1.0" encoding="utf-8"?>
<p:tagLst xmlns:a="http://schemas.openxmlformats.org/drawingml/2006/main" xmlns:r="http://schemas.openxmlformats.org/officeDocument/2006/relationships" xmlns:p="http://schemas.openxmlformats.org/presentationml/2006/main">
  <p:tag name="SHAPE" val="OLD"/>
</p:tagLst>
</file>

<file path=ppt/tags/tag751.xml><?xml version="1.0" encoding="utf-8"?>
<p:tagLst xmlns:a="http://schemas.openxmlformats.org/drawingml/2006/main" xmlns:r="http://schemas.openxmlformats.org/officeDocument/2006/relationships" xmlns:p="http://schemas.openxmlformats.org/presentationml/2006/main">
  <p:tag name="SHAPE" val="OLD"/>
</p:tagLst>
</file>

<file path=ppt/tags/tag752.xml><?xml version="1.0" encoding="utf-8"?>
<p:tagLst xmlns:a="http://schemas.openxmlformats.org/drawingml/2006/main" xmlns:r="http://schemas.openxmlformats.org/officeDocument/2006/relationships" xmlns:p="http://schemas.openxmlformats.org/presentationml/2006/main">
  <p:tag name="SHAPE" val="OLD"/>
</p:tagLst>
</file>

<file path=ppt/tags/tag753.xml><?xml version="1.0" encoding="utf-8"?>
<p:tagLst xmlns:a="http://schemas.openxmlformats.org/drawingml/2006/main" xmlns:r="http://schemas.openxmlformats.org/officeDocument/2006/relationships" xmlns:p="http://schemas.openxmlformats.org/presentationml/2006/main">
  <p:tag name="SHAPE" val="OLD"/>
</p:tagLst>
</file>

<file path=ppt/tags/tag754.xml><?xml version="1.0" encoding="utf-8"?>
<p:tagLst xmlns:a="http://schemas.openxmlformats.org/drawingml/2006/main" xmlns:r="http://schemas.openxmlformats.org/officeDocument/2006/relationships" xmlns:p="http://schemas.openxmlformats.org/presentationml/2006/main">
  <p:tag name="SHAPE" val="OLD"/>
</p:tagLst>
</file>

<file path=ppt/tags/tag755.xml><?xml version="1.0" encoding="utf-8"?>
<p:tagLst xmlns:a="http://schemas.openxmlformats.org/drawingml/2006/main" xmlns:r="http://schemas.openxmlformats.org/officeDocument/2006/relationships" xmlns:p="http://schemas.openxmlformats.org/presentationml/2006/main">
  <p:tag name="SHAPE" val="OLD"/>
</p:tagLst>
</file>

<file path=ppt/tags/tag756.xml><?xml version="1.0" encoding="utf-8"?>
<p:tagLst xmlns:a="http://schemas.openxmlformats.org/drawingml/2006/main" xmlns:r="http://schemas.openxmlformats.org/officeDocument/2006/relationships" xmlns:p="http://schemas.openxmlformats.org/presentationml/2006/main">
  <p:tag name="SHAPE" val="OLD"/>
</p:tagLst>
</file>

<file path=ppt/tags/tag757.xml><?xml version="1.0" encoding="utf-8"?>
<p:tagLst xmlns:a="http://schemas.openxmlformats.org/drawingml/2006/main" xmlns:r="http://schemas.openxmlformats.org/officeDocument/2006/relationships" xmlns:p="http://schemas.openxmlformats.org/presentationml/2006/main">
  <p:tag name="SHAPE" val="OLD"/>
</p:tagLst>
</file>

<file path=ppt/tags/tag758.xml><?xml version="1.0" encoding="utf-8"?>
<p:tagLst xmlns:a="http://schemas.openxmlformats.org/drawingml/2006/main" xmlns:r="http://schemas.openxmlformats.org/officeDocument/2006/relationships" xmlns:p="http://schemas.openxmlformats.org/presentationml/2006/main">
  <p:tag name="SHAPE" val="OLD"/>
</p:tagLst>
</file>

<file path=ppt/tags/tag759.xml><?xml version="1.0" encoding="utf-8"?>
<p:tagLst xmlns:a="http://schemas.openxmlformats.org/drawingml/2006/main" xmlns:r="http://schemas.openxmlformats.org/officeDocument/2006/relationships" xmlns:p="http://schemas.openxmlformats.org/presentationml/2006/main">
  <p:tag name="SHAPE" val="OLD"/>
</p:tagLst>
</file>

<file path=ppt/tags/tag76.xml><?xml version="1.0" encoding="utf-8"?>
<p:tagLst xmlns:a="http://schemas.openxmlformats.org/drawingml/2006/main" xmlns:r="http://schemas.openxmlformats.org/officeDocument/2006/relationships" xmlns:p="http://schemas.openxmlformats.org/presentationml/2006/main">
  <p:tag name="SHAPE" val="OLD"/>
</p:tagLst>
</file>

<file path=ppt/tags/tag760.xml><?xml version="1.0" encoding="utf-8"?>
<p:tagLst xmlns:a="http://schemas.openxmlformats.org/drawingml/2006/main" xmlns:r="http://schemas.openxmlformats.org/officeDocument/2006/relationships" xmlns:p="http://schemas.openxmlformats.org/presentationml/2006/main">
  <p:tag name="SHAPE" val="OLD"/>
</p:tagLst>
</file>

<file path=ppt/tags/tag761.xml><?xml version="1.0" encoding="utf-8"?>
<p:tagLst xmlns:a="http://schemas.openxmlformats.org/drawingml/2006/main" xmlns:r="http://schemas.openxmlformats.org/officeDocument/2006/relationships" xmlns:p="http://schemas.openxmlformats.org/presentationml/2006/main">
  <p:tag name="SHAPE" val="OLD"/>
</p:tagLst>
</file>

<file path=ppt/tags/tag762.xml><?xml version="1.0" encoding="utf-8"?>
<p:tagLst xmlns:a="http://schemas.openxmlformats.org/drawingml/2006/main" xmlns:r="http://schemas.openxmlformats.org/officeDocument/2006/relationships" xmlns:p="http://schemas.openxmlformats.org/presentationml/2006/main">
  <p:tag name="SHAPE" val="OLD"/>
</p:tagLst>
</file>

<file path=ppt/tags/tag763.xml><?xml version="1.0" encoding="utf-8"?>
<p:tagLst xmlns:a="http://schemas.openxmlformats.org/drawingml/2006/main" xmlns:r="http://schemas.openxmlformats.org/officeDocument/2006/relationships" xmlns:p="http://schemas.openxmlformats.org/presentationml/2006/main">
  <p:tag name="SHAPE" val="OLD"/>
</p:tagLst>
</file>

<file path=ppt/tags/tag764.xml><?xml version="1.0" encoding="utf-8"?>
<p:tagLst xmlns:a="http://schemas.openxmlformats.org/drawingml/2006/main" xmlns:r="http://schemas.openxmlformats.org/officeDocument/2006/relationships" xmlns:p="http://schemas.openxmlformats.org/presentationml/2006/main">
  <p:tag name="SHAPE" val="OLD"/>
</p:tagLst>
</file>

<file path=ppt/tags/tag765.xml><?xml version="1.0" encoding="utf-8"?>
<p:tagLst xmlns:a="http://schemas.openxmlformats.org/drawingml/2006/main" xmlns:r="http://schemas.openxmlformats.org/officeDocument/2006/relationships" xmlns:p="http://schemas.openxmlformats.org/presentationml/2006/main">
  <p:tag name="SHAPE" val="OLD"/>
</p:tagLst>
</file>

<file path=ppt/tags/tag766.xml><?xml version="1.0" encoding="utf-8"?>
<p:tagLst xmlns:a="http://schemas.openxmlformats.org/drawingml/2006/main" xmlns:r="http://schemas.openxmlformats.org/officeDocument/2006/relationships" xmlns:p="http://schemas.openxmlformats.org/presentationml/2006/main">
  <p:tag name="SHAPE" val="OLD"/>
</p:tagLst>
</file>

<file path=ppt/tags/tag767.xml><?xml version="1.0" encoding="utf-8"?>
<p:tagLst xmlns:a="http://schemas.openxmlformats.org/drawingml/2006/main" xmlns:r="http://schemas.openxmlformats.org/officeDocument/2006/relationships" xmlns:p="http://schemas.openxmlformats.org/presentationml/2006/main">
  <p:tag name="SHAPE" val="OLD"/>
</p:tagLst>
</file>

<file path=ppt/tags/tag768.xml><?xml version="1.0" encoding="utf-8"?>
<p:tagLst xmlns:a="http://schemas.openxmlformats.org/drawingml/2006/main" xmlns:r="http://schemas.openxmlformats.org/officeDocument/2006/relationships" xmlns:p="http://schemas.openxmlformats.org/presentationml/2006/main">
  <p:tag name="SHAPE" val="OLD"/>
</p:tagLst>
</file>

<file path=ppt/tags/tag769.xml><?xml version="1.0" encoding="utf-8"?>
<p:tagLst xmlns:a="http://schemas.openxmlformats.org/drawingml/2006/main" xmlns:r="http://schemas.openxmlformats.org/officeDocument/2006/relationships" xmlns:p="http://schemas.openxmlformats.org/presentationml/2006/main">
  <p:tag name="SHAPE" val="OLD"/>
</p:tagLst>
</file>

<file path=ppt/tags/tag77.xml><?xml version="1.0" encoding="utf-8"?>
<p:tagLst xmlns:a="http://schemas.openxmlformats.org/drawingml/2006/main" xmlns:r="http://schemas.openxmlformats.org/officeDocument/2006/relationships" xmlns:p="http://schemas.openxmlformats.org/presentationml/2006/main">
  <p:tag name="SHAPE" val="OLD"/>
</p:tagLst>
</file>

<file path=ppt/tags/tag770.xml><?xml version="1.0" encoding="utf-8"?>
<p:tagLst xmlns:a="http://schemas.openxmlformats.org/drawingml/2006/main" xmlns:r="http://schemas.openxmlformats.org/officeDocument/2006/relationships" xmlns:p="http://schemas.openxmlformats.org/presentationml/2006/main">
  <p:tag name="SHAPE" val="OLD"/>
</p:tagLst>
</file>

<file path=ppt/tags/tag771.xml><?xml version="1.0" encoding="utf-8"?>
<p:tagLst xmlns:a="http://schemas.openxmlformats.org/drawingml/2006/main" xmlns:r="http://schemas.openxmlformats.org/officeDocument/2006/relationships" xmlns:p="http://schemas.openxmlformats.org/presentationml/2006/main">
  <p:tag name="SHAPE" val="OLD"/>
</p:tagLst>
</file>

<file path=ppt/tags/tag772.xml><?xml version="1.0" encoding="utf-8"?>
<p:tagLst xmlns:a="http://schemas.openxmlformats.org/drawingml/2006/main" xmlns:r="http://schemas.openxmlformats.org/officeDocument/2006/relationships" xmlns:p="http://schemas.openxmlformats.org/presentationml/2006/main">
  <p:tag name="SHAPE" val="OLD"/>
</p:tagLst>
</file>

<file path=ppt/tags/tag773.xml><?xml version="1.0" encoding="utf-8"?>
<p:tagLst xmlns:a="http://schemas.openxmlformats.org/drawingml/2006/main" xmlns:r="http://schemas.openxmlformats.org/officeDocument/2006/relationships" xmlns:p="http://schemas.openxmlformats.org/presentationml/2006/main">
  <p:tag name="SHAPE" val="OLD"/>
</p:tagLst>
</file>

<file path=ppt/tags/tag774.xml><?xml version="1.0" encoding="utf-8"?>
<p:tagLst xmlns:a="http://schemas.openxmlformats.org/drawingml/2006/main" xmlns:r="http://schemas.openxmlformats.org/officeDocument/2006/relationships" xmlns:p="http://schemas.openxmlformats.org/presentationml/2006/main">
  <p:tag name="SHAPE" val="OLD"/>
</p:tagLst>
</file>

<file path=ppt/tags/tag775.xml><?xml version="1.0" encoding="utf-8"?>
<p:tagLst xmlns:a="http://schemas.openxmlformats.org/drawingml/2006/main" xmlns:r="http://schemas.openxmlformats.org/officeDocument/2006/relationships" xmlns:p="http://schemas.openxmlformats.org/presentationml/2006/main">
  <p:tag name="SHAPE" val="OLD"/>
</p:tagLst>
</file>

<file path=ppt/tags/tag776.xml><?xml version="1.0" encoding="utf-8"?>
<p:tagLst xmlns:a="http://schemas.openxmlformats.org/drawingml/2006/main" xmlns:r="http://schemas.openxmlformats.org/officeDocument/2006/relationships" xmlns:p="http://schemas.openxmlformats.org/presentationml/2006/main">
  <p:tag name="SHAPE" val="OLD"/>
</p:tagLst>
</file>

<file path=ppt/tags/tag777.xml><?xml version="1.0" encoding="utf-8"?>
<p:tagLst xmlns:a="http://schemas.openxmlformats.org/drawingml/2006/main" xmlns:r="http://schemas.openxmlformats.org/officeDocument/2006/relationships" xmlns:p="http://schemas.openxmlformats.org/presentationml/2006/main">
  <p:tag name="SHAPE" val="OLD"/>
</p:tagLst>
</file>

<file path=ppt/tags/tag778.xml><?xml version="1.0" encoding="utf-8"?>
<p:tagLst xmlns:a="http://schemas.openxmlformats.org/drawingml/2006/main" xmlns:r="http://schemas.openxmlformats.org/officeDocument/2006/relationships" xmlns:p="http://schemas.openxmlformats.org/presentationml/2006/main">
  <p:tag name="SHAPE" val="OLD"/>
</p:tagLst>
</file>

<file path=ppt/tags/tag779.xml><?xml version="1.0" encoding="utf-8"?>
<p:tagLst xmlns:a="http://schemas.openxmlformats.org/drawingml/2006/main" xmlns:r="http://schemas.openxmlformats.org/officeDocument/2006/relationships" xmlns:p="http://schemas.openxmlformats.org/presentationml/2006/main">
  <p:tag name="SHAPE" val="OLD"/>
</p:tagLst>
</file>

<file path=ppt/tags/tag78.xml><?xml version="1.0" encoding="utf-8"?>
<p:tagLst xmlns:a="http://schemas.openxmlformats.org/drawingml/2006/main" xmlns:r="http://schemas.openxmlformats.org/officeDocument/2006/relationships" xmlns:p="http://schemas.openxmlformats.org/presentationml/2006/main">
  <p:tag name="SHAPE" val="OLD"/>
</p:tagLst>
</file>

<file path=ppt/tags/tag780.xml><?xml version="1.0" encoding="utf-8"?>
<p:tagLst xmlns:a="http://schemas.openxmlformats.org/drawingml/2006/main" xmlns:r="http://schemas.openxmlformats.org/officeDocument/2006/relationships" xmlns:p="http://schemas.openxmlformats.org/presentationml/2006/main">
  <p:tag name="SHAPE" val="OLD"/>
</p:tagLst>
</file>

<file path=ppt/tags/tag781.xml><?xml version="1.0" encoding="utf-8"?>
<p:tagLst xmlns:a="http://schemas.openxmlformats.org/drawingml/2006/main" xmlns:r="http://schemas.openxmlformats.org/officeDocument/2006/relationships" xmlns:p="http://schemas.openxmlformats.org/presentationml/2006/main">
  <p:tag name="SHAPE" val="OLD"/>
</p:tagLst>
</file>

<file path=ppt/tags/tag782.xml><?xml version="1.0" encoding="utf-8"?>
<p:tagLst xmlns:a="http://schemas.openxmlformats.org/drawingml/2006/main" xmlns:r="http://schemas.openxmlformats.org/officeDocument/2006/relationships" xmlns:p="http://schemas.openxmlformats.org/presentationml/2006/main">
  <p:tag name="SHAPE" val="OLD"/>
</p:tagLst>
</file>

<file path=ppt/tags/tag783.xml><?xml version="1.0" encoding="utf-8"?>
<p:tagLst xmlns:a="http://schemas.openxmlformats.org/drawingml/2006/main" xmlns:r="http://schemas.openxmlformats.org/officeDocument/2006/relationships" xmlns:p="http://schemas.openxmlformats.org/presentationml/2006/main">
  <p:tag name="SHAPE" val="OLD"/>
</p:tagLst>
</file>

<file path=ppt/tags/tag784.xml><?xml version="1.0" encoding="utf-8"?>
<p:tagLst xmlns:a="http://schemas.openxmlformats.org/drawingml/2006/main" xmlns:r="http://schemas.openxmlformats.org/officeDocument/2006/relationships" xmlns:p="http://schemas.openxmlformats.org/presentationml/2006/main">
  <p:tag name="SHAPE" val="OLD"/>
</p:tagLst>
</file>

<file path=ppt/tags/tag785.xml><?xml version="1.0" encoding="utf-8"?>
<p:tagLst xmlns:a="http://schemas.openxmlformats.org/drawingml/2006/main" xmlns:r="http://schemas.openxmlformats.org/officeDocument/2006/relationships" xmlns:p="http://schemas.openxmlformats.org/presentationml/2006/main">
  <p:tag name="SHAPE" val="OLD"/>
</p:tagLst>
</file>

<file path=ppt/tags/tag786.xml><?xml version="1.0" encoding="utf-8"?>
<p:tagLst xmlns:a="http://schemas.openxmlformats.org/drawingml/2006/main" xmlns:r="http://schemas.openxmlformats.org/officeDocument/2006/relationships" xmlns:p="http://schemas.openxmlformats.org/presentationml/2006/main">
  <p:tag name="SHAPE" val="OLD"/>
</p:tagLst>
</file>

<file path=ppt/tags/tag787.xml><?xml version="1.0" encoding="utf-8"?>
<p:tagLst xmlns:a="http://schemas.openxmlformats.org/drawingml/2006/main" xmlns:r="http://schemas.openxmlformats.org/officeDocument/2006/relationships" xmlns:p="http://schemas.openxmlformats.org/presentationml/2006/main">
  <p:tag name="SHAPE" val="OLD"/>
</p:tagLst>
</file>

<file path=ppt/tags/tag79.xml><?xml version="1.0" encoding="utf-8"?>
<p:tagLst xmlns:a="http://schemas.openxmlformats.org/drawingml/2006/main" xmlns:r="http://schemas.openxmlformats.org/officeDocument/2006/relationships" xmlns:p="http://schemas.openxmlformats.org/presentationml/2006/main">
  <p:tag name="SHAPE" val="OLD"/>
</p:tagLst>
</file>

<file path=ppt/tags/tag8.xml><?xml version="1.0" encoding="utf-8"?>
<p:tagLst xmlns:a="http://schemas.openxmlformats.org/drawingml/2006/main" xmlns:r="http://schemas.openxmlformats.org/officeDocument/2006/relationships" xmlns:p="http://schemas.openxmlformats.org/presentationml/2006/main">
  <p:tag name="SHAPE" val="OLD"/>
</p:tagLst>
</file>

<file path=ppt/tags/tag80.xml><?xml version="1.0" encoding="utf-8"?>
<p:tagLst xmlns:a="http://schemas.openxmlformats.org/drawingml/2006/main" xmlns:r="http://schemas.openxmlformats.org/officeDocument/2006/relationships" xmlns:p="http://schemas.openxmlformats.org/presentationml/2006/main">
  <p:tag name="SHAPE" val="OLD"/>
</p:tagLst>
</file>

<file path=ppt/tags/tag81.xml><?xml version="1.0" encoding="utf-8"?>
<p:tagLst xmlns:a="http://schemas.openxmlformats.org/drawingml/2006/main" xmlns:r="http://schemas.openxmlformats.org/officeDocument/2006/relationships" xmlns:p="http://schemas.openxmlformats.org/presentationml/2006/main">
  <p:tag name="SHAPE" val="OLD"/>
</p:tagLst>
</file>

<file path=ppt/tags/tag82.xml><?xml version="1.0" encoding="utf-8"?>
<p:tagLst xmlns:a="http://schemas.openxmlformats.org/drawingml/2006/main" xmlns:r="http://schemas.openxmlformats.org/officeDocument/2006/relationships" xmlns:p="http://schemas.openxmlformats.org/presentationml/2006/main">
  <p:tag name="SHAPE" val="OLD"/>
</p:tagLst>
</file>

<file path=ppt/tags/tag83.xml><?xml version="1.0" encoding="utf-8"?>
<p:tagLst xmlns:a="http://schemas.openxmlformats.org/drawingml/2006/main" xmlns:r="http://schemas.openxmlformats.org/officeDocument/2006/relationships" xmlns:p="http://schemas.openxmlformats.org/presentationml/2006/main">
  <p:tag name="SHAPE" val="OLD"/>
</p:tagLst>
</file>

<file path=ppt/tags/tag84.xml><?xml version="1.0" encoding="utf-8"?>
<p:tagLst xmlns:a="http://schemas.openxmlformats.org/drawingml/2006/main" xmlns:r="http://schemas.openxmlformats.org/officeDocument/2006/relationships" xmlns:p="http://schemas.openxmlformats.org/presentationml/2006/main">
  <p:tag name="SHAPE" val="OLD"/>
</p:tagLst>
</file>

<file path=ppt/tags/tag85.xml><?xml version="1.0" encoding="utf-8"?>
<p:tagLst xmlns:a="http://schemas.openxmlformats.org/drawingml/2006/main" xmlns:r="http://schemas.openxmlformats.org/officeDocument/2006/relationships" xmlns:p="http://schemas.openxmlformats.org/presentationml/2006/main">
  <p:tag name="SHAPE" val="OLD"/>
</p:tagLst>
</file>

<file path=ppt/tags/tag86.xml><?xml version="1.0" encoding="utf-8"?>
<p:tagLst xmlns:a="http://schemas.openxmlformats.org/drawingml/2006/main" xmlns:r="http://schemas.openxmlformats.org/officeDocument/2006/relationships" xmlns:p="http://schemas.openxmlformats.org/presentationml/2006/main">
  <p:tag name="SHAPE" val="OLD"/>
</p:tagLst>
</file>

<file path=ppt/tags/tag87.xml><?xml version="1.0" encoding="utf-8"?>
<p:tagLst xmlns:a="http://schemas.openxmlformats.org/drawingml/2006/main" xmlns:r="http://schemas.openxmlformats.org/officeDocument/2006/relationships" xmlns:p="http://schemas.openxmlformats.org/presentationml/2006/main">
  <p:tag name="SHAPE" val="OLD"/>
</p:tagLst>
</file>

<file path=ppt/tags/tag88.xml><?xml version="1.0" encoding="utf-8"?>
<p:tagLst xmlns:a="http://schemas.openxmlformats.org/drawingml/2006/main" xmlns:r="http://schemas.openxmlformats.org/officeDocument/2006/relationships" xmlns:p="http://schemas.openxmlformats.org/presentationml/2006/main">
  <p:tag name="SHAPE" val="OLD"/>
</p:tagLst>
</file>

<file path=ppt/tags/tag89.xml><?xml version="1.0" encoding="utf-8"?>
<p:tagLst xmlns:a="http://schemas.openxmlformats.org/drawingml/2006/main" xmlns:r="http://schemas.openxmlformats.org/officeDocument/2006/relationships" xmlns:p="http://schemas.openxmlformats.org/presentationml/2006/main">
  <p:tag name="SHAPE" val="OLD"/>
</p:tagLst>
</file>

<file path=ppt/tags/tag9.xml><?xml version="1.0" encoding="utf-8"?>
<p:tagLst xmlns:a="http://schemas.openxmlformats.org/drawingml/2006/main" xmlns:r="http://schemas.openxmlformats.org/officeDocument/2006/relationships" xmlns:p="http://schemas.openxmlformats.org/presentationml/2006/main">
  <p:tag name="SHAPE" val="OLD"/>
</p:tagLst>
</file>

<file path=ppt/tags/tag90.xml><?xml version="1.0" encoding="utf-8"?>
<p:tagLst xmlns:a="http://schemas.openxmlformats.org/drawingml/2006/main" xmlns:r="http://schemas.openxmlformats.org/officeDocument/2006/relationships" xmlns:p="http://schemas.openxmlformats.org/presentationml/2006/main">
  <p:tag name="SHAPE" val="OLD"/>
</p:tagLst>
</file>

<file path=ppt/tags/tag91.xml><?xml version="1.0" encoding="utf-8"?>
<p:tagLst xmlns:a="http://schemas.openxmlformats.org/drawingml/2006/main" xmlns:r="http://schemas.openxmlformats.org/officeDocument/2006/relationships" xmlns:p="http://schemas.openxmlformats.org/presentationml/2006/main">
  <p:tag name="SHAPE" val="OLD"/>
</p:tagLst>
</file>

<file path=ppt/tags/tag92.xml><?xml version="1.0" encoding="utf-8"?>
<p:tagLst xmlns:a="http://schemas.openxmlformats.org/drawingml/2006/main" xmlns:r="http://schemas.openxmlformats.org/officeDocument/2006/relationships" xmlns:p="http://schemas.openxmlformats.org/presentationml/2006/main">
  <p:tag name="SHAPE" val="OLD"/>
</p:tagLst>
</file>

<file path=ppt/tags/tag93.xml><?xml version="1.0" encoding="utf-8"?>
<p:tagLst xmlns:a="http://schemas.openxmlformats.org/drawingml/2006/main" xmlns:r="http://schemas.openxmlformats.org/officeDocument/2006/relationships" xmlns:p="http://schemas.openxmlformats.org/presentationml/2006/main">
  <p:tag name="SHAPE" val="OLD"/>
</p:tagLst>
</file>

<file path=ppt/tags/tag94.xml><?xml version="1.0" encoding="utf-8"?>
<p:tagLst xmlns:a="http://schemas.openxmlformats.org/drawingml/2006/main" xmlns:r="http://schemas.openxmlformats.org/officeDocument/2006/relationships" xmlns:p="http://schemas.openxmlformats.org/presentationml/2006/main">
  <p:tag name="SHAPE" val="OLD"/>
</p:tagLst>
</file>

<file path=ppt/tags/tag95.xml><?xml version="1.0" encoding="utf-8"?>
<p:tagLst xmlns:a="http://schemas.openxmlformats.org/drawingml/2006/main" xmlns:r="http://schemas.openxmlformats.org/officeDocument/2006/relationships" xmlns:p="http://schemas.openxmlformats.org/presentationml/2006/main">
  <p:tag name="SHAPE" val="OLD"/>
</p:tagLst>
</file>

<file path=ppt/tags/tag96.xml><?xml version="1.0" encoding="utf-8"?>
<p:tagLst xmlns:a="http://schemas.openxmlformats.org/drawingml/2006/main" xmlns:r="http://schemas.openxmlformats.org/officeDocument/2006/relationships" xmlns:p="http://schemas.openxmlformats.org/presentationml/2006/main">
  <p:tag name="SHAPE" val="OLD"/>
</p:tagLst>
</file>

<file path=ppt/tags/tag97.xml><?xml version="1.0" encoding="utf-8"?>
<p:tagLst xmlns:a="http://schemas.openxmlformats.org/drawingml/2006/main" xmlns:r="http://schemas.openxmlformats.org/officeDocument/2006/relationships" xmlns:p="http://schemas.openxmlformats.org/presentationml/2006/main">
  <p:tag name="SHAPE" val="OLD"/>
</p:tagLst>
</file>

<file path=ppt/tags/tag98.xml><?xml version="1.0" encoding="utf-8"?>
<p:tagLst xmlns:a="http://schemas.openxmlformats.org/drawingml/2006/main" xmlns:r="http://schemas.openxmlformats.org/officeDocument/2006/relationships" xmlns:p="http://schemas.openxmlformats.org/presentationml/2006/main">
  <p:tag name="SHAPE" val="OLD"/>
</p:tagLst>
</file>

<file path=ppt/tags/tag99.xml><?xml version="1.0" encoding="utf-8"?>
<p:tagLst xmlns:a="http://schemas.openxmlformats.org/drawingml/2006/main" xmlns:r="http://schemas.openxmlformats.org/officeDocument/2006/relationships" xmlns:p="http://schemas.openxmlformats.org/presentationml/2006/main">
  <p:tag name="SHAPE" val="OLD"/>
</p:tagLst>
</file>

<file path=ppt/theme/theme1.xml><?xml version="1.0" encoding="utf-8"?>
<a:theme xmlns:a="http://schemas.openxmlformats.org/drawingml/2006/main" name="Office">
  <a:themeElements>
    <a:clrScheme name="Office">
      <a:dk1>
        <a:srgbClr val="000000"/>
      </a:dk1>
      <a:lt1>
        <a:srgbClr val="FFFFFF"/>
      </a:lt1>
      <a:dk2>
        <a:srgbClr val="E2001A"/>
      </a:dk2>
      <a:lt2>
        <a:srgbClr val="CCCCCC"/>
      </a:lt2>
      <a:accent1>
        <a:srgbClr val="E2001A"/>
      </a:accent1>
      <a:accent2>
        <a:srgbClr val="A8C8E4"/>
      </a:accent2>
      <a:accent3>
        <a:srgbClr val="C3DFB9"/>
      </a:accent3>
      <a:accent4>
        <a:srgbClr val="F0767A"/>
      </a:accent4>
      <a:accent5>
        <a:srgbClr val="FEE45F"/>
      </a:accent5>
      <a:accent6>
        <a:srgbClr val="CCCCCC"/>
      </a:accent6>
      <a:hlink>
        <a:srgbClr val="000000"/>
      </a:hlink>
      <a:folHlink>
        <a:srgbClr val="000000"/>
      </a:folHlink>
    </a:clrScheme>
    <a:fontScheme name="DKM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defPPr>
      </a:lstStyle>
    </a:txDef>
  </a:objectDefaults>
  <a:extraClrSchemeLst/>
  <a:custClrLst>
    <a:custClr name="Custom Color 1">
      <a:srgbClr val="F0F0F0"/>
    </a:custClr>
    <a:custClr name="Custom Color 2">
      <a:srgbClr val="F0F0F0"/>
    </a:custClr>
    <a:custClr name="Custom Color 3">
      <a:srgbClr val="F0F0F0"/>
    </a:custClr>
    <a:custClr name="BLANK">
      <a:srgbClr val="FFFFFF"/>
    </a:custClr>
    <a:custClr name="DKMS Light Red">
      <a:srgbClr val="F9CCD1"/>
    </a:custClr>
    <a:custClr name="DKMS Light Blue">
      <a:srgbClr val="DCECFA"/>
    </a:custClr>
    <a:custClr name="DKMS Light Green">
      <a:srgbClr val="DFF5D7"/>
    </a:custClr>
    <a:custClr name="BLANK">
      <a:srgbClr val="FFFFFF"/>
    </a:custClr>
    <a:custClr name="BLANK">
      <a:srgbClr val="FFFFFF"/>
    </a:custClr>
    <a:custClr name="BLANK">
      <a:srgbClr val="FFFFFF"/>
    </a:custClr>
    <a:custClr name="Custom Color 11">
      <a:srgbClr val="F0F0F0"/>
    </a:custClr>
    <a:custClr name="Custom Color 12">
      <a:srgbClr val="F0F0F0"/>
    </a:custClr>
    <a:custClr name="Custom Color 13">
      <a:srgbClr val="F0F0F0"/>
    </a:custClr>
    <a:custClr name="BLANK">
      <a:srgbClr val="FFFFFF"/>
    </a:custClr>
    <a:custClr name="DKMS Red">
      <a:srgbClr val="E2001A"/>
    </a:custClr>
    <a:custClr name="DKMS Dark Blue">
      <a:srgbClr val="2C5A82"/>
    </a:custClr>
    <a:custClr name="DKMS Dark Green">
      <a:srgbClr val="30783E"/>
    </a:custClr>
    <a:custClr name="BLANK">
      <a:srgbClr val="FFFFFF"/>
    </a:custClr>
    <a:custClr name="BLANK">
      <a:srgbClr val="FFFFFF"/>
    </a:custClr>
    <a:custClr name="BLANK">
      <a:srgbClr val="FFFFFF"/>
    </a:custClr>
    <a:custClr name="Custom Color 21">
      <a:srgbClr val="F0F0F0"/>
    </a:custClr>
    <a:custClr name="Custom Color 22">
      <a:srgbClr val="F0F0F0"/>
    </a:custClr>
    <a:custClr name="Custom Color 23">
      <a:srgbClr val="F0F0F0"/>
    </a:custClr>
    <a:custClr name="Custom Color 24">
      <a:srgbClr val="F0F0F0"/>
    </a:custClr>
    <a:custClr name="DKMS Red">
      <a:srgbClr val="E2001A"/>
    </a:custClr>
    <a:custClr name="DKMS Red 80%">
      <a:srgbClr val="E83348"/>
    </a:custClr>
    <a:custClr name="DKMS Red 60%">
      <a:srgbClr val="EE6676"/>
    </a:custClr>
    <a:custClr name="DKMS Red 40%">
      <a:srgbClr val="F399A3"/>
    </a:custClr>
    <a:custClr name="DKMS Red 20%">
      <a:srgbClr val="F9CCD1"/>
    </a:custClr>
    <a:custClr name="BLANK">
      <a:srgbClr val="FFFFFF"/>
    </a:custClr>
    <a:custClr name="Custom Color 31">
      <a:srgbClr val="F0F0F0"/>
    </a:custClr>
    <a:custClr name="Custom Color 32">
      <a:srgbClr val="F0F0F0"/>
    </a:custClr>
    <a:custClr name="Custom Color 33">
      <a:srgbClr val="F0F0F0"/>
    </a:custClr>
    <a:custClr name="Custom Color 34">
      <a:srgbClr val="F0F0F0"/>
    </a:custClr>
    <a:custClr name="Black">
      <a:srgbClr val="000000"/>
    </a:custClr>
    <a:custClr name="Black 80%">
      <a:srgbClr val="333333"/>
    </a:custClr>
    <a:custClr name="Black 60%">
      <a:srgbClr val="666666"/>
    </a:custClr>
    <a:custClr name="Black 40%">
      <a:srgbClr val="999999"/>
    </a:custClr>
    <a:custClr name="Black 20%">
      <a:srgbClr val="CCCCCC"/>
    </a:custClr>
  </a:custClrLst>
  <a:extLst>
    <a:ext uri="{05A4C25C-085E-4340-85A3-A5531E510DB2}">
      <thm15:themeFamily xmlns:thm15="http://schemas.microsoft.com/office/thememl/2012/main" name="prezentacja na stronę nowy branding1.potx" id="{71A47A50-2EB3-4D4D-BC1F-986E58991C9A}" vid="{E39C7862-80B7-4329-AC1F-59CFD2D78CA5}"/>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ezentacja na stronę nowy branding1</Template>
  <TotalTime>268</TotalTime>
  <Words>1227</Words>
  <Application>Microsoft Office PowerPoint</Application>
  <PresentationFormat>Panoramiczny</PresentationFormat>
  <Paragraphs>213</Paragraphs>
  <Slides>19</Slides>
  <Notes>19</Notes>
  <HiddenSlides>0</HiddenSlides>
  <MMClips>0</MMClips>
  <ScaleCrop>false</ScaleCrop>
  <HeadingPairs>
    <vt:vector size="6" baseType="variant">
      <vt:variant>
        <vt:lpstr>Używane czcionki</vt:lpstr>
      </vt:variant>
      <vt:variant>
        <vt:i4>4</vt:i4>
      </vt:variant>
      <vt:variant>
        <vt:lpstr>Motyw</vt:lpstr>
      </vt:variant>
      <vt:variant>
        <vt:i4>1</vt:i4>
      </vt:variant>
      <vt:variant>
        <vt:lpstr>Tytuły slajdów</vt:lpstr>
      </vt:variant>
      <vt:variant>
        <vt:i4>19</vt:i4>
      </vt:variant>
    </vt:vector>
  </HeadingPairs>
  <TitlesOfParts>
    <vt:vector size="24" baseType="lpstr">
      <vt:lpstr>Arial</vt:lpstr>
      <vt:lpstr>Calibri</vt:lpstr>
      <vt:lpstr>Symbol</vt:lpstr>
      <vt:lpstr>Wingdings</vt:lpstr>
      <vt:lpstr>Office</vt:lpstr>
      <vt:lpstr>Najważniejsze informacje  o dawstwie szpiku</vt:lpstr>
      <vt:lpstr>Agenda</vt:lpstr>
      <vt:lpstr>O Fundacji DKMS </vt:lpstr>
      <vt:lpstr>O Fundacji DKMS</vt:lpstr>
      <vt:lpstr>Cele i misja Fundacji DKMS</vt:lpstr>
      <vt:lpstr>Fundacja DKMS w liczbach</vt:lpstr>
      <vt:lpstr>Fundacja DKMS w liczbach </vt:lpstr>
      <vt:lpstr>Potencjalni Dawcy szpiku w Polsce</vt:lpstr>
      <vt:lpstr>Kto może zostać potencjalnym  Dawcą szpiku?</vt:lpstr>
      <vt:lpstr>Co 40 minut…</vt:lpstr>
      <vt:lpstr>Kto może zostać potencjalnym Dawcą szpiku?</vt:lpstr>
      <vt:lpstr>5 kroków do zostania Dawcą szpiku</vt:lpstr>
      <vt:lpstr>Metody pobrania </vt:lpstr>
      <vt:lpstr>Pobranie krwiotwórczych komórek macierzystych  z krwi odwodowej</vt:lpstr>
      <vt:lpstr>Pobranie szpiku kostnego z talerza kości biodrowej</vt:lpstr>
      <vt:lpstr>Ważne informacje  dla Dawcy</vt:lpstr>
      <vt:lpstr>Co jeszcze trzeba wiedzieć odnośnie pobrania szpiku?</vt:lpstr>
      <vt:lpstr>Ważne informacje dla Dawcy</vt:lpstr>
      <vt:lpstr>Prezentacja programu PowerPoi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JWAŻNIEJSZE INFORMACJE O DAWSTWIE SZPIKU</dc:title>
  <dc:subject/>
  <dc:creator>Marta Kamińska</dc:creator>
  <cp:keywords/>
  <dc:description/>
  <cp:lastModifiedBy>Guz, Justyna</cp:lastModifiedBy>
  <cp:revision>37</cp:revision>
  <dcterms:created xsi:type="dcterms:W3CDTF">2023-08-01T14:03:01Z</dcterms:created>
  <dcterms:modified xsi:type="dcterms:W3CDTF">2024-07-24T13:22:58Z</dcterms:modified>
  <cp:category/>
  <cp:contentStatus/>
</cp:coreProperties>
</file>